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4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5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6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8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theme/theme9.xml" ContentType="application/vnd.openxmlformats-officedocument.theme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theme/theme11.xml" ContentType="application/vnd.openxmlformats-officedocument.theme+xml"/>
  <Override PartName="/ppt/tags/tag6.xml" ContentType="application/vnd.openxmlformats-officedocument.presentationml.tags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12.xml" ContentType="application/vnd.openxmlformats-officedocument.theme+xml"/>
  <Override PartName="/ppt/tags/tag7.xml" ContentType="application/vnd.openxmlformats-officedocument.presentationml.tags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theme/theme13.xml" ContentType="application/vnd.openxmlformats-officedocument.theme+xml"/>
  <Override PartName="/ppt/tags/tag8.xml" ContentType="application/vnd.openxmlformats-officedocument.presentationml.tags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theme/theme14.xml" ContentType="application/vnd.openxmlformats-officedocument.theme+xml"/>
  <Override PartName="/ppt/tags/tag9.xml" ContentType="application/vnd.openxmlformats-officedocument.presentationml.tags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theme/theme15.xml" ContentType="application/vnd.openxmlformats-officedocument.theme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theme/theme16.xml" ContentType="application/vnd.openxmlformats-officedocument.theme+xml"/>
  <Override PartName="/ppt/tags/tag10.xml" ContentType="application/vnd.openxmlformats-officedocument.presentationml.tags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theme/theme17.xml" ContentType="application/vnd.openxmlformats-officedocument.theme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theme/theme18.xml" ContentType="application/vnd.openxmlformats-officedocument.theme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theme/theme19.xml" ContentType="application/vnd.openxmlformats-officedocument.theme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  <p:sldMasterId id="2147484016" r:id="rId2"/>
    <p:sldMasterId id="2147484045" r:id="rId3"/>
    <p:sldMasterId id="2147484089" r:id="rId4"/>
    <p:sldMasterId id="2147484118" r:id="rId5"/>
    <p:sldMasterId id="2147484147" r:id="rId6"/>
    <p:sldMasterId id="2147484176" r:id="rId7"/>
    <p:sldMasterId id="2147484205" r:id="rId8"/>
    <p:sldMasterId id="2147484246" r:id="rId9"/>
    <p:sldMasterId id="2147484287" r:id="rId10"/>
    <p:sldMasterId id="2147484335" r:id="rId11"/>
    <p:sldMasterId id="2147484383" r:id="rId12"/>
    <p:sldMasterId id="2147484431" r:id="rId13"/>
    <p:sldMasterId id="2147484479" r:id="rId14"/>
    <p:sldMasterId id="2147484528" r:id="rId15"/>
    <p:sldMasterId id="2147484556" r:id="rId16"/>
    <p:sldMasterId id="2147484601" r:id="rId17"/>
    <p:sldMasterId id="2147484631" r:id="rId18"/>
    <p:sldMasterId id="2147484661" r:id="rId19"/>
    <p:sldMasterId id="2147484691" r:id="rId20"/>
  </p:sldMasterIdLst>
  <p:notesMasterIdLst>
    <p:notesMasterId r:id="rId46"/>
  </p:notesMasterIdLst>
  <p:handoutMasterIdLst>
    <p:handoutMasterId r:id="rId47"/>
  </p:handoutMasterIdLst>
  <p:sldIdLst>
    <p:sldId id="387" r:id="rId21"/>
    <p:sldId id="292" r:id="rId22"/>
    <p:sldId id="291" r:id="rId23"/>
    <p:sldId id="316" r:id="rId24"/>
    <p:sldId id="364" r:id="rId25"/>
    <p:sldId id="365" r:id="rId26"/>
    <p:sldId id="366" r:id="rId27"/>
    <p:sldId id="351" r:id="rId28"/>
    <p:sldId id="328" r:id="rId29"/>
    <p:sldId id="361" r:id="rId30"/>
    <p:sldId id="385" r:id="rId31"/>
    <p:sldId id="369" r:id="rId32"/>
    <p:sldId id="384" r:id="rId33"/>
    <p:sldId id="379" r:id="rId34"/>
    <p:sldId id="380" r:id="rId35"/>
    <p:sldId id="370" r:id="rId36"/>
    <p:sldId id="355" r:id="rId37"/>
    <p:sldId id="374" r:id="rId38"/>
    <p:sldId id="357" r:id="rId39"/>
    <p:sldId id="356" r:id="rId40"/>
    <p:sldId id="371" r:id="rId41"/>
    <p:sldId id="367" r:id="rId42"/>
    <p:sldId id="386" r:id="rId43"/>
    <p:sldId id="296" r:id="rId44"/>
    <p:sldId id="290" r:id="rId45"/>
  </p:sldIdLst>
  <p:sldSz cx="9144000" cy="5143500" type="screen16x9"/>
  <p:notesSz cx="6858000" cy="9144000"/>
  <p:custDataLst>
    <p:tags r:id="rId48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pos="3144" userDrawn="1">
          <p15:clr>
            <a:srgbClr val="A4A3A4"/>
          </p15:clr>
        </p15:guide>
        <p15:guide id="2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tesh Gohil" initials="" lastIdx="31" clrIdx="0"/>
  <p:cmAuthor id="1" name="Kate Ryan" initials="KR" lastIdx="11" clrIdx="1">
    <p:extLst/>
  </p:cmAuthor>
  <p:cmAuthor id="2" name="Michelle McManus" initials="MMM" lastIdx="0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38419"/>
    <a:srgbClr val="E39A19"/>
    <a:srgbClr val="D9D9D9"/>
    <a:srgbClr val="72C059"/>
    <a:srgbClr val="00BCEB"/>
    <a:srgbClr val="E9E9E9"/>
    <a:srgbClr val="86DBF2"/>
    <a:srgbClr val="049FD9"/>
    <a:srgbClr val="1FAE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6055" autoAdjust="0"/>
    <p:restoredTop sz="96921" autoAdjust="0"/>
  </p:normalViewPr>
  <p:slideViewPr>
    <p:cSldViewPr snapToGrid="0" snapToObjects="1" showGuides="1">
      <p:cViewPr varScale="1">
        <p:scale>
          <a:sx n="118" d="100"/>
          <a:sy n="118" d="100"/>
        </p:scale>
        <p:origin x="96" y="132"/>
      </p:cViewPr>
      <p:guideLst>
        <p:guide pos="3144"/>
        <p:guide orient="horz" pos="16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0" d="100"/>
        <a:sy n="180" d="100"/>
      </p:scale>
      <p:origin x="0" y="12756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257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6.xml"/><Relationship Id="rId39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slide" Target="slides/slide22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9.xml"/><Relationship Id="rId41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slide" Target="slides/slide20.xml"/><Relationship Id="rId45" Type="http://schemas.openxmlformats.org/officeDocument/2006/relationships/slide" Target="slides/slide25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1.xml"/><Relationship Id="rId44" Type="http://schemas.openxmlformats.org/officeDocument/2006/relationships/slide" Target="slides/slide24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slide" Target="slides/slide23.xml"/><Relationship Id="rId48" Type="http://schemas.openxmlformats.org/officeDocument/2006/relationships/tags" Target="tags/tag1.xml"/><Relationship Id="rId8" Type="http://schemas.openxmlformats.org/officeDocument/2006/relationships/slideMaster" Target="slideMasters/slideMaster8.xml"/><Relationship Id="rId5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B3FD69-134C-4F9C-B9E9-ED4A8E3CFCE2}" type="doc">
      <dgm:prSet loTypeId="urn:microsoft.com/office/officeart/2009/layout/CircleArrow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6A148285-D96C-48EC-9089-4F12E2F22F0E}">
      <dgm:prSet phldrT="[Text]" custT="1"/>
      <dgm:spPr/>
      <dgm:t>
        <a:bodyPr/>
        <a:lstStyle/>
        <a:p>
          <a:r>
            <a:rPr lang="en-US" sz="1050" b="1" dirty="0" smtClean="0">
              <a:solidFill>
                <a:srgbClr val="FBAB18"/>
              </a:solidFill>
            </a:rPr>
            <a:t>Visibility Tools</a:t>
          </a:r>
          <a:endParaRPr lang="en-US" sz="1050" b="1" dirty="0">
            <a:solidFill>
              <a:srgbClr val="FBAB18"/>
            </a:solidFill>
          </a:endParaRPr>
        </a:p>
      </dgm:t>
    </dgm:pt>
    <dgm:pt modelId="{AFE2F22D-9306-4AB1-8F06-FB6E602011FC}" type="parTrans" cxnId="{C82C0382-2E14-4FA5-84B7-FAFEBA3A6CBD}">
      <dgm:prSet/>
      <dgm:spPr/>
      <dgm:t>
        <a:bodyPr/>
        <a:lstStyle/>
        <a:p>
          <a:endParaRPr lang="en-US"/>
        </a:p>
      </dgm:t>
    </dgm:pt>
    <dgm:pt modelId="{F0904DB7-1106-4CB6-B0A4-2B813FAB012F}" type="sibTrans" cxnId="{C82C0382-2E14-4FA5-84B7-FAFEBA3A6CBD}">
      <dgm:prSet/>
      <dgm:spPr/>
      <dgm:t>
        <a:bodyPr/>
        <a:lstStyle/>
        <a:p>
          <a:endParaRPr lang="en-US"/>
        </a:p>
      </dgm:t>
    </dgm:pt>
    <dgm:pt modelId="{B7D303C8-21F2-4880-97DF-C4EC938ED5D7}">
      <dgm:prSet phldrT="[Text]" custT="1"/>
      <dgm:spPr/>
      <dgm:t>
        <a:bodyPr/>
        <a:lstStyle/>
        <a:p>
          <a:r>
            <a:rPr lang="en-US" sz="1050" b="1" dirty="0" smtClean="0">
              <a:solidFill>
                <a:srgbClr val="005073"/>
              </a:solidFill>
            </a:rPr>
            <a:t>Testing Results</a:t>
          </a:r>
          <a:endParaRPr lang="en-US" sz="900" b="1" dirty="0">
            <a:solidFill>
              <a:srgbClr val="005073"/>
            </a:solidFill>
          </a:endParaRPr>
        </a:p>
      </dgm:t>
    </dgm:pt>
    <dgm:pt modelId="{F49721E7-F23E-4EA7-81C9-F96B72911A90}" type="parTrans" cxnId="{5A8D13C6-9901-414F-AC20-C11932F44521}">
      <dgm:prSet/>
      <dgm:spPr/>
      <dgm:t>
        <a:bodyPr/>
        <a:lstStyle/>
        <a:p>
          <a:endParaRPr lang="en-US"/>
        </a:p>
      </dgm:t>
    </dgm:pt>
    <dgm:pt modelId="{209EAF64-A063-48FB-ACCC-A505E93B23E9}" type="sibTrans" cxnId="{5A8D13C6-9901-414F-AC20-C11932F44521}">
      <dgm:prSet/>
      <dgm:spPr/>
      <dgm:t>
        <a:bodyPr/>
        <a:lstStyle/>
        <a:p>
          <a:endParaRPr lang="en-US"/>
        </a:p>
      </dgm:t>
    </dgm:pt>
    <dgm:pt modelId="{0B5771A0-0CDB-48DE-800C-4206D8AB00FE}">
      <dgm:prSet phldrT="[Text]" custT="1"/>
      <dgm:spPr/>
      <dgm:t>
        <a:bodyPr/>
        <a:lstStyle/>
        <a:p>
          <a:r>
            <a:rPr lang="en-US" sz="1050" b="1" dirty="0" smtClean="0">
              <a:solidFill>
                <a:srgbClr val="00BCEB"/>
              </a:solidFill>
            </a:rPr>
            <a:t>Forensics</a:t>
          </a:r>
          <a:endParaRPr lang="en-US" sz="900" b="1" dirty="0">
            <a:solidFill>
              <a:srgbClr val="00BCEB"/>
            </a:solidFill>
          </a:endParaRPr>
        </a:p>
      </dgm:t>
    </dgm:pt>
    <dgm:pt modelId="{40B42CB4-96FE-42CD-ACC5-55C27F683CF6}" type="parTrans" cxnId="{D6A7177E-3296-414E-9FA3-EF766B9DDB9D}">
      <dgm:prSet/>
      <dgm:spPr/>
      <dgm:t>
        <a:bodyPr/>
        <a:lstStyle/>
        <a:p>
          <a:endParaRPr lang="en-US"/>
        </a:p>
      </dgm:t>
    </dgm:pt>
    <dgm:pt modelId="{7561C37E-6C4E-40A8-9F4D-12964E95E8AD}" type="sibTrans" cxnId="{D6A7177E-3296-414E-9FA3-EF766B9DDB9D}">
      <dgm:prSet/>
      <dgm:spPr/>
      <dgm:t>
        <a:bodyPr/>
        <a:lstStyle/>
        <a:p>
          <a:endParaRPr lang="en-US"/>
        </a:p>
      </dgm:t>
    </dgm:pt>
    <dgm:pt modelId="{4C61D0D8-981C-7F42-B7DB-E3FD9D6A68D5}">
      <dgm:prSet phldrT="[Text]" custT="1"/>
      <dgm:spPr/>
      <dgm:t>
        <a:bodyPr/>
        <a:lstStyle/>
        <a:p>
          <a:r>
            <a:rPr lang="en-US" sz="900" b="1" dirty="0" smtClean="0">
              <a:solidFill>
                <a:srgbClr val="005073"/>
              </a:solidFill>
            </a:rPr>
            <a:t>Communication</a:t>
          </a:r>
          <a:endParaRPr lang="en-US" sz="900" b="1" dirty="0">
            <a:solidFill>
              <a:srgbClr val="005073"/>
            </a:solidFill>
          </a:endParaRPr>
        </a:p>
      </dgm:t>
    </dgm:pt>
    <dgm:pt modelId="{0F752FA6-E52A-214D-914C-7AE464A1EDA1}" type="parTrans" cxnId="{D92365AD-4538-7E4E-B464-42E9CCE33DB8}">
      <dgm:prSet/>
      <dgm:spPr/>
      <dgm:t>
        <a:bodyPr/>
        <a:lstStyle/>
        <a:p>
          <a:endParaRPr lang="en-US"/>
        </a:p>
      </dgm:t>
    </dgm:pt>
    <dgm:pt modelId="{E590FEB8-96F2-804E-ABA4-74874CDD5E9C}" type="sibTrans" cxnId="{D92365AD-4538-7E4E-B464-42E9CCE33DB8}">
      <dgm:prSet/>
      <dgm:spPr/>
      <dgm:t>
        <a:bodyPr/>
        <a:lstStyle/>
        <a:p>
          <a:endParaRPr lang="en-US"/>
        </a:p>
      </dgm:t>
    </dgm:pt>
    <dgm:pt modelId="{CE58E796-26B4-4C4B-9B23-7484E0CF869A}" type="pres">
      <dgm:prSet presAssocID="{6EB3FD69-134C-4F9C-B9E9-ED4A8E3CFCE2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845497C4-5616-BF4A-B9BA-E08068E1FAA7}" type="pres">
      <dgm:prSet presAssocID="{6A148285-D96C-48EC-9089-4F12E2F22F0E}" presName="Accent1" presStyleCnt="0"/>
      <dgm:spPr/>
    </dgm:pt>
    <dgm:pt modelId="{C8FC7DF2-E006-4C8A-A141-857D9E35F99F}" type="pres">
      <dgm:prSet presAssocID="{6A148285-D96C-48EC-9089-4F12E2F22F0E}" presName="Accent" presStyleLbl="node1" presStyleIdx="0" presStyleCnt="4"/>
      <dgm:spPr>
        <a:solidFill>
          <a:srgbClr val="FBAB18"/>
        </a:solidFill>
        <a:ln>
          <a:noFill/>
        </a:ln>
      </dgm:spPr>
      <dgm:t>
        <a:bodyPr/>
        <a:lstStyle/>
        <a:p>
          <a:endParaRPr lang="en-US"/>
        </a:p>
      </dgm:t>
    </dgm:pt>
    <dgm:pt modelId="{4FB5C548-ED15-1841-AAFA-E1D45443BD34}" type="pres">
      <dgm:prSet presAssocID="{6A148285-D96C-48EC-9089-4F12E2F22F0E}" presName="Parent1" presStyleLbl="revTx" presStyleIdx="0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D48D132-77FE-924E-AFA1-6070DCCC8BE7}" type="pres">
      <dgm:prSet presAssocID="{0B5771A0-0CDB-48DE-800C-4206D8AB00FE}" presName="Accent2" presStyleCnt="0"/>
      <dgm:spPr/>
    </dgm:pt>
    <dgm:pt modelId="{D9549001-D08C-41D5-A8A7-FA0BBAB5212F}" type="pres">
      <dgm:prSet presAssocID="{0B5771A0-0CDB-48DE-800C-4206D8AB00FE}" presName="Accent" presStyleLbl="node1" presStyleIdx="1" presStyleCnt="4"/>
      <dgm:spPr>
        <a:solidFill>
          <a:srgbClr val="00BCEB"/>
        </a:solidFill>
        <a:ln>
          <a:noFill/>
        </a:ln>
      </dgm:spPr>
      <dgm:t>
        <a:bodyPr/>
        <a:lstStyle/>
        <a:p>
          <a:endParaRPr lang="en-US"/>
        </a:p>
      </dgm:t>
    </dgm:pt>
    <dgm:pt modelId="{FDC10B75-7217-3140-B2A9-ACBE6A145830}" type="pres">
      <dgm:prSet presAssocID="{0B5771A0-0CDB-48DE-800C-4206D8AB00FE}" presName="Parent2" presStyleLbl="revTx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7AEF78-E672-0A44-9F18-C9593EC5AEBC}" type="pres">
      <dgm:prSet presAssocID="{B7D303C8-21F2-4880-97DF-C4EC938ED5D7}" presName="Accent3" presStyleCnt="0"/>
      <dgm:spPr/>
    </dgm:pt>
    <dgm:pt modelId="{4355AC2B-9327-4B27-AFD2-44008DCC631E}" type="pres">
      <dgm:prSet presAssocID="{B7D303C8-21F2-4880-97DF-C4EC938ED5D7}" presName="Accent" presStyleLbl="node1" presStyleIdx="2" presStyleCnt="4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solidFill>
          <a:srgbClr val="005073"/>
        </a:solidFill>
        <a:ln w="9525">
          <a:noFill/>
        </a:ln>
      </dgm:spPr>
      <dgm:t>
        <a:bodyPr/>
        <a:lstStyle/>
        <a:p>
          <a:endParaRPr lang="en-US"/>
        </a:p>
      </dgm:t>
    </dgm:pt>
    <dgm:pt modelId="{E1FB9EE7-2E4F-2948-B79D-79405F642018}" type="pres">
      <dgm:prSet presAssocID="{B7D303C8-21F2-4880-97DF-C4EC938ED5D7}" presName="Parent3" presStyleLbl="revTx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9DE352-A01B-7240-830F-D45B46373840}" type="pres">
      <dgm:prSet presAssocID="{4C61D0D8-981C-7F42-B7DB-E3FD9D6A68D5}" presName="Accent4" presStyleCnt="0"/>
      <dgm:spPr/>
    </dgm:pt>
    <dgm:pt modelId="{F5454386-3065-2149-B3F4-485A65626D11}" type="pres">
      <dgm:prSet presAssocID="{4C61D0D8-981C-7F42-B7DB-E3FD9D6A68D5}" presName="Accent" presStyleLbl="node1" presStyleIdx="3" presStyleCnt="4"/>
      <dgm:spPr>
        <a:solidFill>
          <a:schemeClr val="accent2"/>
        </a:solidFill>
      </dgm:spPr>
      <dgm:t>
        <a:bodyPr/>
        <a:lstStyle/>
        <a:p>
          <a:endParaRPr lang="en-US"/>
        </a:p>
      </dgm:t>
    </dgm:pt>
    <dgm:pt modelId="{3F5F3D1A-DA5A-9849-A735-0C0A86EA8A2C}" type="pres">
      <dgm:prSet presAssocID="{4C61D0D8-981C-7F42-B7DB-E3FD9D6A68D5}" presName="Parent4" presStyleLbl="revTx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AACA917-089A-F94A-A2A4-5193497390A7}" type="presOf" srcId="{B7D303C8-21F2-4880-97DF-C4EC938ED5D7}" destId="{E1FB9EE7-2E4F-2948-B79D-79405F642018}" srcOrd="0" destOrd="0" presId="urn:microsoft.com/office/officeart/2009/layout/CircleArrowProcess"/>
    <dgm:cxn modelId="{5A8D13C6-9901-414F-AC20-C11932F44521}" srcId="{6EB3FD69-134C-4F9C-B9E9-ED4A8E3CFCE2}" destId="{B7D303C8-21F2-4880-97DF-C4EC938ED5D7}" srcOrd="2" destOrd="0" parTransId="{F49721E7-F23E-4EA7-81C9-F96B72911A90}" sibTransId="{209EAF64-A063-48FB-ACCC-A505E93B23E9}"/>
    <dgm:cxn modelId="{EF51C7E7-1A46-474D-B653-CC482ACD84F8}" type="presOf" srcId="{6A148285-D96C-48EC-9089-4F12E2F22F0E}" destId="{4FB5C548-ED15-1841-AAFA-E1D45443BD34}" srcOrd="0" destOrd="0" presId="urn:microsoft.com/office/officeart/2009/layout/CircleArrowProcess"/>
    <dgm:cxn modelId="{D92365AD-4538-7E4E-B464-42E9CCE33DB8}" srcId="{6EB3FD69-134C-4F9C-B9E9-ED4A8E3CFCE2}" destId="{4C61D0D8-981C-7F42-B7DB-E3FD9D6A68D5}" srcOrd="3" destOrd="0" parTransId="{0F752FA6-E52A-214D-914C-7AE464A1EDA1}" sibTransId="{E590FEB8-96F2-804E-ABA4-74874CDD5E9C}"/>
    <dgm:cxn modelId="{B174A078-FA42-154B-8AD3-360D276997F2}" type="presOf" srcId="{4C61D0D8-981C-7F42-B7DB-E3FD9D6A68D5}" destId="{3F5F3D1A-DA5A-9849-A735-0C0A86EA8A2C}" srcOrd="0" destOrd="0" presId="urn:microsoft.com/office/officeart/2009/layout/CircleArrowProcess"/>
    <dgm:cxn modelId="{D6A7177E-3296-414E-9FA3-EF766B9DDB9D}" srcId="{6EB3FD69-134C-4F9C-B9E9-ED4A8E3CFCE2}" destId="{0B5771A0-0CDB-48DE-800C-4206D8AB00FE}" srcOrd="1" destOrd="0" parTransId="{40B42CB4-96FE-42CD-ACC5-55C27F683CF6}" sibTransId="{7561C37E-6C4E-40A8-9F4D-12964E95E8AD}"/>
    <dgm:cxn modelId="{C82C0382-2E14-4FA5-84B7-FAFEBA3A6CBD}" srcId="{6EB3FD69-134C-4F9C-B9E9-ED4A8E3CFCE2}" destId="{6A148285-D96C-48EC-9089-4F12E2F22F0E}" srcOrd="0" destOrd="0" parTransId="{AFE2F22D-9306-4AB1-8F06-FB6E602011FC}" sibTransId="{F0904DB7-1106-4CB6-B0A4-2B813FAB012F}"/>
    <dgm:cxn modelId="{52A28333-898B-A144-A3F5-713801C37BDC}" type="presOf" srcId="{6EB3FD69-134C-4F9C-B9E9-ED4A8E3CFCE2}" destId="{CE58E796-26B4-4C4B-9B23-7484E0CF869A}" srcOrd="0" destOrd="0" presId="urn:microsoft.com/office/officeart/2009/layout/CircleArrowProcess"/>
    <dgm:cxn modelId="{F5C84ABB-BFC8-6945-9AB3-10D90B7CB834}" type="presOf" srcId="{0B5771A0-0CDB-48DE-800C-4206D8AB00FE}" destId="{FDC10B75-7217-3140-B2A9-ACBE6A145830}" srcOrd="0" destOrd="0" presId="urn:microsoft.com/office/officeart/2009/layout/CircleArrowProcess"/>
    <dgm:cxn modelId="{34A34E98-FE19-E647-9545-F8FD1CBD2680}" type="presParOf" srcId="{CE58E796-26B4-4C4B-9B23-7484E0CF869A}" destId="{845497C4-5616-BF4A-B9BA-E08068E1FAA7}" srcOrd="0" destOrd="0" presId="urn:microsoft.com/office/officeart/2009/layout/CircleArrowProcess"/>
    <dgm:cxn modelId="{48D348B4-832B-774C-B812-7DD8C47F3264}" type="presParOf" srcId="{845497C4-5616-BF4A-B9BA-E08068E1FAA7}" destId="{C8FC7DF2-E006-4C8A-A141-857D9E35F99F}" srcOrd="0" destOrd="0" presId="urn:microsoft.com/office/officeart/2009/layout/CircleArrowProcess"/>
    <dgm:cxn modelId="{658AA1B2-ACF8-934D-A18B-CA1260514C0B}" type="presParOf" srcId="{CE58E796-26B4-4C4B-9B23-7484E0CF869A}" destId="{4FB5C548-ED15-1841-AAFA-E1D45443BD34}" srcOrd="1" destOrd="0" presId="urn:microsoft.com/office/officeart/2009/layout/CircleArrowProcess"/>
    <dgm:cxn modelId="{1F53D492-53F5-8640-BCE3-E2F6ED551BB3}" type="presParOf" srcId="{CE58E796-26B4-4C4B-9B23-7484E0CF869A}" destId="{3D48D132-77FE-924E-AFA1-6070DCCC8BE7}" srcOrd="2" destOrd="0" presId="urn:microsoft.com/office/officeart/2009/layout/CircleArrowProcess"/>
    <dgm:cxn modelId="{36C12F14-CFD7-2347-9A88-C688EA4204BF}" type="presParOf" srcId="{3D48D132-77FE-924E-AFA1-6070DCCC8BE7}" destId="{D9549001-D08C-41D5-A8A7-FA0BBAB5212F}" srcOrd="0" destOrd="0" presId="urn:microsoft.com/office/officeart/2009/layout/CircleArrowProcess"/>
    <dgm:cxn modelId="{500A7427-E575-9542-A7AC-4A5F839CCCE6}" type="presParOf" srcId="{CE58E796-26B4-4C4B-9B23-7484E0CF869A}" destId="{FDC10B75-7217-3140-B2A9-ACBE6A145830}" srcOrd="3" destOrd="0" presId="urn:microsoft.com/office/officeart/2009/layout/CircleArrowProcess"/>
    <dgm:cxn modelId="{002FFCC0-0C5F-5C4F-8FA5-E82116EDF6DA}" type="presParOf" srcId="{CE58E796-26B4-4C4B-9B23-7484E0CF869A}" destId="{027AEF78-E672-0A44-9F18-C9593EC5AEBC}" srcOrd="4" destOrd="0" presId="urn:microsoft.com/office/officeart/2009/layout/CircleArrowProcess"/>
    <dgm:cxn modelId="{5AD3FF5B-F6DE-2845-9318-B7DF04D430BF}" type="presParOf" srcId="{027AEF78-E672-0A44-9F18-C9593EC5AEBC}" destId="{4355AC2B-9327-4B27-AFD2-44008DCC631E}" srcOrd="0" destOrd="0" presId="urn:microsoft.com/office/officeart/2009/layout/CircleArrowProcess"/>
    <dgm:cxn modelId="{2516954F-3880-9848-AD4A-6414FBAE0B2C}" type="presParOf" srcId="{CE58E796-26B4-4C4B-9B23-7484E0CF869A}" destId="{E1FB9EE7-2E4F-2948-B79D-79405F642018}" srcOrd="5" destOrd="0" presId="urn:microsoft.com/office/officeart/2009/layout/CircleArrowProcess"/>
    <dgm:cxn modelId="{7EE5C5E3-7832-134F-91CF-EECED771DFA3}" type="presParOf" srcId="{CE58E796-26B4-4C4B-9B23-7484E0CF869A}" destId="{BC9DE352-A01B-7240-830F-D45B46373840}" srcOrd="6" destOrd="0" presId="urn:microsoft.com/office/officeart/2009/layout/CircleArrowProcess"/>
    <dgm:cxn modelId="{3EA40CA4-D012-4945-84AD-5065EF7A9669}" type="presParOf" srcId="{BC9DE352-A01B-7240-830F-D45B46373840}" destId="{F5454386-3065-2149-B3F4-485A65626D11}" srcOrd="0" destOrd="0" presId="urn:microsoft.com/office/officeart/2009/layout/CircleArrowProcess"/>
    <dgm:cxn modelId="{7238F4AF-B8B2-FE49-B2F1-1EE9D3ECDC56}" type="presParOf" srcId="{CE58E796-26B4-4C4B-9B23-7484E0CF869A}" destId="{3F5F3D1A-DA5A-9849-A735-0C0A86EA8A2C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FC7DF2-E006-4C8A-A141-857D9E35F99F}">
      <dsp:nvSpPr>
        <dsp:cNvPr id="0" name=""/>
        <dsp:cNvSpPr/>
      </dsp:nvSpPr>
      <dsp:spPr>
        <a:xfrm>
          <a:off x="1983475" y="0"/>
          <a:ext cx="1506040" cy="1506193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rgbClr val="FBAB18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B5C548-ED15-1841-AAFA-E1D45443BD34}">
      <dsp:nvSpPr>
        <dsp:cNvPr id="0" name=""/>
        <dsp:cNvSpPr/>
      </dsp:nvSpPr>
      <dsp:spPr>
        <a:xfrm>
          <a:off x="2315985" y="545201"/>
          <a:ext cx="840456" cy="420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>
              <a:solidFill>
                <a:srgbClr val="FBAB18"/>
              </a:solidFill>
            </a:rPr>
            <a:t>Visibility Tools</a:t>
          </a:r>
          <a:endParaRPr lang="en-US" sz="1050" b="1" kern="1200" dirty="0">
            <a:solidFill>
              <a:srgbClr val="FBAB18"/>
            </a:solidFill>
          </a:endParaRPr>
        </a:p>
      </dsp:txBody>
      <dsp:txXfrm>
        <a:off x="2315985" y="545201"/>
        <a:ext cx="840456" cy="420184"/>
      </dsp:txXfrm>
    </dsp:sp>
    <dsp:sp modelId="{D9549001-D08C-41D5-A8A7-FA0BBAB5212F}">
      <dsp:nvSpPr>
        <dsp:cNvPr id="0" name=""/>
        <dsp:cNvSpPr/>
      </dsp:nvSpPr>
      <dsp:spPr>
        <a:xfrm>
          <a:off x="1565083" y="865532"/>
          <a:ext cx="1506040" cy="1506193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rgbClr val="00BCEB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DC10B75-7217-3140-B2A9-ACBE6A145830}">
      <dsp:nvSpPr>
        <dsp:cNvPr id="0" name=""/>
        <dsp:cNvSpPr/>
      </dsp:nvSpPr>
      <dsp:spPr>
        <a:xfrm>
          <a:off x="1895898" y="1412331"/>
          <a:ext cx="840456" cy="420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>
              <a:solidFill>
                <a:srgbClr val="00BCEB"/>
              </a:solidFill>
            </a:rPr>
            <a:t>Forensics</a:t>
          </a:r>
          <a:endParaRPr lang="en-US" sz="900" b="1" kern="1200" dirty="0">
            <a:solidFill>
              <a:srgbClr val="00BCEB"/>
            </a:solidFill>
          </a:endParaRPr>
        </a:p>
      </dsp:txBody>
      <dsp:txXfrm>
        <a:off x="1895898" y="1412331"/>
        <a:ext cx="840456" cy="420184"/>
      </dsp:txXfrm>
    </dsp:sp>
    <dsp:sp modelId="{4355AC2B-9327-4B27-AFD2-44008DCC631E}">
      <dsp:nvSpPr>
        <dsp:cNvPr id="0" name=""/>
        <dsp:cNvSpPr/>
      </dsp:nvSpPr>
      <dsp:spPr>
        <a:xfrm>
          <a:off x="1983475" y="1734259"/>
          <a:ext cx="1506040" cy="1506193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rgbClr val="005073"/>
        </a:solidFill>
        <a:ln w="9525" cap="flat" cmpd="sng" algn="ctr">
          <a:noFill/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</dsp:sp>
    <dsp:sp modelId="{E1FB9EE7-2E4F-2948-B79D-79405F642018}">
      <dsp:nvSpPr>
        <dsp:cNvPr id="0" name=""/>
        <dsp:cNvSpPr/>
      </dsp:nvSpPr>
      <dsp:spPr>
        <a:xfrm>
          <a:off x="2315985" y="2279461"/>
          <a:ext cx="840456" cy="420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>
              <a:solidFill>
                <a:srgbClr val="005073"/>
              </a:solidFill>
            </a:rPr>
            <a:t>Testing Results</a:t>
          </a:r>
          <a:endParaRPr lang="en-US" sz="900" b="1" kern="1200" dirty="0">
            <a:solidFill>
              <a:srgbClr val="005073"/>
            </a:solidFill>
          </a:endParaRPr>
        </a:p>
      </dsp:txBody>
      <dsp:txXfrm>
        <a:off x="2315985" y="2279461"/>
        <a:ext cx="840456" cy="420184"/>
      </dsp:txXfrm>
    </dsp:sp>
    <dsp:sp modelId="{F5454386-3065-2149-B3F4-485A65626D11}">
      <dsp:nvSpPr>
        <dsp:cNvPr id="0" name=""/>
        <dsp:cNvSpPr/>
      </dsp:nvSpPr>
      <dsp:spPr>
        <a:xfrm>
          <a:off x="1672436" y="2699645"/>
          <a:ext cx="1293878" cy="1294504"/>
        </a:xfrm>
        <a:prstGeom prst="blockArc">
          <a:avLst>
            <a:gd name="adj1" fmla="val 0"/>
            <a:gd name="adj2" fmla="val 18900000"/>
            <a:gd name="adj3" fmla="val 1274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5F3D1A-DA5A-9849-A735-0C0A86EA8A2C}">
      <dsp:nvSpPr>
        <dsp:cNvPr id="0" name=""/>
        <dsp:cNvSpPr/>
      </dsp:nvSpPr>
      <dsp:spPr>
        <a:xfrm>
          <a:off x="1895898" y="3146591"/>
          <a:ext cx="840456" cy="42018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rgbClr val="005073"/>
              </a:solidFill>
            </a:rPr>
            <a:t>Communication</a:t>
          </a:r>
          <a:endParaRPr lang="en-US" sz="900" b="1" kern="1200" dirty="0">
            <a:solidFill>
              <a:srgbClr val="005073"/>
            </a:solidFill>
          </a:endParaRPr>
        </a:p>
      </dsp:txBody>
      <dsp:txXfrm>
        <a:off x="1895898" y="3146591"/>
        <a:ext cx="840456" cy="4201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E48B1C-1E6B-744F-8E6C-3836D33BC0D9}" type="datetimeFigureOut">
              <a:rPr lang="en-US"/>
              <a:pPr>
                <a:defRPr/>
              </a:pPr>
              <a:t>1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5A8EAB7-F1BA-274C-91A9-46214A29E5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480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637A29-4E7E-A24B-BAB1-D48C888F91E4}" type="datetimeFigureOut">
              <a:rPr lang="en-US"/>
              <a:pPr>
                <a:defRPr/>
              </a:pPr>
              <a:t>12/1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7A1FA6-25DE-9E4E-A34D-CF67DE7DBD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s.cisco.com/author/amyhenderson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blogs.cisco.com/security/incident-response-fundamentals-communication" TargetMode="External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FF"/>
                </a:solidFill>
                <a:latin typeface="HelveticaNeue" charset="0"/>
                <a:hlinkClick r:id="rId3"/>
              </a:rPr>
              <a:t>https://blogs.cisco.com/author/amyhenders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F34C1F-999F-4F49-A746-D98DDA34E955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7285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How des this fit in with the</a:t>
            </a:r>
            <a:r>
              <a:rPr lang="en-US" baseline="0" dirty="0" smtClean="0"/>
              <a:t> need offered framework? Let’s take a look- </a:t>
            </a:r>
          </a:p>
          <a:p>
            <a:pPr marL="0" indent="0">
              <a:buNone/>
            </a:pPr>
            <a:endParaRPr lang="en-US" dirty="0" smtClean="0"/>
          </a:p>
          <a:p>
            <a:pPr marL="228600" indent="-228600">
              <a:buAutoNum type="arabicPeriod"/>
            </a:pPr>
            <a:r>
              <a:rPr lang="en-US" dirty="0" smtClean="0"/>
              <a:t>Is your customer</a:t>
            </a:r>
            <a:r>
              <a:rPr lang="en-US" baseline="0" dirty="0" smtClean="0"/>
              <a:t> determining if their environment is ready for next generation firewalls? (Advisory Services) </a:t>
            </a:r>
          </a:p>
          <a:p>
            <a:pPr marL="685800" lvl="1" indent="-228600">
              <a:buAutoNum type="arabicPeriod"/>
            </a:pPr>
            <a:r>
              <a:rPr lang="en-US" baseline="0" dirty="0" smtClean="0"/>
              <a:t>CMPA- See the CMPA offer (will not be covered in this PPT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Does the customer plan on managing the new hardware in-house? (Managed Services) </a:t>
            </a:r>
          </a:p>
          <a:p>
            <a:pPr marL="685800" lvl="1" indent="-228600">
              <a:buAutoNum type="arabicPeriod"/>
            </a:pPr>
            <a:r>
              <a:rPr lang="en-US" baseline="0" dirty="0" smtClean="0"/>
              <a:t>ATA- Just know we can help with this service but it will not be covered here. 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Has the customer budgeted for the installation of the new hardware + configuration? (Implementation Services)</a:t>
            </a:r>
          </a:p>
          <a:p>
            <a:pPr marL="685800" marR="0" lvl="1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Deployment Services </a:t>
            </a:r>
          </a:p>
          <a:p>
            <a:pPr marL="685800" marR="0" lvl="1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Migration Services </a:t>
            </a:r>
          </a:p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2741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4380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</a:rPr>
              <a:t>Do not solely rely on in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</a:rPr>
              <a:t> house talent </a:t>
            </a:r>
            <a:r>
              <a:rPr lang="mr-IN" sz="1200" kern="1200" baseline="0" dirty="0" smtClean="0">
                <a:solidFill>
                  <a:schemeClr val="tx1"/>
                </a:solidFill>
                <a:effectLst/>
              </a:rPr>
              <a:t>–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</a:rPr>
              <a:t> validation can be objectively achieved through third party review </a:t>
            </a:r>
            <a:endParaRPr lang="en-US" sz="1200" kern="1200" dirty="0">
              <a:solidFill>
                <a:schemeClr val="tx1"/>
              </a:solidFill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4B3E29-E3C6-465A-BA15-E131EAE22360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1857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How des this fit in with the</a:t>
            </a:r>
            <a:r>
              <a:rPr lang="en-US" baseline="0" dirty="0" smtClean="0"/>
              <a:t> need offered framework? Let’s take a look- </a:t>
            </a:r>
          </a:p>
          <a:p>
            <a:pPr marL="0" indent="0">
              <a:buNone/>
            </a:pPr>
            <a:endParaRPr lang="en-US" dirty="0" smtClean="0"/>
          </a:p>
          <a:p>
            <a:pPr marL="228600" indent="-228600">
              <a:buAutoNum type="arabicPeriod"/>
            </a:pPr>
            <a:r>
              <a:rPr lang="en-US" dirty="0" smtClean="0"/>
              <a:t>Is your customer</a:t>
            </a:r>
            <a:r>
              <a:rPr lang="en-US" baseline="0" dirty="0" smtClean="0"/>
              <a:t> determining if their environment is ready for next generation firewalls? (Advisory Services) </a:t>
            </a:r>
          </a:p>
          <a:p>
            <a:pPr marL="685800" lvl="1" indent="-228600">
              <a:buAutoNum type="arabicPeriod"/>
            </a:pPr>
            <a:r>
              <a:rPr lang="en-US" baseline="0" dirty="0" smtClean="0"/>
              <a:t>CMPA- See the CMPA offer (will not be covered in this PPT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Does the customer plan on managing the new hardware in-house? (Managed Services) </a:t>
            </a:r>
          </a:p>
          <a:p>
            <a:pPr marL="685800" lvl="1" indent="-228600">
              <a:buAutoNum type="arabicPeriod"/>
            </a:pPr>
            <a:r>
              <a:rPr lang="en-US" baseline="0" dirty="0" smtClean="0"/>
              <a:t>ATA- Just know we can help with this service but it will not be covered here. 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Has the customer budgeted for the installation of the new hardware + configuration? (Implementation Services)</a:t>
            </a:r>
          </a:p>
          <a:p>
            <a:pPr marL="685800" marR="0" lvl="1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Deployment Services </a:t>
            </a:r>
          </a:p>
          <a:p>
            <a:pPr marL="685800" marR="0" lvl="1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Migration Services </a:t>
            </a:r>
          </a:p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9330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6367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Senior leadership visibility and involvement in all research and develop projects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Leadership was not aware of the project requirements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R&amp;D </a:t>
            </a:r>
            <a:r>
              <a:rPr lang="en-US" sz="1200" dirty="0" err="1" smtClean="0"/>
              <a:t>silo’d</a:t>
            </a:r>
            <a:r>
              <a:rPr lang="en-US" sz="1200" dirty="0" smtClean="0"/>
              <a:t> and lacked leadership oversight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Top-bottom review of pilot program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No firewall | No password  | No endpoint security solution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Review of approved executables and dependencies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Application security/ penetration testing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Review of global researchers involved across several countrie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Full security architecture review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Network segmentation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Network Visibility (</a:t>
            </a:r>
            <a:r>
              <a:rPr lang="en-US" sz="1200" dirty="0" err="1" smtClean="0"/>
              <a:t>StealthWatch</a:t>
            </a:r>
            <a:r>
              <a:rPr lang="en-US" sz="1200" dirty="0" smtClean="0"/>
              <a:t>)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600" b="1" dirty="0" smtClean="0"/>
              <a:t>Promptly activate Incident Response Plan</a:t>
            </a:r>
          </a:p>
          <a:p>
            <a:pPr marL="628631" lvl="1" indent="-171450">
              <a:buFont typeface="Arial" charset="0"/>
              <a:buChar char="•"/>
            </a:pPr>
            <a:r>
              <a:rPr lang="en-US" sz="1200" dirty="0" smtClean="0"/>
              <a:t>Volatile data collection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400" b="1" dirty="0" smtClean="0"/>
              <a:t>Monitor and logging of administrator accoun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8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276044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solidFill>
                  <a:srgbClr val="0000FF"/>
                </a:solidFill>
                <a:latin typeface="HelveticaNeue" charset="0"/>
                <a:hlinkClick r:id="rId3"/>
              </a:rPr>
              <a:t>https://blogs.cisco.com/security/incident-response-fundamentals-communication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221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4539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aseline="0" dirty="0" smtClean="0"/>
          </a:p>
          <a:p>
            <a:pPr marL="0" lvl="0" indent="0">
              <a:buNone/>
            </a:pPr>
            <a:r>
              <a:rPr lang="en-US" dirty="0" smtClean="0"/>
              <a:t>Evaluating if you’re ready</a:t>
            </a:r>
          </a:p>
          <a:p>
            <a:pPr marL="0" lvl="0" indent="0">
              <a:buNone/>
            </a:pPr>
            <a:endParaRPr lang="en-US" dirty="0" smtClean="0"/>
          </a:p>
          <a:p>
            <a:pPr marL="0" lvl="0" indent="0">
              <a:buNone/>
            </a:pPr>
            <a:endParaRPr lang="en-US" dirty="0" smtClean="0"/>
          </a:p>
          <a:p>
            <a:pPr marL="0" lvl="0" indent="0">
              <a:buNone/>
            </a:pPr>
            <a:r>
              <a:rPr lang="en-US" dirty="0" smtClean="0"/>
              <a:t>Building and Assessing your secure</a:t>
            </a:r>
            <a:r>
              <a:rPr lang="en-US" baseline="0" dirty="0" smtClean="0"/>
              <a:t> foundation</a:t>
            </a:r>
          </a:p>
          <a:p>
            <a:pPr marL="171450" lvl="0" indent="-171450">
              <a:buFont typeface="Arial" charset="0"/>
              <a:buChar char="•"/>
            </a:pPr>
            <a:r>
              <a:rPr lang="en-US" dirty="0" smtClean="0"/>
              <a:t>Visibility to and acknowledgement of your own issues and address them</a:t>
            </a:r>
          </a:p>
          <a:p>
            <a:pPr marL="171450" lvl="0" indent="-171450">
              <a:buFont typeface="Arial" charset="0"/>
              <a:buChar char="•"/>
            </a:pPr>
            <a:r>
              <a:rPr lang="en-US" dirty="0" smtClean="0"/>
              <a:t>Third party assessments</a:t>
            </a:r>
          </a:p>
          <a:p>
            <a:pPr marL="0" lvl="0" indent="0">
              <a:buFont typeface="Arial" charset="0"/>
              <a:buNone/>
            </a:pPr>
            <a:endParaRPr lang="en-US" dirty="0" smtClean="0"/>
          </a:p>
          <a:p>
            <a:pPr marL="0" lvl="0" indent="0">
              <a:buFont typeface="Arial" charset="0"/>
              <a:buNone/>
            </a:pPr>
            <a:r>
              <a:rPr lang="en-US" dirty="0" smtClean="0"/>
              <a:t>Maintaining</a:t>
            </a:r>
            <a:r>
              <a:rPr lang="en-US" baseline="0" dirty="0" smtClean="0"/>
              <a:t> your digital solution</a:t>
            </a:r>
          </a:p>
          <a:p>
            <a:pPr marL="0" lvl="0" indent="0">
              <a:buFont typeface="Arial" charset="0"/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2376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VA is an easy way to get started</a:t>
            </a:r>
            <a:r>
              <a:rPr lang="en-US" baseline="0" dirty="0" smtClean="0"/>
              <a:t> gaining network and security visibility into any segment of your SP Networks at no cost.  This is a “free” service offered by Cisco to all the attendees of today’s webinar.  All registrants will be emailed a link to sign up for the SOVA along with details on </a:t>
            </a:r>
            <a:r>
              <a:rPr lang="en-US" baseline="0" smtClean="0"/>
              <a:t>the process. 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For INTERNAL Use Only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AF62319-D580-46FB-95A5-583D351A93A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6934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9786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 smtClean="0">
              <a:solidFill>
                <a:schemeClr val="tx1"/>
              </a:solidFill>
              <a:latin typeface="Arial" panose="020B0604020202020204" pitchFamily="34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8622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 the 3 markets that GSP is covering (Telco, Cable and Web),</a:t>
            </a:r>
            <a:r>
              <a:rPr lang="en-US" baseline="0" dirty="0" smtClean="0"/>
              <a:t> </a:t>
            </a:r>
            <a:r>
              <a:rPr lang="en-US" dirty="0" smtClean="0"/>
              <a:t>Digitization or</a:t>
            </a:r>
            <a:r>
              <a:rPr lang="en-US" baseline="0" dirty="0" smtClean="0"/>
              <a:t> the digital business transformation is leading the path for several market dynamics: cloud, IoT, and 5G</a:t>
            </a:r>
          </a:p>
          <a:p>
            <a:endParaRPr lang="en-US" baseline="0" dirty="0" smtClean="0"/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 baseline="0" dirty="0" smtClean="0"/>
              <a:t>First </a:t>
            </a:r>
            <a:r>
              <a:rPr lang="en-US" b="1" baseline="0" dirty="0" smtClean="0"/>
              <a:t>more applications and workloads will move to the cloud</a:t>
            </a:r>
            <a:r>
              <a:rPr lang="en-US" baseline="0" dirty="0" smtClean="0"/>
              <a:t> due to the scale and economic benefits. This will result in a 4 times increase in global cloud traffic through 2020, (Source = Cisco GCI)</a:t>
            </a:r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 baseline="0" dirty="0" smtClean="0"/>
              <a:t>There will be </a:t>
            </a:r>
            <a:r>
              <a:rPr lang="en-US" b="1" baseline="0" dirty="0" smtClean="0"/>
              <a:t>more IoT</a:t>
            </a:r>
            <a:r>
              <a:rPr lang="en-US" baseline="0" dirty="0" smtClean="0"/>
              <a:t>. As data, people, processes, and devices become increasingly connected, through 2020 nearly half of total connected devices will be machine-2-machine (M2M). ( Source = Cisco VNI)</a:t>
            </a:r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 b="1" baseline="0" dirty="0" smtClean="0"/>
              <a:t>Video is already the majority of fixed and mobile traffic</a:t>
            </a:r>
            <a:r>
              <a:rPr lang="en-US" baseline="0" dirty="0" smtClean="0"/>
              <a:t>. This will continue to drive global mobile traffic to the tune of 8 times over the next four years. And as </a:t>
            </a:r>
            <a:r>
              <a:rPr lang="en-US" b="0" baseline="0" dirty="0" smtClean="0"/>
              <a:t>the</a:t>
            </a:r>
            <a:r>
              <a:rPr lang="en-US" b="1" baseline="0" dirty="0" smtClean="0"/>
              <a:t> transition to 5G </a:t>
            </a:r>
            <a:r>
              <a:rPr lang="en-US" baseline="0" dirty="0" smtClean="0"/>
              <a:t>occurs, video will be one of the primary beneficiaries with faster speed and improved quality. (Source = Cisco Mobile VNI)</a:t>
            </a:r>
          </a:p>
          <a:p>
            <a:pPr marL="181154" indent="-181154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r>
              <a:rPr lang="en-US" baseline="0" dirty="0" smtClean="0"/>
              <a:t>The blending of these dynamics leads to a $2 trillion economic opportunity for service providers over the next decade through new services and operational savings (Cisco Consulting Services). But there are more transitions at bay…</a:t>
            </a:r>
          </a:p>
          <a:p>
            <a:endParaRPr lang="en-US" baseline="0" dirty="0" smtClean="0"/>
          </a:p>
          <a:p>
            <a:r>
              <a:rPr lang="en-US" baseline="0" dirty="0" smtClean="0"/>
              <a:t>…And the pace of growth is relentl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538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r>
              <a:rPr lang="en-US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Key</a:t>
            </a:r>
            <a:r>
              <a:rPr lang="en-US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Challenges for Service Providers: </a:t>
            </a:r>
          </a:p>
          <a:p>
            <a:endParaRPr lang="en-US" kern="1200" baseline="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en-US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hanging Market Dynamics for SPS: They are facing a saturated market, everyone has Cable, Phone, and Internet. They need to come up with new revenue streams. SPs are also in a constant state of defense, DDoS attacks are becoming a way of life. </a:t>
            </a:r>
          </a:p>
          <a:p>
            <a:pPr marL="171450" indent="-171450">
              <a:buFontTx/>
              <a:buChar char="-"/>
            </a:pPr>
            <a:r>
              <a:rPr lang="en-US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Reducing Complexity: With massive networks, little visibility, and noise from the endpoint customers, reducing complexity is a necessity for SPs. </a:t>
            </a:r>
          </a:p>
          <a:p>
            <a:pPr marL="171450" indent="-171450">
              <a:buFontTx/>
              <a:buChar char="-"/>
            </a:pPr>
            <a:r>
              <a:rPr lang="en-US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peeding Innovating: New technology has different security implications that SPs need to take into account, including 5G, SDN/NFV, and Cloud and </a:t>
            </a:r>
            <a:r>
              <a:rPr lang="en-US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IoT</a:t>
            </a:r>
            <a:r>
              <a:rPr lang="en-US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buFontTx/>
              <a:buChar char="-"/>
            </a:pPr>
            <a:r>
              <a:rPr lang="en-US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Finally, there is a workforce shortage of cybersecurity talent that is only increasing as time continues. </a:t>
            </a:r>
          </a:p>
          <a:p>
            <a:pPr marL="0" indent="0">
              <a:buFontTx/>
              <a:buNone/>
            </a:pPr>
            <a:r>
              <a:rPr lang="en-US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 </a:t>
            </a:r>
          </a:p>
          <a:p>
            <a:r>
              <a:rPr lang="en-US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59% of CIOs report an inability to change business processes as needed due to IT complexity</a:t>
            </a:r>
          </a:p>
          <a:p>
            <a:r>
              <a:rPr lang="en-US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262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8842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How des this fit in with the</a:t>
            </a:r>
            <a:r>
              <a:rPr lang="en-US" baseline="0" dirty="0" smtClean="0"/>
              <a:t> need offered framework? Let’s take a look- </a:t>
            </a:r>
          </a:p>
          <a:p>
            <a:pPr marL="0" indent="0">
              <a:buNone/>
            </a:pPr>
            <a:endParaRPr lang="en-US" dirty="0" smtClean="0"/>
          </a:p>
          <a:p>
            <a:pPr marL="228600" indent="-228600">
              <a:buAutoNum type="arabicPeriod"/>
            </a:pPr>
            <a:r>
              <a:rPr lang="en-US" dirty="0" smtClean="0"/>
              <a:t>Is your customer</a:t>
            </a:r>
            <a:r>
              <a:rPr lang="en-US" baseline="0" dirty="0" smtClean="0"/>
              <a:t> determining if their environment is ready for next generation firewalls? (Advisory Services) </a:t>
            </a:r>
          </a:p>
          <a:p>
            <a:pPr marL="685800" lvl="1" indent="-228600">
              <a:buAutoNum type="arabicPeriod"/>
            </a:pPr>
            <a:r>
              <a:rPr lang="en-US" baseline="0" dirty="0" smtClean="0"/>
              <a:t>CMPA- See the CMPA offer (will not be covered in this PPT)</a:t>
            </a:r>
          </a:p>
          <a:p>
            <a:pPr marL="228600" indent="-228600">
              <a:buAutoNum type="arabicPeriod"/>
            </a:pPr>
            <a:r>
              <a:rPr lang="en-US" baseline="0" dirty="0" smtClean="0"/>
              <a:t>Does the customer plan on managing the new hardware in-house? (Managed Services) </a:t>
            </a:r>
          </a:p>
          <a:p>
            <a:pPr marL="685800" lvl="1" indent="-228600">
              <a:buAutoNum type="arabicPeriod"/>
            </a:pPr>
            <a:r>
              <a:rPr lang="en-US" baseline="0" dirty="0" smtClean="0"/>
              <a:t>ATA- Just know we can help with this service but it will not be covered here. </a:t>
            </a:r>
          </a:p>
          <a:p>
            <a:pPr marL="228600" marR="0" lvl="0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Has the customer budgeted for the installation of the new hardware + configuration? (Implementation Services)</a:t>
            </a:r>
          </a:p>
          <a:p>
            <a:pPr marL="685800" marR="0" lvl="1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Deployment Services </a:t>
            </a:r>
          </a:p>
          <a:p>
            <a:pPr marL="685800" marR="0" lvl="1" indent="-22860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baseline="0" dirty="0" smtClean="0"/>
              <a:t>Migration Services </a:t>
            </a:r>
          </a:p>
          <a:p>
            <a:pPr marL="0" lv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2505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724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olution: </a:t>
            </a:r>
          </a:p>
          <a:p>
            <a:pPr marL="171450" indent="-171450">
              <a:buFont typeface="Arial" charset="0"/>
              <a:buChar char="•"/>
            </a:pPr>
            <a:endParaRPr lang="en-US" dirty="0" smtClean="0"/>
          </a:p>
          <a:p>
            <a:pPr marL="171450" indent="-171450">
              <a:buClr>
                <a:srgbClr val="005073"/>
              </a:buClr>
              <a:buFont typeface="Arial" charset="0"/>
              <a:buChar char="•"/>
            </a:pPr>
            <a:r>
              <a:rPr lang="en-US" sz="1200" dirty="0" smtClean="0">
                <a:solidFill>
                  <a:srgbClr val="005073"/>
                </a:solidFill>
              </a:rPr>
              <a:t>Conducted Cisco Cybersecurity Maturity Program Assessment to evaluate improvement opportunities </a:t>
            </a:r>
          </a:p>
          <a:p>
            <a:pPr marL="171450" indent="-171450">
              <a:buClr>
                <a:srgbClr val="005073"/>
              </a:buClr>
              <a:buFont typeface="Arial" charset="0"/>
              <a:buChar char="•"/>
            </a:pPr>
            <a:r>
              <a:rPr lang="en-US" sz="1200" dirty="0" smtClean="0">
                <a:solidFill>
                  <a:srgbClr val="005073"/>
                </a:solidFill>
              </a:rPr>
              <a:t>Defined key focus areas of security concerns </a:t>
            </a:r>
          </a:p>
          <a:p>
            <a:pPr marL="171450" indent="-171450">
              <a:buClr>
                <a:srgbClr val="005073"/>
              </a:buClr>
              <a:buFont typeface="Arial" charset="0"/>
              <a:buChar char="•"/>
            </a:pPr>
            <a:r>
              <a:rPr lang="en-US" sz="1200" dirty="0" smtClean="0">
                <a:solidFill>
                  <a:srgbClr val="005073"/>
                </a:solidFill>
              </a:rPr>
              <a:t>Increased security posture awarenes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3996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Clr>
                <a:srgbClr val="005073"/>
              </a:buClr>
              <a:buFont typeface="Arial" charset="0"/>
              <a:buChar char="•"/>
            </a:pPr>
            <a:r>
              <a:rPr lang="en-US" sz="1200" dirty="0" smtClean="0">
                <a:solidFill>
                  <a:srgbClr val="005073"/>
                </a:solidFill>
              </a:rPr>
              <a:t>Customer gained a nuanced view of strength and weakness as it related to securing their enterprise</a:t>
            </a:r>
          </a:p>
          <a:p>
            <a:pPr marL="171450" indent="-171450">
              <a:buClr>
                <a:srgbClr val="005073"/>
              </a:buClr>
              <a:buFont typeface="Arial" charset="0"/>
              <a:buChar char="•"/>
            </a:pPr>
            <a:r>
              <a:rPr lang="en-US" sz="1200" dirty="0" smtClean="0">
                <a:solidFill>
                  <a:srgbClr val="005073"/>
                </a:solidFill>
              </a:rPr>
              <a:t>Gave them an objective third-party view that contrasted their existing people, process and technology vs. best practice</a:t>
            </a:r>
          </a:p>
          <a:p>
            <a:pPr marL="171450" indent="-171450">
              <a:buClr>
                <a:srgbClr val="005073"/>
              </a:buClr>
              <a:buFont typeface="Arial" charset="0"/>
              <a:buChar char="•"/>
            </a:pPr>
            <a:r>
              <a:rPr lang="en-US" sz="1200" dirty="0" smtClean="0">
                <a:solidFill>
                  <a:srgbClr val="005073"/>
                </a:solidFill>
              </a:rPr>
              <a:t>Allowed them to begin immediate remediation efforts by following a ranked list of priority item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146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2.png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2.png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9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.bin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2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.bin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3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.bin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6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6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.bin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7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8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9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942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64433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98177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8333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172386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099641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867435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6703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00408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010742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6070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9133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80305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559618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68612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4098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56627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9173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437871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851309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22413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28893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66817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672446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309167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180574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817609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111553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63132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948011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5073">
                  <a:alpha val="60000"/>
                </a:srgbClr>
              </a:solidFill>
              <a:latin typeface="CiscoSansTT ExtraLight"/>
              <a:ea typeface="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946757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0665171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>
              <a:defRPr/>
            </a:pPr>
            <a:r>
              <a:rPr lang="en-US" sz="600" spc="20" dirty="0">
                <a:solidFill>
                  <a:srgbClr val="005073">
                    <a:alpha val="60000"/>
                  </a:srgbClr>
                </a:solidFill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2512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10876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08819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7669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448923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875015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6421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93825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4701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8295111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1030569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157197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9738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949057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548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5634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35995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525852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02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84750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284493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29127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662283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188623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83484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12626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994581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665209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25272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8630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948011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5073">
                  <a:alpha val="60000"/>
                </a:srgbClr>
              </a:solidFill>
              <a:latin typeface="CiscoSansTT ExtraLight"/>
              <a:ea typeface="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946757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0741599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289685"/>
      </p:ext>
    </p:extLst>
  </p:cSld>
  <p:clrMapOvr>
    <a:masterClrMapping/>
  </p:clrMapOvr>
  <p:transition spd="slow">
    <p:wip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4189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8825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1847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43610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18340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82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56571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184816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865925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102695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3914639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13104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218794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44059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19347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14789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05199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 userDrawn="1">
          <p15:clr>
            <a:srgbClr val="FBAE40"/>
          </p15:clr>
        </p15:guide>
        <p15:guide id="3" pos="2598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1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396878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155843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751633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115848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617718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16827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683436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975947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318018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55683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 userDrawn="1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13393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948011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5073">
                  <a:alpha val="60000"/>
                </a:srgbClr>
              </a:solidFill>
              <a:latin typeface="CiscoSansTT ExtraLight"/>
              <a:ea typeface="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946757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329953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9890727"/>
      </p:ext>
    </p:extLst>
  </p:cSld>
  <p:clrMapOvr>
    <a:masterClrMapping/>
  </p:clrMapOvr>
  <p:transition spd="slow">
    <p:wip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95817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46216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084396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33103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564523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635795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39761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05512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3158469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9697883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435141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716970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178664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520389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242022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75848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293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07367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91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94826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2193" userDrawn="1">
          <p15:clr>
            <a:srgbClr val="FBAE40"/>
          </p15:clr>
        </p15:guide>
        <p15:guide id="4" pos="2675" userDrawn="1">
          <p15:clr>
            <a:srgbClr val="FBAE40"/>
          </p15:clr>
        </p15:guide>
        <p15:guide id="7" pos="3206" userDrawn="1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903028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674627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724791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44494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2554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9533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023141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365144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78552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948011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5073">
                  <a:alpha val="60000"/>
                </a:srgbClr>
              </a:solidFill>
              <a:latin typeface="CiscoSansTT ExtraLight"/>
              <a:ea typeface="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946757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8269405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27646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3160828"/>
      </p:ext>
    </p:extLst>
  </p:cSld>
  <p:clrMapOvr>
    <a:masterClrMapping/>
  </p:clrMapOvr>
  <p:transition spd="slow">
    <p:wip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chemeClr val="tx2"/>
            </a:gs>
            <a:gs pos="100000">
              <a:schemeClr val="accent1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3003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8922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N28505_Blue_Nightscape_sm_format_03052015_Flat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0776" cy="5143500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Calibri"/>
                <a:cs typeface="Calibri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Calibri"/>
                <a:ea typeface="+mn-ea"/>
                <a:cs typeface="Calibri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Calibri"/>
                <a:ea typeface="+mn-ea"/>
                <a:cs typeface="Calibri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3003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Calibri"/>
                <a:cs typeface="Calibri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828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0" y="320675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3130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Calibri"/>
                <a:cs typeface="Calibri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Calibri"/>
                <a:ea typeface="+mn-ea"/>
                <a:cs typeface="Calibri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Calibri"/>
                <a:ea typeface="+mn-ea"/>
                <a:cs typeface="Calibri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6697013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Calibri"/>
                <a:ea typeface="+mn-ea"/>
                <a:cs typeface="Calibri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011B42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06353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flip="none" rotWithShape="1">
          <a:gsLst>
            <a:gs pos="0">
              <a:schemeClr val="tx2"/>
            </a:gs>
            <a:gs pos="100000">
              <a:schemeClr val="accent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6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425" y="4631703"/>
            <a:ext cx="540238" cy="33214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118699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N28505_blue-shortandwide_v2_wGlow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7310"/>
          </a:xfrm>
          <a:prstGeom prst="rect">
            <a:avLst/>
          </a:prstGeom>
        </p:spPr>
      </p:pic>
      <p:pic>
        <p:nvPicPr>
          <p:cNvPr id="9" name="Picture Placeholder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" y="0"/>
            <a:ext cx="9137231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05565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4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4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425" y="4631703"/>
            <a:ext cx="540238" cy="33214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6042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05565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5003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163579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7047923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44655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 and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62187"/>
            <a:ext cx="8345926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latin typeface="Calibri"/>
                <a:ea typeface="Arial"/>
                <a:cs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4365841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06178553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66515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26129563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Calibri"/>
                <a:cs typeface="Calibri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Calibri"/>
                <a:cs typeface="Calibri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0348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Title and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Calibri"/>
                <a:cs typeface="Calibri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Calibri"/>
                <a:cs typeface="Calibri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62187"/>
            <a:ext cx="8345926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latin typeface="Calibri"/>
                <a:ea typeface="Arial"/>
                <a:cs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90270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90995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12700" cap="flat" cmpd="sng">
            <a:solidFill>
              <a:srgbClr val="AB08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spc="-75" baseline="0" dirty="0" smtClean="0">
                <a:solidFill>
                  <a:srgbClr val="676767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i="0" kern="1200" spc="-75" baseline="0" dirty="0">
                <a:solidFill>
                  <a:srgbClr val="676767"/>
                </a:solidFill>
                <a:latin typeface="Calibri"/>
                <a:ea typeface="+mj-ea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160292"/>
      </p:ext>
    </p:extLst>
  </p:cSld>
  <p:clrMapOvr>
    <a:masterClrMapping/>
  </p:clrMapOvr>
  <p:transition spd="med">
    <p:fade/>
  </p:transition>
  <p:hf hdr="0" ftr="0" dt="0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12700" cap="flat" cmpd="sng">
            <a:solidFill>
              <a:srgbClr val="AB08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12700" cap="flat" cmpd="sng">
            <a:solidFill>
              <a:srgbClr val="AB08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55734773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bg1">
                    <a:lumMod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rgbClr val="7F7F7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420491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67849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8180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707780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12700" cap="flat" cmpd="sng">
            <a:solidFill>
              <a:srgbClr val="AB08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accent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58596142"/>
      </p:ext>
    </p:extLst>
  </p:cSld>
  <p:clrMapOvr>
    <a:masterClrMapping/>
  </p:clrMapOvr>
  <p:transition spd="slow">
    <p:wip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0618263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8193209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4731570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72401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cs typeface="Calibri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1428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kern="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56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kern="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 rot="10800000">
            <a:off x="764271" y="1622395"/>
            <a:ext cx="2318564" cy="2318564"/>
          </a:xfrm>
          <a:prstGeom prst="ellipse">
            <a:avLst/>
          </a:prstGeom>
          <a:solidFill>
            <a:srgbClr val="D81F1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kern="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0671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7049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752592023"/>
      </p:ext>
    </p:extLst>
  </p:cSld>
  <p:clrMapOvr>
    <a:masterClrMapping/>
  </p:clrMapOvr>
  <p:transition spd="slow">
    <p:wip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709630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01836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 userDrawn="1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0399924"/>
      </p:ext>
    </p:extLst>
  </p:cSld>
  <p:clrMapOvr>
    <a:masterClrMapping/>
  </p:clrMapOvr>
  <p:transition spd="slow">
    <p:wip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32647664"/>
      </p:ext>
    </p:extLst>
  </p:cSld>
  <p:clrMapOvr>
    <a:masterClrMapping/>
  </p:clrMapOvr>
  <p:transition spd="slow">
    <p:wip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26502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44540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3879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1156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8269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rgbClr val="19295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6924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3369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" y="0"/>
            <a:ext cx="9142602" cy="5162550"/>
          </a:xfrm>
          <a:prstGeom prst="rect">
            <a:avLst/>
          </a:prstGeom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12962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13787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bg>
      <p:bgPr>
        <a:gradFill rotWithShape="1">
          <a:gsLst>
            <a:gs pos="0">
              <a:schemeClr val="tx2"/>
            </a:gs>
            <a:gs pos="100000">
              <a:schemeClr val="accent1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44029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chemeClr val="tx2"/>
            </a:gs>
            <a:gs pos="100000">
              <a:schemeClr val="accent1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3003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1972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N28505_Blue_Nightscape_sm_format_03052015_Flat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0776" cy="5143500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Calibri"/>
                <a:cs typeface="Calibri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Calibri"/>
                <a:ea typeface="+mn-ea"/>
                <a:cs typeface="Calibri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Calibri"/>
                <a:ea typeface="+mn-ea"/>
                <a:cs typeface="Calibri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3003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Calibri"/>
                <a:cs typeface="Calibri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73814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2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0" y="320675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3130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Calibri"/>
                <a:cs typeface="Calibri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Calibri"/>
                <a:ea typeface="+mn-ea"/>
                <a:cs typeface="Calibri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Calibri"/>
                <a:ea typeface="+mn-ea"/>
                <a:cs typeface="Calibri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496324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Calibri"/>
                <a:ea typeface="+mn-ea"/>
                <a:cs typeface="Calibri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011B42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50321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flip="none" rotWithShape="1">
          <a:gsLst>
            <a:gs pos="0">
              <a:schemeClr val="tx2"/>
            </a:gs>
            <a:gs pos="100000">
              <a:schemeClr val="accent1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6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425" y="4631703"/>
            <a:ext cx="540238" cy="33214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74044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N28505_blue-shortandwide_v2_wGlow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7310"/>
          </a:xfrm>
          <a:prstGeom prst="rect">
            <a:avLst/>
          </a:prstGeom>
        </p:spPr>
      </p:pic>
      <p:pic>
        <p:nvPicPr>
          <p:cNvPr id="9" name="Picture Placeholder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" y="0"/>
            <a:ext cx="9137231" cy="51435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05565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5974080" y="480933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25000"/>
                  </a:srgbClr>
                </a:solidFill>
                <a:latin typeface="Arial"/>
                <a:ea typeface="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25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4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4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6425" y="4631703"/>
            <a:ext cx="540238" cy="33214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89996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endParaRPr lang="en-US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05565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5374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8854762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0754135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75956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 and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62187"/>
            <a:ext cx="8345926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latin typeface="Calibri"/>
                <a:ea typeface="Arial"/>
                <a:cs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476391"/>
      </p:ext>
    </p:extLst>
  </p:cSld>
  <p:clrMapOvr>
    <a:masterClrMapping/>
  </p:clrMapOvr>
  <p:transition spd="med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4913013"/>
      </p:ext>
    </p:extLst>
  </p:cSld>
  <p:clrMapOvr>
    <a:masterClrMapping/>
  </p:clrMapOvr>
  <p:transition spd="med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66515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80458245"/>
      </p:ext>
    </p:extLst>
  </p:cSld>
  <p:clrMapOvr>
    <a:masterClrMapping/>
  </p:clrMapOvr>
  <p:transition spd="med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Calibri"/>
                <a:cs typeface="Calibri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Calibri"/>
                <a:cs typeface="Calibri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039013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Title and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Calibri"/>
                <a:cs typeface="Calibri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Calibri"/>
                <a:cs typeface="Calibri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62187"/>
            <a:ext cx="8345926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>
                <a:latin typeface="Calibri"/>
                <a:ea typeface="Arial"/>
                <a:cs typeface="Calibri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57794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6003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12700" cap="flat" cmpd="sng">
            <a:solidFill>
              <a:srgbClr val="AB08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spc="-75" baseline="0" dirty="0" smtClean="0">
                <a:solidFill>
                  <a:srgbClr val="676767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i="0" kern="1200" spc="-75" baseline="0" dirty="0">
                <a:solidFill>
                  <a:srgbClr val="676767"/>
                </a:solidFill>
                <a:latin typeface="Calibri"/>
                <a:ea typeface="+mj-ea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16676"/>
      </p:ext>
    </p:extLst>
  </p:cSld>
  <p:clrMapOvr>
    <a:masterClrMapping/>
  </p:clrMapOvr>
  <p:transition spd="med">
    <p:fade/>
  </p:transition>
  <p:hf hdr="0" ftr="0" dt="0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12700" cap="flat" cmpd="sng">
            <a:solidFill>
              <a:srgbClr val="AB08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12700" cap="flat" cmpd="sng">
            <a:solidFill>
              <a:srgbClr val="AB08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alibri"/>
                <a:ea typeface="+mj-ea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alibri"/>
                <a:cs typeface="Calibri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29832246"/>
      </p:ext>
    </p:extLst>
  </p:cSld>
  <p:clrMapOvr>
    <a:masterClrMapping/>
  </p:clrMapOvr>
  <p:transition spd="med"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bg1">
                    <a:lumMod val="50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rgbClr val="7F7F7F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alibri"/>
                <a:cs typeface="Calibri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alibri"/>
                <a:cs typeface="Calibri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alibri"/>
                <a:cs typeface="Calibri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0989220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3233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311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011B42"/>
                </a:solidFill>
                <a:latin typeface="Calibri"/>
                <a:cs typeface="Calibri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393167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12700" cap="flat" cmpd="sng">
            <a:solidFill>
              <a:srgbClr val="AB08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accent1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12627280"/>
      </p:ext>
    </p:extLst>
  </p:cSld>
  <p:clrMapOvr>
    <a:masterClrMapping/>
  </p:clrMapOvr>
  <p:transition spd="slow">
    <p:wip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3859771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Calibri"/>
                <a:cs typeface="Calibri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0094104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7328967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5774594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cs typeface="Calibri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1428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kern="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563B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kern="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 rot="10800000">
            <a:off x="764271" y="1622395"/>
            <a:ext cx="2318564" cy="2318564"/>
          </a:xfrm>
          <a:prstGeom prst="ellipse">
            <a:avLst/>
          </a:prstGeom>
          <a:solidFill>
            <a:srgbClr val="D81F1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kern="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0866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>
                <a:latin typeface="Calibri"/>
                <a:cs typeface="Calibri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alibri"/>
                <a:cs typeface="Calibri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8507500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984121378"/>
      </p:ext>
    </p:extLst>
  </p:cSld>
  <p:clrMapOvr>
    <a:masterClrMapping/>
  </p:clrMapOvr>
  <p:transition spd="slow">
    <p:wip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7012067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86854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1896571"/>
      </p:ext>
    </p:extLst>
  </p:cSld>
  <p:clrMapOvr>
    <a:masterClrMapping/>
  </p:clrMapOvr>
  <p:transition spd="slow">
    <p:wip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721664"/>
      </p:ext>
    </p:extLst>
  </p:cSld>
  <p:clrMapOvr>
    <a:masterClrMapping/>
  </p:clrMapOvr>
  <p:transition spd="slow">
    <p:wip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4537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32297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741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192954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0728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030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rgbClr val="19295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36196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2791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5" y="0"/>
            <a:ext cx="9142602" cy="5162550"/>
          </a:xfrm>
          <a:prstGeom prst="rect">
            <a:avLst/>
          </a:prstGeom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01580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66046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bg>
      <p:bgPr>
        <a:gradFill rotWithShape="1">
          <a:gsLst>
            <a:gs pos="0">
              <a:schemeClr val="tx2"/>
            </a:gs>
            <a:gs pos="100000">
              <a:schemeClr val="accent1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51854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2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  <p:pic>
        <p:nvPicPr>
          <p:cNvPr id="9" name="Picture 4" descr="Y:\Production\Cisco Projects\C97 Presentation (PPT-PDF)\C97-737517\Supported files\Untitled-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78032" y="-1"/>
            <a:ext cx="4665969" cy="51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4160805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6" y="2462028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07268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55876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3605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73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70141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9058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39202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6439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777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09247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95311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25698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21210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64360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00507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89884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13052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614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14369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00047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48042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439412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88619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31512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9" y="1622426"/>
            <a:ext cx="2319337" cy="23177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6"/>
            <a:ext cx="2319338" cy="231775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9" y="1622426"/>
            <a:ext cx="2319337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42934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6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8844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2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88536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802927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48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05188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7441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9639612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23258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350282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2" y="3655079"/>
            <a:ext cx="5074070" cy="628650"/>
          </a:xfrm>
        </p:spPr>
        <p:txBody>
          <a:bodyPr/>
          <a:lstStyle>
            <a:lvl1pPr>
              <a:defRPr sz="2000">
                <a:solidFill>
                  <a:srgbClr val="58585B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028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6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4390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1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70" y="546735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5619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147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854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01726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4158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auto">
          <a:xfrm>
            <a:off x="3527454" y="2016834"/>
            <a:ext cx="2089092" cy="1109832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046716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14142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16876" y="4930381"/>
            <a:ext cx="1079500" cy="202406"/>
          </a:xfrm>
          <a:prstGeom prst="rect">
            <a:avLst/>
          </a:prstGeom>
          <a:ln/>
        </p:spPr>
        <p:txBody>
          <a:bodyPr lIns="68589" tIns="34295" rIns="68589" bIns="34295"/>
          <a:lstStyle>
            <a:lvl1pPr>
              <a:defRPr/>
            </a:lvl1pPr>
          </a:lstStyle>
          <a:p>
            <a:pPr defTabSz="457189"/>
            <a:fld id="{347A26B5-E056-4925-8669-4D801F95C235}" type="slidenum">
              <a:rPr lang="en-US" smtClean="0">
                <a:solidFill>
                  <a:srgbClr val="39393B"/>
                </a:solidFill>
                <a:ea typeface="ＭＳ Ｐゴシック" pitchFamily="34" charset="-128"/>
                <a:cs typeface=""/>
              </a:rPr>
              <a:pPr defTabSz="457189"/>
              <a:t>‹#›</a:t>
            </a:fld>
            <a:endParaRPr lang="en-US">
              <a:solidFill>
                <a:srgbClr val="39393B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9905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756097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731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56329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0456998"/>
      </p:ext>
    </p:extLst>
  </p:cSld>
  <p:clrMapOvr>
    <a:masterClrMapping/>
  </p:clrMapOvr>
  <p:transition spd="med"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3" y="1347788"/>
            <a:ext cx="8277344" cy="3168210"/>
          </a:xfrm>
          <a:prstGeom prst="rect">
            <a:avLst/>
          </a:prstGeom>
        </p:spPr>
        <p:txBody>
          <a:bodyPr lIns="91404" tIns="45702" rIns="91404" bIns="45702">
            <a:noAutofit/>
          </a:bodyPr>
          <a:lstStyle>
            <a:lvl1pPr marL="280873" indent="-22375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98" indent="-21581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16" indent="-17138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60" indent="-17138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43" indent="-16820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915861"/>
      </p:ext>
    </p:extLst>
  </p:cSld>
  <p:clrMapOvr>
    <a:masterClrMapping/>
  </p:clrMapOvr>
  <p:transition spd="med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8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928882"/>
            <a:ext cx="8277606" cy="288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 head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7" y="485585"/>
            <a:ext cx="8277608" cy="44329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052641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599" y="1"/>
            <a:ext cx="8689975" cy="688181"/>
          </a:xfrm>
        </p:spPr>
        <p:txBody>
          <a:bodyPr anchor="b"/>
          <a:lstStyle>
            <a:lvl1pPr>
              <a:defRPr sz="24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2" y="4900761"/>
            <a:ext cx="8731737" cy="158662"/>
          </a:xfrm>
        </p:spPr>
        <p:txBody>
          <a:bodyPr anchor="b"/>
          <a:lstStyle>
            <a:lvl1pPr marL="0" indent="0" algn="r">
              <a:buNone/>
              <a:defRPr sz="825" baseline="0">
                <a:solidFill>
                  <a:srgbClr val="9B9B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447664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78003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>
                    <a:alpha val="60000"/>
                  </a:srgbClr>
                </a:solidFill>
                <a:latin typeface="CiscoSans ExtraLight"/>
                <a:ea typeface="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5057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2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  <p:pic>
        <p:nvPicPr>
          <p:cNvPr id="9" name="Picture 4" descr="Y:\Production\Cisco Projects\C97 Presentation (PPT-PDF)\C97-737517\Supported files\Untitled-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78032" y="-1"/>
            <a:ext cx="4665969" cy="51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696215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6" y="2462028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28277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8801235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166553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110138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166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1639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1150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987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4711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4231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83646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5594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3658874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6980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00507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1297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57826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435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63808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7732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59680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27593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52182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9" y="1622426"/>
            <a:ext cx="2319337" cy="23177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6"/>
            <a:ext cx="2319338" cy="231775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9" y="1622426"/>
            <a:ext cx="2319337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24240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9199738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6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4552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2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2636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60185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48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93250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74755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833810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97018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2" y="3655079"/>
            <a:ext cx="5074070" cy="628650"/>
          </a:xfrm>
        </p:spPr>
        <p:txBody>
          <a:bodyPr/>
          <a:lstStyle>
            <a:lvl1pPr>
              <a:defRPr sz="2000">
                <a:solidFill>
                  <a:srgbClr val="58585B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854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6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43967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1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70" y="546735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43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177084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6032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87708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4253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2415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auto">
          <a:xfrm>
            <a:off x="3527454" y="2016834"/>
            <a:ext cx="2089092" cy="1109832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6212093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635579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16876" y="4930381"/>
            <a:ext cx="1079500" cy="202406"/>
          </a:xfrm>
          <a:prstGeom prst="rect">
            <a:avLst/>
          </a:prstGeom>
          <a:ln/>
        </p:spPr>
        <p:txBody>
          <a:bodyPr lIns="68589" tIns="34295" rIns="68589" bIns="34295"/>
          <a:lstStyle>
            <a:lvl1pPr>
              <a:defRPr/>
            </a:lvl1pPr>
          </a:lstStyle>
          <a:p>
            <a:pPr defTabSz="457189"/>
            <a:fld id="{347A26B5-E056-4925-8669-4D801F95C235}" type="slidenum">
              <a:rPr lang="en-US" smtClean="0">
                <a:solidFill>
                  <a:srgbClr val="39393B"/>
                </a:solidFill>
                <a:ea typeface="ＭＳ Ｐゴシック" pitchFamily="34" charset="-128"/>
                <a:cs typeface=""/>
              </a:rPr>
              <a:pPr defTabSz="457189"/>
              <a:t>‹#›</a:t>
            </a:fld>
            <a:endParaRPr lang="en-US">
              <a:solidFill>
                <a:srgbClr val="39393B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85270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281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35928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3589107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525751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3" y="1347788"/>
            <a:ext cx="8277344" cy="3168210"/>
          </a:xfrm>
          <a:prstGeom prst="rect">
            <a:avLst/>
          </a:prstGeom>
        </p:spPr>
        <p:txBody>
          <a:bodyPr lIns="91404" tIns="45702" rIns="91404" bIns="45702">
            <a:noAutofit/>
          </a:bodyPr>
          <a:lstStyle>
            <a:lvl1pPr marL="280873" indent="-22375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98" indent="-21581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16" indent="-17138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60" indent="-17138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43" indent="-16820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4611340"/>
      </p:ext>
    </p:extLst>
  </p:cSld>
  <p:clrMapOvr>
    <a:masterClrMapping/>
  </p:clrMapOvr>
  <p:transition spd="med">
    <p:fad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928882"/>
            <a:ext cx="8277606" cy="288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 head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7" y="485585"/>
            <a:ext cx="8277608" cy="44329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156748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599" y="1"/>
            <a:ext cx="8689975" cy="688181"/>
          </a:xfrm>
        </p:spPr>
        <p:txBody>
          <a:bodyPr anchor="b"/>
          <a:lstStyle>
            <a:lvl1pPr>
              <a:defRPr sz="24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2" y="4900761"/>
            <a:ext cx="8731737" cy="158662"/>
          </a:xfrm>
        </p:spPr>
        <p:txBody>
          <a:bodyPr anchor="b"/>
          <a:lstStyle>
            <a:lvl1pPr marL="0" indent="0" algn="r">
              <a:buNone/>
              <a:defRPr sz="825" baseline="0">
                <a:solidFill>
                  <a:srgbClr val="9B9B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158058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293465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>
                    <a:alpha val="60000"/>
                  </a:srgbClr>
                </a:solidFill>
                <a:latin typeface="CiscoSans ExtraLight"/>
                <a:ea typeface="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4121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2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  <p:pic>
        <p:nvPicPr>
          <p:cNvPr id="9" name="Picture 4" descr="Y:\Production\Cisco Projects\C97 Presentation (PPT-PDF)\C97-737517\Supported files\Untitled-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78032" y="-1"/>
            <a:ext cx="4665969" cy="51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627236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6" y="2462028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2282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107773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3396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0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037335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52945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79037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13226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43457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61852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84873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3952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87649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00507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60023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734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8972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50722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8443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68171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8657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2109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64146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50970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9" y="1622426"/>
            <a:ext cx="2319337" cy="23177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6"/>
            <a:ext cx="2319338" cy="231775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9" y="1622426"/>
            <a:ext cx="2319337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291246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6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98362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2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92868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952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174838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48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30610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2583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74119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77122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2" y="3655079"/>
            <a:ext cx="5074070" cy="628650"/>
          </a:xfrm>
        </p:spPr>
        <p:txBody>
          <a:bodyPr/>
          <a:lstStyle>
            <a:lvl1pPr>
              <a:defRPr sz="2000">
                <a:solidFill>
                  <a:srgbClr val="58585B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84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6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29224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1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70" y="546735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489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10418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0712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18804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804675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8849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auto">
          <a:xfrm>
            <a:off x="3527454" y="2016834"/>
            <a:ext cx="2089092" cy="1109832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20236544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44895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16876" y="4930381"/>
            <a:ext cx="1079500" cy="202406"/>
          </a:xfrm>
          <a:prstGeom prst="rect">
            <a:avLst/>
          </a:prstGeom>
          <a:ln/>
        </p:spPr>
        <p:txBody>
          <a:bodyPr lIns="68589" tIns="34295" rIns="68589" bIns="34295"/>
          <a:lstStyle>
            <a:lvl1pPr>
              <a:defRPr/>
            </a:lvl1pPr>
          </a:lstStyle>
          <a:p>
            <a:pPr defTabSz="457189"/>
            <a:fld id="{347A26B5-E056-4925-8669-4D801F95C235}" type="slidenum">
              <a:rPr lang="en-US" smtClean="0">
                <a:solidFill>
                  <a:srgbClr val="39393B"/>
                </a:solidFill>
                <a:ea typeface="ＭＳ Ｐゴシック" pitchFamily="34" charset="-128"/>
                <a:cs typeface=""/>
              </a:rPr>
              <a:pPr defTabSz="457189"/>
              <a:t>‹#›</a:t>
            </a:fld>
            <a:endParaRPr lang="en-US">
              <a:solidFill>
                <a:srgbClr val="39393B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89209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816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48711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9593179"/>
      </p:ext>
    </p:extLst>
  </p:cSld>
  <p:clrMapOvr>
    <a:masterClrMapping/>
  </p:clrMapOvr>
  <p:transition spd="med">
    <p:fad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3" y="1347788"/>
            <a:ext cx="8277344" cy="3168210"/>
          </a:xfrm>
          <a:prstGeom prst="rect">
            <a:avLst/>
          </a:prstGeom>
        </p:spPr>
        <p:txBody>
          <a:bodyPr lIns="91404" tIns="45702" rIns="91404" bIns="45702">
            <a:noAutofit/>
          </a:bodyPr>
          <a:lstStyle>
            <a:lvl1pPr marL="280873" indent="-22375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98" indent="-21581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16" indent="-17138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60" indent="-17138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43" indent="-16820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77340"/>
      </p:ext>
    </p:extLst>
  </p:cSld>
  <p:clrMapOvr>
    <a:masterClrMapping/>
  </p:clrMapOvr>
  <p:transition spd="med">
    <p:fade/>
  </p:transition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928882"/>
            <a:ext cx="8277606" cy="288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 head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7" y="485585"/>
            <a:ext cx="8277608" cy="44329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407253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599" y="1"/>
            <a:ext cx="8689975" cy="688181"/>
          </a:xfrm>
        </p:spPr>
        <p:txBody>
          <a:bodyPr anchor="b"/>
          <a:lstStyle>
            <a:lvl1pPr>
              <a:defRPr sz="24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2" y="4900761"/>
            <a:ext cx="8731737" cy="158662"/>
          </a:xfrm>
        </p:spPr>
        <p:txBody>
          <a:bodyPr anchor="b"/>
          <a:lstStyle>
            <a:lvl1pPr marL="0" indent="0" algn="r">
              <a:buNone/>
              <a:defRPr sz="825" baseline="0">
                <a:solidFill>
                  <a:srgbClr val="9B9B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03098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089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175460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>
                    <a:alpha val="60000"/>
                  </a:srgbClr>
                </a:solidFill>
                <a:latin typeface="CiscoSans ExtraLight"/>
                <a:ea typeface="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2624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2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  <p:pic>
        <p:nvPicPr>
          <p:cNvPr id="9" name="Picture 4" descr="Y:\Production\Cisco Projects\C97 Presentation (PPT-PDF)\C97-737517\Supported files\Untitled-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78032" y="-1"/>
            <a:ext cx="4665969" cy="51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36688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6" y="2462028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377942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420477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069989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935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97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5190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9327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33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53047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183590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43224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64564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572043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00507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401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68313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4243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9892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96184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4689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2437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39590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6612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9" y="1622426"/>
            <a:ext cx="2319337" cy="23177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6"/>
            <a:ext cx="2319338" cy="231775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9" y="1622426"/>
            <a:ext cx="2319337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1222490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6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62306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2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21062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74687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48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75280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53222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06339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767681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203246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2" y="3655079"/>
            <a:ext cx="5074070" cy="628650"/>
          </a:xfrm>
        </p:spPr>
        <p:txBody>
          <a:bodyPr/>
          <a:lstStyle>
            <a:lvl1pPr>
              <a:defRPr sz="2000">
                <a:solidFill>
                  <a:srgbClr val="58585B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440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6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71008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1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70" y="546735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358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04359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9866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404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8296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auto">
          <a:xfrm>
            <a:off x="3527454" y="2016834"/>
            <a:ext cx="2089092" cy="1109832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548768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59310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75602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16876" y="4930381"/>
            <a:ext cx="1079500" cy="202406"/>
          </a:xfrm>
          <a:prstGeom prst="rect">
            <a:avLst/>
          </a:prstGeom>
          <a:ln/>
        </p:spPr>
        <p:txBody>
          <a:bodyPr lIns="68589" tIns="34295" rIns="68589" bIns="34295"/>
          <a:lstStyle>
            <a:lvl1pPr>
              <a:defRPr/>
            </a:lvl1pPr>
          </a:lstStyle>
          <a:p>
            <a:pPr defTabSz="457189"/>
            <a:fld id="{347A26B5-E056-4925-8669-4D801F95C235}" type="slidenum">
              <a:rPr lang="en-US" smtClean="0">
                <a:solidFill>
                  <a:srgbClr val="39393B"/>
                </a:solidFill>
                <a:ea typeface="ＭＳ Ｐゴシック" pitchFamily="34" charset="-128"/>
                <a:cs typeface=""/>
              </a:rPr>
              <a:pPr defTabSz="457189"/>
              <a:t>‹#›</a:t>
            </a:fld>
            <a:endParaRPr lang="en-US">
              <a:solidFill>
                <a:srgbClr val="39393B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84318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196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86078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4798206"/>
      </p:ext>
    </p:extLst>
  </p:cSld>
  <p:clrMapOvr>
    <a:masterClrMapping/>
  </p:clrMapOvr>
  <p:transition spd="med"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3" y="1347788"/>
            <a:ext cx="8277344" cy="3168210"/>
          </a:xfrm>
          <a:prstGeom prst="rect">
            <a:avLst/>
          </a:prstGeom>
        </p:spPr>
        <p:txBody>
          <a:bodyPr lIns="91404" tIns="45702" rIns="91404" bIns="45702">
            <a:noAutofit/>
          </a:bodyPr>
          <a:lstStyle>
            <a:lvl1pPr marL="280873" indent="-22375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98" indent="-21581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16" indent="-17138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60" indent="-17138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43" indent="-16820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0435325"/>
      </p:ext>
    </p:extLst>
  </p:cSld>
  <p:clrMapOvr>
    <a:masterClrMapping/>
  </p:clrMapOvr>
  <p:transition spd="med"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928882"/>
            <a:ext cx="8277606" cy="288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 head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7" y="485585"/>
            <a:ext cx="8277608" cy="44329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3060122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599" y="1"/>
            <a:ext cx="8689975" cy="688181"/>
          </a:xfrm>
        </p:spPr>
        <p:txBody>
          <a:bodyPr anchor="b"/>
          <a:lstStyle>
            <a:lvl1pPr>
              <a:defRPr sz="24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2" y="4900761"/>
            <a:ext cx="8731737" cy="158662"/>
          </a:xfrm>
        </p:spPr>
        <p:txBody>
          <a:bodyPr anchor="b"/>
          <a:lstStyle>
            <a:lvl1pPr marL="0" indent="0" algn="r">
              <a:buNone/>
              <a:defRPr sz="825" baseline="0">
                <a:solidFill>
                  <a:srgbClr val="9B9B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1412140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44787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>
                    <a:alpha val="60000"/>
                  </a:srgbClr>
                </a:solidFill>
                <a:latin typeface="CiscoSans ExtraLight"/>
                <a:ea typeface="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713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2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  <p:pic>
        <p:nvPicPr>
          <p:cNvPr id="9" name="Picture 4" descr="Y:\Production\Cisco Projects\C97 Presentation (PPT-PDF)\C97-737517\Supported files\Untitled-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78032" y="-1"/>
            <a:ext cx="4665969" cy="51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84926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24637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6" y="2462028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61910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355085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1317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8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0187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54710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88188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45408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92967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85450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90168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5626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336875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00507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83430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54071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6896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84495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35803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32558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4979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03142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94845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18901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9" y="1622426"/>
            <a:ext cx="2319337" cy="23177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6"/>
            <a:ext cx="2319338" cy="231775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9" y="1622426"/>
            <a:ext cx="2319337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sz="18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14345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6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sz="1800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2939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2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84158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10212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48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61317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91950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40301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86684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2" y="3655079"/>
            <a:ext cx="5074070" cy="628650"/>
          </a:xfrm>
        </p:spPr>
        <p:txBody>
          <a:bodyPr/>
          <a:lstStyle>
            <a:lvl1pPr>
              <a:defRPr sz="2000">
                <a:solidFill>
                  <a:srgbClr val="58585B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7492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6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26443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494723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1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70" y="546735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06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39314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08885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6622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4104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auto">
          <a:xfrm>
            <a:off x="3527454" y="2016834"/>
            <a:ext cx="2089092" cy="1109832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4004719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54396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16876" y="4930381"/>
            <a:ext cx="1079500" cy="202406"/>
          </a:xfrm>
          <a:prstGeom prst="rect">
            <a:avLst/>
          </a:prstGeom>
          <a:ln/>
        </p:spPr>
        <p:txBody>
          <a:bodyPr lIns="68589" tIns="34295" rIns="68589" bIns="34295"/>
          <a:lstStyle>
            <a:lvl1pPr>
              <a:defRPr/>
            </a:lvl1pPr>
          </a:lstStyle>
          <a:p>
            <a:pPr defTabSz="457189"/>
            <a:fld id="{347A26B5-E056-4925-8669-4D801F95C235}" type="slidenum">
              <a:rPr lang="en-US" smtClean="0">
                <a:solidFill>
                  <a:srgbClr val="39393B"/>
                </a:solidFill>
                <a:ea typeface="ＭＳ Ｐゴシック" pitchFamily="34" charset="-128"/>
                <a:cs typeface=""/>
              </a:rPr>
              <a:pPr defTabSz="457189"/>
              <a:t>‹#›</a:t>
            </a:fld>
            <a:endParaRPr lang="en-US">
              <a:solidFill>
                <a:srgbClr val="39393B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678990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58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8375" y="4921124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286376" y="4825407"/>
            <a:ext cx="3167715" cy="24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28654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86353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9185384"/>
      </p:ext>
    </p:extLst>
  </p:cSld>
  <p:clrMapOvr>
    <a:masterClrMapping/>
  </p:clrMapOvr>
  <p:transition spd="med">
    <p:fade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3" y="1347788"/>
            <a:ext cx="8277344" cy="3168210"/>
          </a:xfrm>
          <a:prstGeom prst="rect">
            <a:avLst/>
          </a:prstGeom>
        </p:spPr>
        <p:txBody>
          <a:bodyPr lIns="91404" tIns="45702" rIns="91404" bIns="45702">
            <a:noAutofit/>
          </a:bodyPr>
          <a:lstStyle>
            <a:lvl1pPr marL="280873" indent="-22375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98" indent="-21581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16" indent="-17138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60" indent="-17138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43" indent="-16820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1196578"/>
      </p:ext>
    </p:extLst>
  </p:cSld>
  <p:clrMapOvr>
    <a:masterClrMapping/>
  </p:clrMapOvr>
  <p:transition spd="med">
    <p:fade/>
  </p:transition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0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928882"/>
            <a:ext cx="8277606" cy="288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 head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7" y="485585"/>
            <a:ext cx="8277608" cy="44329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087296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ept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28599" y="1"/>
            <a:ext cx="8689975" cy="688181"/>
          </a:xfrm>
        </p:spPr>
        <p:txBody>
          <a:bodyPr anchor="b"/>
          <a:lstStyle>
            <a:lvl1pPr>
              <a:defRPr sz="2400">
                <a:solidFill>
                  <a:srgbClr val="525252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228602" y="4900761"/>
            <a:ext cx="8731737" cy="158662"/>
          </a:xfrm>
        </p:spPr>
        <p:txBody>
          <a:bodyPr anchor="b"/>
          <a:lstStyle>
            <a:lvl1pPr marL="0" indent="0" algn="r">
              <a:buNone/>
              <a:defRPr sz="825" baseline="0">
                <a:solidFill>
                  <a:srgbClr val="9B9B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3247848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8716263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>
                    <a:alpha val="60000"/>
                  </a:srgbClr>
                </a:solidFill>
                <a:latin typeface="CiscoSans ExtraLight"/>
                <a:ea typeface="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5463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41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02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68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BCEB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11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68416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BCEB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24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073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92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8788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00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3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829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8467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201738"/>
            <a:ext cx="8115300" cy="280477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2398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948011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5073">
                  <a:alpha val="60000"/>
                </a:srgbClr>
              </a:solidFill>
              <a:latin typeface="CiscoSansTT ExtraLight"/>
              <a:ea typeface="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946757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5073">
                    <a:alpha val="60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3087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323276"/>
      </p:ext>
    </p:extLst>
  </p:cSld>
  <p:clrMapOvr>
    <a:masterClrMapping/>
  </p:clrMapOvr>
  <p:transition spd="med">
    <p:fade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871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201738"/>
            <a:ext cx="8280057" cy="321999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6318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5690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3498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6252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82908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BCEB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334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81077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68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9043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6748570"/>
      </p:ext>
    </p:extLst>
  </p:cSld>
  <p:clrMapOvr>
    <a:masterClrMapping/>
  </p:clrMapOvr>
  <p:transition spd="slow">
    <p:wipe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 smtClean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5306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84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hqprint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8373" y="3640491"/>
            <a:ext cx="2468880" cy="907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36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tx2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2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  <p:pic>
        <p:nvPicPr>
          <p:cNvPr id="9" name="Picture 4" descr="Y:\Production\Cisco Projects\C97 Presentation (PPT-PDF)\C97-737517\Supported files\Untitled-4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78032" y="-1"/>
            <a:ext cx="4665969" cy="51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728737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6" y="2462028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636647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169" y="4742908"/>
            <a:ext cx="21895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69" y="4921124"/>
            <a:ext cx="21895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917740"/>
            <a:ext cx="31677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270179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4287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729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08397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03211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1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4" descr="Y:\Production\Cisco Projects\C97 Presentation (PPT-PDF)\C97-737517\Supported files\Untitled-4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478032" y="-1"/>
            <a:ext cx="4665969" cy="51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087992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34351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8748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5470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7883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25646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735572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507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584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86474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61241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17408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6" y="2462028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9311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848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69525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77642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6646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9" y="1622426"/>
            <a:ext cx="2319337" cy="231775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6"/>
            <a:ext cx="2319338" cy="231775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9" y="1622426"/>
            <a:ext cx="2319337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951448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6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27652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3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2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18" name="Oval 17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97742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Oval 15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ln>
                <a:solidFill>
                  <a:srgbClr val="FFFFFF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97681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48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477750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117774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69" y="4921124"/>
            <a:ext cx="21895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917741"/>
            <a:ext cx="31677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7391743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22313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74290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2" y="3655079"/>
            <a:ext cx="5074070" cy="628650"/>
          </a:xfrm>
        </p:spPr>
        <p:txBody>
          <a:bodyPr/>
          <a:lstStyle>
            <a:lvl1pPr>
              <a:defRPr sz="2000">
                <a:solidFill>
                  <a:srgbClr val="58585B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9908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6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34778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1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70" y="546735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712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9250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7308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912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3562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6"/>
          <p:cNvSpPr>
            <a:spLocks noChangeAspect="1" noEditPoints="1"/>
          </p:cNvSpPr>
          <p:nvPr/>
        </p:nvSpPr>
        <p:spPr bwMode="auto">
          <a:xfrm>
            <a:off x="3527454" y="2016834"/>
            <a:ext cx="2089092" cy="1109832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4076487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5169" y="4921124"/>
            <a:ext cx="21895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ＭＳ Ｐゴシック" pitchFamily="34" charset="-128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286376" y="4917741"/>
            <a:ext cx="31677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621903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Slide-animated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dirty="0">
              <a:solidFill>
                <a:srgbClr val="005073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282873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16876" y="4930381"/>
            <a:ext cx="1079500" cy="202406"/>
          </a:xfrm>
          <a:prstGeom prst="rect">
            <a:avLst/>
          </a:prstGeom>
          <a:ln/>
        </p:spPr>
        <p:txBody>
          <a:bodyPr lIns="68589" tIns="34295" rIns="68589" bIns="34295"/>
          <a:lstStyle>
            <a:lvl1pPr>
              <a:defRPr/>
            </a:lvl1pPr>
          </a:lstStyle>
          <a:p>
            <a:pPr defTabSz="457189"/>
            <a:fld id="{347A26B5-E056-4925-8669-4D801F95C235}" type="slidenum">
              <a:rPr lang="en-US" smtClean="0">
                <a:solidFill>
                  <a:srgbClr val="39393B"/>
                </a:solidFill>
                <a:ea typeface="ＭＳ Ｐゴシック" pitchFamily="34" charset="-128"/>
                <a:cs typeface=""/>
              </a:rPr>
              <a:pPr defTabSz="457189"/>
              <a:t>‹#›</a:t>
            </a:fld>
            <a:endParaRPr lang="en-US">
              <a:solidFill>
                <a:srgbClr val="39393B"/>
              </a:solidFill>
              <a:ea typeface="ＭＳ Ｐゴシック" pitchFamily="34" charset="-128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735452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96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8515169" y="4921124"/>
            <a:ext cx="21895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286376" y="4917740"/>
            <a:ext cx="31677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555244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4350450"/>
      </p:ext>
    </p:extLst>
  </p:cSld>
  <p:clrMapOvr>
    <a:masterClrMapping/>
  </p:clrMapOvr>
  <p:transition spd="med">
    <p:fade/>
  </p:transition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3" y="1347788"/>
            <a:ext cx="8277344" cy="3168210"/>
          </a:xfrm>
          <a:prstGeom prst="rect">
            <a:avLst/>
          </a:prstGeom>
        </p:spPr>
        <p:txBody>
          <a:bodyPr lIns="91404" tIns="45702" rIns="91404" bIns="45702">
            <a:noAutofit/>
          </a:bodyPr>
          <a:lstStyle>
            <a:lvl1pPr marL="280873" indent="-22375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98" indent="-21581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16" indent="-17138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60" indent="-17138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43" indent="-16820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8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4521867"/>
      </p:ext>
    </p:extLst>
  </p:cSld>
  <p:clrMapOvr>
    <a:masterClrMapping/>
  </p:clrMapOvr>
  <p:transition spd="med">
    <p:fade/>
  </p:transition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928882"/>
            <a:ext cx="8277606" cy="288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 header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7" y="485585"/>
            <a:ext cx="8277608" cy="44329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677810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5073"/>
              </a:solidFill>
              <a:latin typeface="CiscoSansTT ExtraLight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594297594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78693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6629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647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9292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3821927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0603084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895663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490301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4435026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60288844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65555061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94" indent="-17144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189" indent="-165096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783" indent="-10953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0483273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3709082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1196332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35746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265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9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6439748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9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7023216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404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3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15" indent="-114297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12" indent="-114297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09" indent="-114297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341314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53571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1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59" indent="-16985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594" algn="l"/>
              </a:tabLst>
              <a:defRPr sz="2400"/>
            </a:lvl1pPr>
            <a:lvl2pPr marL="346067" indent="-1714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189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61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20" indent="-11271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6572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297" indent="-114297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594" indent="-114297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892" indent="-114297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189" indent="-123822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61" indent="-117472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7" y="1659843"/>
            <a:ext cx="3808797" cy="2931208"/>
          </a:xfrm>
          <a:prstGeom prst="rect">
            <a:avLst/>
          </a:prstGeom>
        </p:spPr>
        <p:txBody>
          <a:bodyPr/>
          <a:lstStyle>
            <a:lvl1pPr marL="114297" indent="-114297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594" indent="-114297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892" indent="-114297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189" indent="-123822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61" indent="-117472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208627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6" y="4062351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796657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4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41574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339127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3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22060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830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502831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359684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5" y="2129077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5073"/>
              </a:solidFill>
              <a:latin typeface="CiscoSansTT ExtraLight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50876920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28505_Blue_Nightscape_sm_format_03052015_Flat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5" y="0"/>
            <a:ext cx="9140776" cy="5143500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300364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00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43014" y="813314"/>
            <a:ext cx="8346737" cy="272793"/>
          </a:xfrm>
          <a:prstGeom prst="rect">
            <a:avLst/>
          </a:prstGeom>
        </p:spPr>
        <p:txBody>
          <a:bodyPr lIns="91440" tIns="0" rIns="91440" bIns="0">
            <a:noAutofit/>
          </a:bodyPr>
          <a:lstStyle>
            <a:lvl1pPr marL="0" indent="0">
              <a:buNone/>
              <a:defRPr sz="1600">
                <a:cs typeface="Adobe Arabic" panose="02040503050201020203" pitchFamily="18" charset="-78"/>
              </a:defRPr>
            </a:lvl1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91443"/>
            <a:ext cx="8336941" cy="655319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0020578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29716" y="180939"/>
            <a:ext cx="8580923" cy="628650"/>
          </a:xfrm>
          <a:prstGeom prst="rect">
            <a:avLst/>
          </a:prstGeom>
        </p:spPr>
        <p:txBody>
          <a:bodyPr anchor="b"/>
          <a:lstStyle>
            <a:lvl1pPr algn="l" defTabSz="68576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400" kern="1200" dirty="0">
                <a:solidFill>
                  <a:srgbClr val="676767"/>
                </a:solidFill>
                <a:latin typeface="+mj-lt"/>
                <a:ea typeface="ＭＳ Ｐゴシック" charset="0"/>
                <a:cs typeface="CiscoSans"/>
              </a:defRPr>
            </a:lvl1pPr>
          </a:lstStyle>
          <a:p>
            <a:pPr lvl="0" algn="l" defTabSz="68411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5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5073"/>
              </a:solidFill>
              <a:latin typeface="CiscoSansTT ExtraLight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120443429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958271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447960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7051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8982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874045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895663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7263250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4388765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216200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676508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94" indent="-17144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189" indent="-165096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783" indent="-10953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930587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3726133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6808617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0541321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9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46701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880093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9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2416274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378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3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15" indent="-114297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12" indent="-114297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09" indent="-114297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341314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84594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1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59" indent="-16985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594" algn="l"/>
              </a:tabLst>
              <a:defRPr sz="2400"/>
            </a:lvl1pPr>
            <a:lvl2pPr marL="346067" indent="-1714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189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61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20" indent="-11271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617681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297" indent="-114297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594" indent="-114297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892" indent="-114297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189" indent="-123822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61" indent="-117472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7" y="1659843"/>
            <a:ext cx="3808797" cy="2931208"/>
          </a:xfrm>
          <a:prstGeom prst="rect">
            <a:avLst/>
          </a:prstGeom>
        </p:spPr>
        <p:txBody>
          <a:bodyPr/>
          <a:lstStyle>
            <a:lvl1pPr marL="114297" indent="-114297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594" indent="-114297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892" indent="-114297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189" indent="-123822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61" indent="-117472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045815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6" y="4062351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120406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4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919123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6830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3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0491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90655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2631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217797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5" y="2129077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5073"/>
              </a:solidFill>
              <a:latin typeface="CiscoSansTT ExtraLight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723178876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28505_Blue_Nightscape_sm_format_03052015_Flat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5" y="0"/>
            <a:ext cx="9140776" cy="5143500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300364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4419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43014" y="813314"/>
            <a:ext cx="8346737" cy="272793"/>
          </a:xfrm>
          <a:prstGeom prst="rect">
            <a:avLst/>
          </a:prstGeom>
        </p:spPr>
        <p:txBody>
          <a:bodyPr lIns="91440" tIns="0" rIns="91440" bIns="0">
            <a:noAutofit/>
          </a:bodyPr>
          <a:lstStyle>
            <a:lvl1pPr marL="0" indent="0">
              <a:buNone/>
              <a:defRPr sz="1600">
                <a:cs typeface="Adobe Arabic" panose="02040503050201020203" pitchFamily="18" charset="-78"/>
              </a:defRPr>
            </a:lvl1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91443"/>
            <a:ext cx="8336941" cy="655319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28941362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29716" y="180939"/>
            <a:ext cx="8580923" cy="628650"/>
          </a:xfrm>
          <a:prstGeom prst="rect">
            <a:avLst/>
          </a:prstGeom>
        </p:spPr>
        <p:txBody>
          <a:bodyPr anchor="b"/>
          <a:lstStyle>
            <a:lvl1pPr algn="l" defTabSz="68576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400" kern="1200" dirty="0">
                <a:solidFill>
                  <a:srgbClr val="676767"/>
                </a:solidFill>
                <a:latin typeface="+mj-lt"/>
                <a:ea typeface="ＭＳ Ｐゴシック" charset="0"/>
                <a:cs typeface="CiscoSans"/>
              </a:defRPr>
            </a:lvl1pPr>
          </a:lstStyle>
          <a:p>
            <a:pPr lvl="0" algn="l" defTabSz="68411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95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5073"/>
              </a:solidFill>
              <a:latin typeface="CiscoSansTT ExtraLight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852341507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8799355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195234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668621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81852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" name="think-cell Slide" r:id="rId4" imgW="381" imgH="286" progId="TCLayout.ActiveDocument.1">
                  <p:embed/>
                </p:oleObj>
              </mc:Choice>
              <mc:Fallback>
                <p:oleObj name="think-cell Slide" r:id="rId4" imgW="381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28884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895663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4707254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180920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75616609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17431883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94" indent="-17144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189" indent="-165096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783" indent="-10953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0042760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6767734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5218483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3610313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9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2207916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9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9512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45149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562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3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15" indent="-114297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12" indent="-114297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09" indent="-114297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341314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951997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1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59" indent="-16985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594" algn="l"/>
              </a:tabLst>
              <a:defRPr sz="2400"/>
            </a:lvl1pPr>
            <a:lvl2pPr marL="346067" indent="-1714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189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61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20" indent="-11271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59256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297" indent="-114297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594" indent="-114297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892" indent="-114297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189" indent="-123822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61" indent="-117472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7" y="1659843"/>
            <a:ext cx="3808797" cy="2931208"/>
          </a:xfrm>
          <a:prstGeom prst="rect">
            <a:avLst/>
          </a:prstGeom>
        </p:spPr>
        <p:txBody>
          <a:bodyPr/>
          <a:lstStyle>
            <a:lvl1pPr marL="114297" indent="-114297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594" indent="-114297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892" indent="-114297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189" indent="-123822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61" indent="-117472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90729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6" y="4062351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832418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4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269012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64876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3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32068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88858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158415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0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0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735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5" y="2129077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005073"/>
              </a:solidFill>
              <a:latin typeface="CiscoSansTT ExtraLight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1751764879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28505_Blue_Nightscape_sm_format_03052015_Flat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5" y="0"/>
            <a:ext cx="9140776" cy="5143500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300364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32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43014" y="813314"/>
            <a:ext cx="8346737" cy="272793"/>
          </a:xfrm>
          <a:prstGeom prst="rect">
            <a:avLst/>
          </a:prstGeom>
        </p:spPr>
        <p:txBody>
          <a:bodyPr lIns="91440" tIns="0" rIns="91440" bIns="0">
            <a:noAutofit/>
          </a:bodyPr>
          <a:lstStyle>
            <a:lvl1pPr marL="0" indent="0">
              <a:buNone/>
              <a:defRPr sz="1600">
                <a:cs typeface="Adobe Arabic" panose="02040503050201020203" pitchFamily="18" charset="-78"/>
              </a:defRPr>
            </a:lvl1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91443"/>
            <a:ext cx="8336941" cy="655319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0118158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29716" y="180939"/>
            <a:ext cx="8580923" cy="628650"/>
          </a:xfrm>
          <a:prstGeom prst="rect">
            <a:avLst/>
          </a:prstGeom>
        </p:spPr>
        <p:txBody>
          <a:bodyPr anchor="b"/>
          <a:lstStyle>
            <a:lvl1pPr algn="l" defTabSz="68576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400" kern="1200" dirty="0">
                <a:solidFill>
                  <a:srgbClr val="676767"/>
                </a:solidFill>
                <a:latin typeface="+mj-lt"/>
                <a:ea typeface="ＭＳ Ｐゴシック" charset="0"/>
                <a:cs typeface="CiscoSans"/>
              </a:defRPr>
            </a:lvl1pPr>
          </a:lstStyle>
          <a:p>
            <a:pPr lvl="0" algn="l" defTabSz="684110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815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2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444417" y="389303"/>
            <a:ext cx="10588417" cy="2117268"/>
            <a:chOff x="-1444417" y="389303"/>
            <a:chExt cx="10588417" cy="2117268"/>
          </a:xfrm>
        </p:grpSpPr>
        <p:sp>
          <p:nvSpPr>
            <p:cNvPr id="9" name="Freeform: Shape 2"/>
            <p:cNvSpPr/>
            <p:nvPr/>
          </p:nvSpPr>
          <p:spPr>
            <a:xfrm>
              <a:off x="4672025" y="1717771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842689" y="1710517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842689" y="2051083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03395" y="172426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773965" y="203924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4956085" y="1764733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713641" y="2004122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 flipH="1">
              <a:off x="4990064" y="1823530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 flipH="1">
              <a:off x="4674315" y="1951815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 flipH="1">
              <a:off x="5001518" y="1891491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 flipH="1">
              <a:off x="4661334" y="1892254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 flipH="1" flipV="1">
              <a:off x="4990064" y="1951815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 flipH="1" flipV="1">
              <a:off x="4674315" y="1823912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4715169" y="1763206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954558" y="2005267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4769766" y="1725788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4906831" y="2037719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19"/>
            <p:cNvSpPr/>
            <p:nvPr/>
          </p:nvSpPr>
          <p:spPr>
            <a:xfrm>
              <a:off x="4788855" y="1885382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685005" y="2182422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1"/>
            <p:cNvSpPr/>
            <p:nvPr/>
          </p:nvSpPr>
          <p:spPr>
            <a:xfrm>
              <a:off x="5098113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2"/>
            <p:cNvSpPr/>
            <p:nvPr/>
          </p:nvSpPr>
          <p:spPr>
            <a:xfrm>
              <a:off x="5131330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121021" y="2025502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4"/>
            <p:cNvSpPr/>
            <p:nvPr/>
          </p:nvSpPr>
          <p:spPr>
            <a:xfrm>
              <a:off x="4714404" y="1929671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4898814" y="2211439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"/>
            <p:cNvSpPr/>
            <p:nvPr/>
          </p:nvSpPr>
          <p:spPr>
            <a:xfrm>
              <a:off x="5829643" y="1929671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H="1">
              <a:off x="5841097" y="2211439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4728532" y="2304217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5256942" y="1939979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5256942" y="196670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256942" y="201748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5256942" y="219845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5256942" y="225038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34"/>
            <p:cNvSpPr/>
            <p:nvPr/>
          </p:nvSpPr>
          <p:spPr>
            <a:xfrm>
              <a:off x="5094677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35"/>
            <p:cNvSpPr/>
            <p:nvPr/>
          </p:nvSpPr>
          <p:spPr>
            <a:xfrm>
              <a:off x="5222962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36"/>
            <p:cNvSpPr/>
            <p:nvPr/>
          </p:nvSpPr>
          <p:spPr>
            <a:xfrm>
              <a:off x="5120258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37"/>
            <p:cNvSpPr/>
            <p:nvPr/>
          </p:nvSpPr>
          <p:spPr>
            <a:xfrm>
              <a:off x="5162638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38"/>
            <p:cNvSpPr/>
            <p:nvPr/>
          </p:nvSpPr>
          <p:spPr>
            <a:xfrm>
              <a:off x="5663942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39"/>
            <p:cNvSpPr/>
            <p:nvPr/>
          </p:nvSpPr>
          <p:spPr>
            <a:xfrm>
              <a:off x="5697158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686468" y="2025502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1"/>
            <p:cNvSpPr/>
            <p:nvPr/>
          </p:nvSpPr>
          <p:spPr>
            <a:xfrm>
              <a:off x="5660505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42"/>
            <p:cNvSpPr/>
            <p:nvPr/>
          </p:nvSpPr>
          <p:spPr>
            <a:xfrm>
              <a:off x="5788409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43"/>
            <p:cNvSpPr/>
            <p:nvPr/>
          </p:nvSpPr>
          <p:spPr>
            <a:xfrm>
              <a:off x="5685704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44"/>
            <p:cNvSpPr/>
            <p:nvPr/>
          </p:nvSpPr>
          <p:spPr>
            <a:xfrm>
              <a:off x="7548126" y="2107208"/>
              <a:ext cx="272224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45"/>
            <p:cNvSpPr/>
            <p:nvPr/>
          </p:nvSpPr>
          <p:spPr>
            <a:xfrm>
              <a:off x="5728466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5051152" y="2304217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167601" y="2337815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5229071" y="2335143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366519" y="2379431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413099" y="2407685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335463" y="2432502"/>
              <a:ext cx="16646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382044" y="2461137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582107" y="2402721"/>
              <a:ext cx="400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837279" y="2329797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 flipH="1">
              <a:off x="5862096" y="2340106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 flipV="1">
              <a:off x="5862096" y="2218312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57"/>
            <p:cNvSpPr/>
            <p:nvPr/>
          </p:nvSpPr>
          <p:spPr>
            <a:xfrm>
              <a:off x="5902185" y="2277109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58"/>
            <p:cNvSpPr/>
            <p:nvPr/>
          </p:nvSpPr>
          <p:spPr>
            <a:xfrm>
              <a:off x="5998781" y="1627666"/>
              <a:ext cx="83996" cy="5906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59"/>
            <p:cNvSpPr/>
            <p:nvPr/>
          </p:nvSpPr>
          <p:spPr>
            <a:xfrm>
              <a:off x="6051086" y="1503962"/>
              <a:ext cx="285969" cy="73343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0"/>
            <p:cNvSpPr/>
            <p:nvPr/>
          </p:nvSpPr>
          <p:spPr>
            <a:xfrm>
              <a:off x="6083159" y="1555888"/>
              <a:ext cx="104995" cy="6624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6210680" y="1979305"/>
              <a:ext cx="305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6224043" y="2021303"/>
              <a:ext cx="0" cy="213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63"/>
            <p:cNvSpPr/>
            <p:nvPr/>
          </p:nvSpPr>
          <p:spPr>
            <a:xfrm>
              <a:off x="6261078" y="1471892"/>
              <a:ext cx="76360" cy="730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64"/>
            <p:cNvSpPr/>
            <p:nvPr/>
          </p:nvSpPr>
          <p:spPr>
            <a:xfrm>
              <a:off x="6337819" y="1130562"/>
              <a:ext cx="112249" cy="11538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359582" y="1332153"/>
              <a:ext cx="0" cy="95335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66"/>
            <p:cNvSpPr/>
            <p:nvPr/>
          </p:nvSpPr>
          <p:spPr>
            <a:xfrm>
              <a:off x="6337819" y="1413858"/>
              <a:ext cx="161883" cy="87126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67"/>
            <p:cNvSpPr/>
            <p:nvPr/>
          </p:nvSpPr>
          <p:spPr>
            <a:xfrm>
              <a:off x="6450449" y="1387132"/>
              <a:ext cx="113395" cy="73114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6492449" y="1513126"/>
              <a:ext cx="0" cy="5853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69"/>
            <p:cNvSpPr/>
            <p:nvPr/>
          </p:nvSpPr>
          <p:spPr>
            <a:xfrm>
              <a:off x="6447777" y="2136225"/>
              <a:ext cx="400127" cy="1466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6323311" y="2317198"/>
              <a:ext cx="1966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6304985" y="2329797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6579880" y="1944179"/>
              <a:ext cx="794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6602406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6626461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75"/>
            <p:cNvSpPr/>
            <p:nvPr/>
          </p:nvSpPr>
          <p:spPr>
            <a:xfrm>
              <a:off x="6602406" y="2021303"/>
              <a:ext cx="40471" cy="9125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76"/>
            <p:cNvSpPr/>
            <p:nvPr/>
          </p:nvSpPr>
          <p:spPr>
            <a:xfrm>
              <a:off x="6487102" y="2255346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77"/>
            <p:cNvSpPr/>
            <p:nvPr/>
          </p:nvSpPr>
          <p:spPr>
            <a:xfrm>
              <a:off x="6636006" y="2283218"/>
              <a:ext cx="179064" cy="442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78"/>
            <p:cNvSpPr/>
            <p:nvPr/>
          </p:nvSpPr>
          <p:spPr>
            <a:xfrm>
              <a:off x="6282840" y="2106062"/>
              <a:ext cx="54597" cy="904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6277113" y="171471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6277113" y="174526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77113" y="177580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6277113" y="180596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6277113" y="183651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277113" y="186705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6277113" y="189759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6277113" y="192814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277113" y="195868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277113" y="198961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277113" y="201977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6277113" y="205031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529483" y="1636830"/>
              <a:ext cx="34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6736801" y="2353469"/>
              <a:ext cx="22029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880358" y="2279400"/>
              <a:ext cx="2657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94"/>
            <p:cNvSpPr/>
            <p:nvPr/>
          </p:nvSpPr>
          <p:spPr>
            <a:xfrm>
              <a:off x="6659295" y="1445929"/>
              <a:ext cx="302768" cy="7853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95"/>
            <p:cNvSpPr/>
            <p:nvPr/>
          </p:nvSpPr>
          <p:spPr>
            <a:xfrm>
              <a:off x="6926937" y="2010994"/>
              <a:ext cx="335603" cy="2256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010934" y="2337815"/>
              <a:ext cx="548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97"/>
            <p:cNvSpPr/>
            <p:nvPr/>
          </p:nvSpPr>
          <p:spPr>
            <a:xfrm>
              <a:off x="6930755" y="2066355"/>
              <a:ext cx="57270" cy="186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98"/>
            <p:cNvSpPr/>
            <p:nvPr/>
          </p:nvSpPr>
          <p:spPr>
            <a:xfrm>
              <a:off x="7018570" y="2194640"/>
              <a:ext cx="111104" cy="2596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6957099" y="1882326"/>
              <a:ext cx="0" cy="332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0"/>
            <p:cNvSpPr/>
            <p:nvPr/>
          </p:nvSpPr>
          <p:spPr>
            <a:xfrm>
              <a:off x="6977334" y="1437912"/>
              <a:ext cx="255043" cy="736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1"/>
            <p:cNvSpPr/>
            <p:nvPr/>
          </p:nvSpPr>
          <p:spPr>
            <a:xfrm>
              <a:off x="7071639" y="1514654"/>
              <a:ext cx="105377" cy="1217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2"/>
            <p:cNvSpPr/>
            <p:nvPr/>
          </p:nvSpPr>
          <p:spPr>
            <a:xfrm>
              <a:off x="7054077" y="1597504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03"/>
            <p:cNvSpPr/>
            <p:nvPr/>
          </p:nvSpPr>
          <p:spPr>
            <a:xfrm>
              <a:off x="7036514" y="1681118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04"/>
            <p:cNvSpPr/>
            <p:nvPr/>
          </p:nvSpPr>
          <p:spPr>
            <a:xfrm>
              <a:off x="7018570" y="1763206"/>
              <a:ext cx="185937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05"/>
            <p:cNvSpPr/>
            <p:nvPr/>
          </p:nvSpPr>
          <p:spPr>
            <a:xfrm>
              <a:off x="7001007" y="1847583"/>
              <a:ext cx="206172" cy="2309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06"/>
            <p:cNvSpPr/>
            <p:nvPr/>
          </p:nvSpPr>
          <p:spPr>
            <a:xfrm>
              <a:off x="7033841" y="1522290"/>
              <a:ext cx="105759" cy="1221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107"/>
            <p:cNvSpPr/>
            <p:nvPr/>
          </p:nvSpPr>
          <p:spPr>
            <a:xfrm>
              <a:off x="7022005" y="1605140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08"/>
            <p:cNvSpPr/>
            <p:nvPr/>
          </p:nvSpPr>
          <p:spPr>
            <a:xfrm>
              <a:off x="7015897" y="1689135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09"/>
            <p:cNvSpPr/>
            <p:nvPr/>
          </p:nvSpPr>
          <p:spPr>
            <a:xfrm>
              <a:off x="7006733" y="1770842"/>
              <a:ext cx="185555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110"/>
            <p:cNvSpPr/>
            <p:nvPr/>
          </p:nvSpPr>
          <p:spPr>
            <a:xfrm>
              <a:off x="7097983" y="1855601"/>
              <a:ext cx="111868" cy="1557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Freeform: Shape 111"/>
            <p:cNvSpPr/>
            <p:nvPr/>
          </p:nvSpPr>
          <p:spPr>
            <a:xfrm>
              <a:off x="7289647" y="1637211"/>
              <a:ext cx="247407" cy="5910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Freeform: Shape 112"/>
            <p:cNvSpPr/>
            <p:nvPr/>
          </p:nvSpPr>
          <p:spPr>
            <a:xfrm>
              <a:off x="7251467" y="1601322"/>
              <a:ext cx="57270" cy="6204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Freeform: Shape 113"/>
            <p:cNvSpPr/>
            <p:nvPr/>
          </p:nvSpPr>
          <p:spPr>
            <a:xfrm>
              <a:off x="7288120" y="1574214"/>
              <a:ext cx="267642" cy="5425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315227" y="1687991"/>
              <a:ext cx="200064" cy="11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7316756" y="1717390"/>
              <a:ext cx="197009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7318665" y="1746788"/>
              <a:ext cx="193573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7320574" y="1776187"/>
              <a:ext cx="190137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 flipV="1">
              <a:off x="7322483" y="1805204"/>
              <a:ext cx="18708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7324392" y="1834602"/>
              <a:ext cx="183646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7326301" y="1864001"/>
              <a:ext cx="18059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7328210" y="1893400"/>
              <a:ext cx="17677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V="1">
              <a:off x="7329736" y="1922797"/>
              <a:ext cx="173719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V="1">
              <a:off x="7331645" y="1952197"/>
              <a:ext cx="170665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V="1">
              <a:off x="7333554" y="1981595"/>
              <a:ext cx="167230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7335463" y="2010994"/>
              <a:ext cx="164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 flipV="1">
              <a:off x="7337372" y="2040392"/>
              <a:ext cx="160739" cy="3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339281" y="2069791"/>
              <a:ext cx="1573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340809" y="2099190"/>
              <a:ext cx="1542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342718" y="2128589"/>
              <a:ext cx="15119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344627" y="2157987"/>
              <a:ext cx="1477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346536" y="2187386"/>
              <a:ext cx="14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348062" y="2216784"/>
              <a:ext cx="141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223977" y="2077809"/>
              <a:ext cx="416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242686" y="2133552"/>
              <a:ext cx="0" cy="61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303775" y="2253437"/>
              <a:ext cx="1630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519110" y="2275964"/>
              <a:ext cx="49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666103" y="2284745"/>
              <a:ext cx="0" cy="874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735973" y="2322543"/>
              <a:ext cx="69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741318" y="2358432"/>
              <a:ext cx="5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529036" y="2119044"/>
              <a:ext cx="93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761935" y="2115225"/>
              <a:ext cx="542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795533" y="2074372"/>
              <a:ext cx="0" cy="408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7808515" y="2194640"/>
              <a:ext cx="0" cy="736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7606923" y="2040392"/>
              <a:ext cx="0" cy="515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7632505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7658466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7684430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7710392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7735973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7761935" y="2041538"/>
              <a:ext cx="0" cy="5039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7587070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7783698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7595852" y="201443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54"/>
            <p:cNvSpPr/>
            <p:nvPr/>
          </p:nvSpPr>
          <p:spPr>
            <a:xfrm>
              <a:off x="7598524" y="1885764"/>
              <a:ext cx="170665" cy="1019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7666103" y="1861328"/>
              <a:ext cx="370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7672594" y="1837275"/>
              <a:ext cx="255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7685575" y="1759006"/>
              <a:ext cx="0" cy="465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7650831" y="2232820"/>
              <a:ext cx="683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7854331" y="2068263"/>
              <a:ext cx="7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7840204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7940999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7845166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786883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789212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791541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793870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Freeform: Shape 167"/>
            <p:cNvSpPr/>
            <p:nvPr/>
          </p:nvSpPr>
          <p:spPr>
            <a:xfrm>
              <a:off x="7836386" y="1858274"/>
              <a:ext cx="105759" cy="908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68"/>
            <p:cNvSpPr/>
            <p:nvPr/>
          </p:nvSpPr>
          <p:spPr>
            <a:xfrm>
              <a:off x="7867694" y="1990377"/>
              <a:ext cx="46580" cy="465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7863112" y="1940743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7863112" y="1959069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7863876" y="1905235"/>
              <a:ext cx="50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Freeform: Shape 172"/>
            <p:cNvSpPr/>
            <p:nvPr/>
          </p:nvSpPr>
          <p:spPr>
            <a:xfrm>
              <a:off x="7863876" y="1818185"/>
              <a:ext cx="50016" cy="397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7890220" y="1873164"/>
              <a:ext cx="0" cy="217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 flipV="1">
              <a:off x="7889456" y="1780005"/>
              <a:ext cx="0" cy="385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7983378" y="2125534"/>
              <a:ext cx="0" cy="862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7955890" y="2211821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7879911" y="2358432"/>
              <a:ext cx="4394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78"/>
            <p:cNvSpPr/>
            <p:nvPr/>
          </p:nvSpPr>
          <p:spPr>
            <a:xfrm>
              <a:off x="7996361" y="1052675"/>
              <a:ext cx="322621" cy="12870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8157100" y="1147741"/>
              <a:ext cx="130534" cy="1183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8301037" y="2174023"/>
              <a:ext cx="128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8352962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9072656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8526300" y="2358432"/>
              <a:ext cx="266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8577843" y="2389740"/>
              <a:ext cx="771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8315164" y="2014812"/>
              <a:ext cx="67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8476284" y="2014812"/>
              <a:ext cx="149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8385797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Freeform: Shape 188"/>
            <p:cNvSpPr/>
            <p:nvPr/>
          </p:nvSpPr>
          <p:spPr>
            <a:xfrm>
              <a:off x="8476284" y="1918598"/>
              <a:ext cx="353929" cy="3260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8429704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8429704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8359835" y="1900272"/>
              <a:ext cx="1420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192"/>
            <p:cNvSpPr/>
            <p:nvPr/>
          </p:nvSpPr>
          <p:spPr>
            <a:xfrm>
              <a:off x="8371289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8430849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8629004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8719491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8673293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8673293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8603422" y="1900272"/>
              <a:ext cx="1420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0"/>
            <p:cNvSpPr/>
            <p:nvPr/>
          </p:nvSpPr>
          <p:spPr>
            <a:xfrm>
              <a:off x="8614876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8674438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02"/>
            <p:cNvSpPr/>
            <p:nvPr/>
          </p:nvSpPr>
          <p:spPr>
            <a:xfrm>
              <a:off x="8746217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03"/>
            <p:cNvSpPr/>
            <p:nvPr/>
          </p:nvSpPr>
          <p:spPr>
            <a:xfrm>
              <a:off x="8838612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04"/>
            <p:cNvSpPr/>
            <p:nvPr/>
          </p:nvSpPr>
          <p:spPr>
            <a:xfrm>
              <a:off x="8931008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05"/>
            <p:cNvSpPr/>
            <p:nvPr/>
          </p:nvSpPr>
          <p:spPr>
            <a:xfrm>
              <a:off x="9023403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206"/>
            <p:cNvSpPr/>
            <p:nvPr/>
          </p:nvSpPr>
          <p:spPr>
            <a:xfrm>
              <a:off x="8374725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07"/>
            <p:cNvSpPr/>
            <p:nvPr/>
          </p:nvSpPr>
          <p:spPr>
            <a:xfrm>
              <a:off x="8614495" y="2287418"/>
              <a:ext cx="200063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208"/>
            <p:cNvSpPr/>
            <p:nvPr/>
          </p:nvSpPr>
          <p:spPr>
            <a:xfrm>
              <a:off x="8854266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9112745" y="1956778"/>
              <a:ext cx="0" cy="584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0" y="2215257"/>
              <a:ext cx="165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53002" y="2248474"/>
              <a:ext cx="0" cy="1233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201523" y="2145770"/>
              <a:ext cx="568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27899" y="2190822"/>
              <a:ext cx="307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425258" y="2233584"/>
              <a:ext cx="1130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831112" y="2115988"/>
              <a:ext cx="0" cy="347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871201" y="2150733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918926" y="1782296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1501935" y="1459292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1702380" y="2028939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879918" y="1983123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905880" y="1931961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651219" y="1338262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620675" y="1375296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1597768" y="1403931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88604" y="2263364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1895190" y="2072081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203798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216932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2044475" y="1496708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2103653" y="1382169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2074254" y="1557033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2058982" y="1619649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2055546" y="16597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2055546" y="169142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2055546" y="17227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2055546" y="175404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2055546" y="178535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2055546" y="181665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2055546" y="184796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2055546" y="18796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2055546" y="19109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2055546" y="194226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2055546" y="19739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2055546" y="200564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2055546" y="20369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2186122" y="17383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2186122" y="175976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2186122" y="178076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2186122" y="180214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2186122" y="182353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2186122" y="184491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2186122" y="186629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2186122" y="18880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2186122" y="190905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2186122" y="193043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2186122" y="195181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2186122" y="197319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2186122" y="199457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2186122" y="201595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2186122" y="203771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348770" y="1733807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2077308" y="2059865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2465599" y="2177077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000185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018129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2025765" y="2113317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2055546" y="2140043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2300280" y="2078572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2519433" y="2066355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2746986" y="2060246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2763022" y="2147297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2415965" y="1897981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2396876" y="1879655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1424430" y="1971287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1396177" y="2175168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3682016" y="2012521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3733942" y="2120189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3845809" y="2051083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187267" y="1657447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87267" y="168340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87267" y="170975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202158" y="16089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59197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614120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63626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65840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680553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70269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72522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274698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347966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364498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2571358" y="1523435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2559141" y="1494417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2816856" y="1931961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2785930" y="1991904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3149786" y="2004885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3242945" y="1971287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3350995" y="1997249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410556" y="1935779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3396047" y="2181659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3504860" y="2236256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3496461" y="214309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3496461" y="198350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3496461" y="1827730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3516697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3547241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3577785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3607946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3516697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3547241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3577785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3607946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3516697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3547241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3577785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3607946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3489970" y="1584905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2304861" y="2233584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2818001" y="2076664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3286089" y="2025502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3340686" y="2088118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3753795" y="1663937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3811064" y="2194640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4035945" y="2167532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4386437" y="2143097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4109633" y="2012521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4306259" y="2036956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3677052" y="1947615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4048926" y="1718535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571805" y="2359960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2744696" y="2373323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667320" y="2189295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848293" y="2215257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028503" y="2339342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158315" y="2387449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654655" y="2338197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3315869" y="2353851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3481570" y="2396231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3950803" y="2339342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2187267" y="2236256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2866872" y="1561997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2866872" y="165362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2866872" y="169600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2866872" y="172807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2866872" y="176015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2866872" y="17918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2866872" y="18235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2866872" y="185560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2866872" y="188767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2866872" y="191936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2866872" y="19514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2866872" y="198312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2866872" y="201519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2866872" y="204726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2866872" y="207933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2866872" y="2107208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2866872" y="2139279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2866872" y="217135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2916124" y="1522290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3018446" y="1589868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153286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153286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153286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153286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153286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153286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153286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153286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153286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153286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153286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153286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153286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153286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153286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153286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153286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156302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156302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156302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156302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156302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156302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156302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156302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156302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156302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156302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156302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156302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1563023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1563023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1563023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1563023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1593567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1593567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1593567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1593567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1593567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1593567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1593567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1593567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1593567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1593567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1593567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1593567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1593567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1593567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1593567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1593567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1593567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162411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162411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162411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162411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162411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162411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162411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162411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162411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162411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162411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162411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162411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162411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162411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162411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162411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1654655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1654655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1654655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1654655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1654655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1654655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1654655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1654655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1654655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1654655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1654655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1654655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1654655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1654655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1654655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1654655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1654655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1685199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1685199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1685199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1685199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1685199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1685199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1685199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1685199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1685199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1685199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1685199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1685199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1685199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1685199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1685199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1685199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1685199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1806994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1806994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1806994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1806994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1806994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1806994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1806994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1806994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1806994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1806994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1806994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1806994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1806994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177645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177645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177645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177645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177645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177645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177645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177645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177645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177645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177645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177645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177645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1745906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1745906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1745906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1745906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1745906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1745906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1745906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1745906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1745906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1745906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1745906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1745906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1745906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171574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171574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171574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171574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171574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171574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171574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171574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171574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171574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171574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171574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171574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345080" y="2270618"/>
              <a:ext cx="67960" cy="16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45843" y="2436702"/>
              <a:ext cx="38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4941957" y="2269090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4942721" y="2409594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549343" y="2275964"/>
              <a:ext cx="95068" cy="2237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551252" y="2506571"/>
              <a:ext cx="534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4536486" y="2218312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4538394" y="2502753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1" y="2014812"/>
              <a:ext cx="10052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53002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912817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54911" y="1800622"/>
              <a:ext cx="857524" cy="1622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122490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172888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225576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276738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27899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79060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430603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840657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789877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737571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686409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635248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584087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532544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481765" y="1963269"/>
              <a:ext cx="0" cy="488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839131" y="2014812"/>
              <a:ext cx="172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62"/>
            <p:cNvSpPr/>
            <p:nvPr/>
          </p:nvSpPr>
          <p:spPr>
            <a:xfrm>
              <a:off x="915108" y="1804822"/>
              <a:ext cx="174101" cy="1095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981923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1033084" y="1888054"/>
              <a:ext cx="0" cy="992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1085391" y="1914780"/>
              <a:ext cx="0" cy="57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Freeform: Shape 566"/>
            <p:cNvSpPr/>
            <p:nvPr/>
          </p:nvSpPr>
          <p:spPr>
            <a:xfrm>
              <a:off x="8772561" y="1252357"/>
              <a:ext cx="296277" cy="7445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Freeform: Shape 567"/>
            <p:cNvSpPr/>
            <p:nvPr/>
          </p:nvSpPr>
          <p:spPr>
            <a:xfrm>
              <a:off x="8843956" y="1400877"/>
              <a:ext cx="159593" cy="2084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8911153" y="1435621"/>
              <a:ext cx="232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8904664" y="1469219"/>
              <a:ext cx="358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8898937" y="1502817"/>
              <a:ext cx="473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8892828" y="1536033"/>
              <a:ext cx="59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8886719" y="1569633"/>
              <a:ext cx="713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8880610" y="1603231"/>
              <a:ext cx="832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8874500" y="1636830"/>
              <a:ext cx="954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8868775" y="1670428"/>
              <a:ext cx="1072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8862666" y="1704027"/>
              <a:ext cx="1191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8856557" y="1737625"/>
              <a:ext cx="1309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8850448" y="1770842"/>
              <a:ext cx="143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8844339" y="1804058"/>
              <a:ext cx="15501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8838230" y="1837657"/>
              <a:ext cx="1672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8832502" y="1871255"/>
              <a:ext cx="1786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8826012" y="1904854"/>
              <a:ext cx="1912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8820286" y="1938452"/>
              <a:ext cx="2031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8814177" y="1972050"/>
              <a:ext cx="21495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Arc 578"/>
            <p:cNvSpPr/>
            <p:nvPr/>
          </p:nvSpPr>
          <p:spPr>
            <a:xfrm>
              <a:off x="-1444417" y="389303"/>
              <a:ext cx="1707410" cy="1707410"/>
            </a:xfrm>
            <a:prstGeom prst="arc">
              <a:avLst>
                <a:gd name="adj1" fmla="val 2456154"/>
                <a:gd name="adj2" fmla="val 2779844"/>
              </a:avLst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580" name="Straight Connector 579"/>
            <p:cNvSpPr/>
            <p:nvPr userDrawn="1"/>
          </p:nvSpPr>
          <p:spPr>
            <a:xfrm>
              <a:off x="8721398" y="2014813"/>
              <a:ext cx="4226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 userDrawn="1"/>
          </p:nvSpPr>
          <p:spPr>
            <a:xfrm>
              <a:off x="9023402" y="2105024"/>
              <a:ext cx="120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 userDrawn="1"/>
          </p:nvSpPr>
          <p:spPr>
            <a:xfrm>
              <a:off x="9023402" y="2060575"/>
              <a:ext cx="0" cy="417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9722208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2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1444417" y="389303"/>
            <a:ext cx="10588417" cy="2117268"/>
            <a:chOff x="-1444417" y="389303"/>
            <a:chExt cx="10588417" cy="2117268"/>
          </a:xfrm>
        </p:grpSpPr>
        <p:sp>
          <p:nvSpPr>
            <p:cNvPr id="9" name="Freeform: Shape 2"/>
            <p:cNvSpPr/>
            <p:nvPr/>
          </p:nvSpPr>
          <p:spPr>
            <a:xfrm>
              <a:off x="4672025" y="1717771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842689" y="1710517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842689" y="2051083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03395" y="172426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773965" y="203924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4956085" y="1764733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713641" y="2004122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 flipH="1">
              <a:off x="4990064" y="1823530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 flipH="1">
              <a:off x="4674315" y="1951815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 flipH="1">
              <a:off x="5001518" y="1891491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 flipH="1">
              <a:off x="4661334" y="1892254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 flipH="1" flipV="1">
              <a:off x="4990064" y="1951815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 flipH="1" flipV="1">
              <a:off x="4674315" y="1823912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4715169" y="1763206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954558" y="2005267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4769766" y="1725788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4906831" y="2037719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19"/>
            <p:cNvSpPr/>
            <p:nvPr/>
          </p:nvSpPr>
          <p:spPr>
            <a:xfrm>
              <a:off x="4788855" y="1885382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685005" y="2182422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1"/>
            <p:cNvSpPr/>
            <p:nvPr/>
          </p:nvSpPr>
          <p:spPr>
            <a:xfrm>
              <a:off x="5098113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2"/>
            <p:cNvSpPr/>
            <p:nvPr/>
          </p:nvSpPr>
          <p:spPr>
            <a:xfrm>
              <a:off x="5131330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121021" y="2025502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4"/>
            <p:cNvSpPr/>
            <p:nvPr/>
          </p:nvSpPr>
          <p:spPr>
            <a:xfrm>
              <a:off x="4714404" y="1929671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4898814" y="2211439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"/>
            <p:cNvSpPr/>
            <p:nvPr/>
          </p:nvSpPr>
          <p:spPr>
            <a:xfrm>
              <a:off x="5829643" y="1929671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H="1">
              <a:off x="5841097" y="2211439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4728532" y="2304217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5256942" y="1939979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5256942" y="196670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256942" y="2017485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5256942" y="219845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5256942" y="225038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34"/>
            <p:cNvSpPr/>
            <p:nvPr/>
          </p:nvSpPr>
          <p:spPr>
            <a:xfrm>
              <a:off x="5094677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35"/>
            <p:cNvSpPr/>
            <p:nvPr/>
          </p:nvSpPr>
          <p:spPr>
            <a:xfrm>
              <a:off x="5222962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36"/>
            <p:cNvSpPr/>
            <p:nvPr/>
          </p:nvSpPr>
          <p:spPr>
            <a:xfrm>
              <a:off x="5120258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37"/>
            <p:cNvSpPr/>
            <p:nvPr/>
          </p:nvSpPr>
          <p:spPr>
            <a:xfrm>
              <a:off x="5162638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38"/>
            <p:cNvSpPr/>
            <p:nvPr/>
          </p:nvSpPr>
          <p:spPr>
            <a:xfrm>
              <a:off x="5663942" y="1929671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39"/>
            <p:cNvSpPr/>
            <p:nvPr/>
          </p:nvSpPr>
          <p:spPr>
            <a:xfrm>
              <a:off x="5697158" y="2140424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686468" y="2025502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1"/>
            <p:cNvSpPr/>
            <p:nvPr/>
          </p:nvSpPr>
          <p:spPr>
            <a:xfrm>
              <a:off x="5660505" y="1829257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42"/>
            <p:cNvSpPr/>
            <p:nvPr/>
          </p:nvSpPr>
          <p:spPr>
            <a:xfrm>
              <a:off x="5788409" y="1829257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43"/>
            <p:cNvSpPr/>
            <p:nvPr/>
          </p:nvSpPr>
          <p:spPr>
            <a:xfrm>
              <a:off x="5685704" y="1753279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44"/>
            <p:cNvSpPr/>
            <p:nvPr/>
          </p:nvSpPr>
          <p:spPr>
            <a:xfrm>
              <a:off x="7548126" y="2107208"/>
              <a:ext cx="272224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45"/>
            <p:cNvSpPr/>
            <p:nvPr/>
          </p:nvSpPr>
          <p:spPr>
            <a:xfrm>
              <a:off x="5728466" y="1956015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5051152" y="2304217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5167601" y="2337815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5229071" y="2335143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366519" y="2379431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413099" y="2407685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335463" y="2432502"/>
              <a:ext cx="16646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382044" y="2461137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7582107" y="2402721"/>
              <a:ext cx="400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837279" y="2329797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 flipH="1">
              <a:off x="5862096" y="2340106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 flipV="1">
              <a:off x="5862096" y="2218312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57"/>
            <p:cNvSpPr/>
            <p:nvPr/>
          </p:nvSpPr>
          <p:spPr>
            <a:xfrm>
              <a:off x="5902185" y="2277109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58"/>
            <p:cNvSpPr/>
            <p:nvPr/>
          </p:nvSpPr>
          <p:spPr>
            <a:xfrm>
              <a:off x="5998781" y="1627666"/>
              <a:ext cx="83996" cy="5906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59"/>
            <p:cNvSpPr/>
            <p:nvPr/>
          </p:nvSpPr>
          <p:spPr>
            <a:xfrm>
              <a:off x="6051086" y="1503962"/>
              <a:ext cx="285969" cy="73343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0"/>
            <p:cNvSpPr/>
            <p:nvPr/>
          </p:nvSpPr>
          <p:spPr>
            <a:xfrm>
              <a:off x="6083159" y="1555888"/>
              <a:ext cx="104995" cy="6624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6210680" y="1979305"/>
              <a:ext cx="305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6224043" y="2021303"/>
              <a:ext cx="0" cy="213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63"/>
            <p:cNvSpPr/>
            <p:nvPr/>
          </p:nvSpPr>
          <p:spPr>
            <a:xfrm>
              <a:off x="6261078" y="1471892"/>
              <a:ext cx="76360" cy="7307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64"/>
            <p:cNvSpPr/>
            <p:nvPr/>
          </p:nvSpPr>
          <p:spPr>
            <a:xfrm>
              <a:off x="6337819" y="1130562"/>
              <a:ext cx="112249" cy="11538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359582" y="1332153"/>
              <a:ext cx="0" cy="95335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66"/>
            <p:cNvSpPr/>
            <p:nvPr/>
          </p:nvSpPr>
          <p:spPr>
            <a:xfrm>
              <a:off x="6337819" y="1413858"/>
              <a:ext cx="161883" cy="87126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67"/>
            <p:cNvSpPr/>
            <p:nvPr/>
          </p:nvSpPr>
          <p:spPr>
            <a:xfrm>
              <a:off x="6450449" y="1387132"/>
              <a:ext cx="113395" cy="73114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6492449" y="1513126"/>
              <a:ext cx="0" cy="5853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69"/>
            <p:cNvSpPr/>
            <p:nvPr/>
          </p:nvSpPr>
          <p:spPr>
            <a:xfrm>
              <a:off x="6447777" y="2136225"/>
              <a:ext cx="400127" cy="1466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6323311" y="2317198"/>
              <a:ext cx="1966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6304985" y="2329797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6579880" y="1944179"/>
              <a:ext cx="794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6602406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6626461" y="1886909"/>
              <a:ext cx="0" cy="572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75"/>
            <p:cNvSpPr/>
            <p:nvPr/>
          </p:nvSpPr>
          <p:spPr>
            <a:xfrm>
              <a:off x="6602406" y="2021303"/>
              <a:ext cx="40471" cy="9125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76"/>
            <p:cNvSpPr/>
            <p:nvPr/>
          </p:nvSpPr>
          <p:spPr>
            <a:xfrm>
              <a:off x="6487102" y="2255346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77"/>
            <p:cNvSpPr/>
            <p:nvPr/>
          </p:nvSpPr>
          <p:spPr>
            <a:xfrm>
              <a:off x="6636006" y="2283218"/>
              <a:ext cx="179064" cy="442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78"/>
            <p:cNvSpPr/>
            <p:nvPr/>
          </p:nvSpPr>
          <p:spPr>
            <a:xfrm>
              <a:off x="6282840" y="2106062"/>
              <a:ext cx="54597" cy="904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6277113" y="171471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6277113" y="174526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77113" y="177580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6277113" y="180596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6277113" y="1836511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277113" y="186705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6277113" y="189759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6277113" y="192814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277113" y="1958687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277113" y="1989613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277113" y="2019775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6277113" y="2050319"/>
              <a:ext cx="60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529483" y="1636830"/>
              <a:ext cx="34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6736801" y="2353469"/>
              <a:ext cx="22029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880358" y="2279400"/>
              <a:ext cx="2657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94"/>
            <p:cNvSpPr/>
            <p:nvPr/>
          </p:nvSpPr>
          <p:spPr>
            <a:xfrm>
              <a:off x="6659295" y="1445929"/>
              <a:ext cx="302768" cy="7853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95"/>
            <p:cNvSpPr/>
            <p:nvPr/>
          </p:nvSpPr>
          <p:spPr>
            <a:xfrm>
              <a:off x="6926937" y="2010994"/>
              <a:ext cx="335603" cy="2256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010934" y="2337815"/>
              <a:ext cx="548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97"/>
            <p:cNvSpPr/>
            <p:nvPr/>
          </p:nvSpPr>
          <p:spPr>
            <a:xfrm>
              <a:off x="6930755" y="2066355"/>
              <a:ext cx="57270" cy="1867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98"/>
            <p:cNvSpPr/>
            <p:nvPr/>
          </p:nvSpPr>
          <p:spPr>
            <a:xfrm>
              <a:off x="7018570" y="2194640"/>
              <a:ext cx="111104" cy="2596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6957099" y="1882326"/>
              <a:ext cx="0" cy="332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0"/>
            <p:cNvSpPr/>
            <p:nvPr/>
          </p:nvSpPr>
          <p:spPr>
            <a:xfrm>
              <a:off x="6977334" y="1437912"/>
              <a:ext cx="255043" cy="736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1"/>
            <p:cNvSpPr/>
            <p:nvPr/>
          </p:nvSpPr>
          <p:spPr>
            <a:xfrm>
              <a:off x="7071639" y="1514654"/>
              <a:ext cx="105377" cy="1217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2"/>
            <p:cNvSpPr/>
            <p:nvPr/>
          </p:nvSpPr>
          <p:spPr>
            <a:xfrm>
              <a:off x="7054077" y="1597504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03"/>
            <p:cNvSpPr/>
            <p:nvPr/>
          </p:nvSpPr>
          <p:spPr>
            <a:xfrm>
              <a:off x="7036514" y="1681118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04"/>
            <p:cNvSpPr/>
            <p:nvPr/>
          </p:nvSpPr>
          <p:spPr>
            <a:xfrm>
              <a:off x="7018570" y="1763206"/>
              <a:ext cx="185937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05"/>
            <p:cNvSpPr/>
            <p:nvPr/>
          </p:nvSpPr>
          <p:spPr>
            <a:xfrm>
              <a:off x="7001007" y="1847583"/>
              <a:ext cx="206172" cy="2309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06"/>
            <p:cNvSpPr/>
            <p:nvPr/>
          </p:nvSpPr>
          <p:spPr>
            <a:xfrm>
              <a:off x="7033841" y="1522290"/>
              <a:ext cx="105759" cy="1221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107"/>
            <p:cNvSpPr/>
            <p:nvPr/>
          </p:nvSpPr>
          <p:spPr>
            <a:xfrm>
              <a:off x="7022005" y="1605140"/>
              <a:ext cx="134776" cy="15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08"/>
            <p:cNvSpPr/>
            <p:nvPr/>
          </p:nvSpPr>
          <p:spPr>
            <a:xfrm>
              <a:off x="7015897" y="1689135"/>
              <a:ext cx="158447" cy="1786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09"/>
            <p:cNvSpPr/>
            <p:nvPr/>
          </p:nvSpPr>
          <p:spPr>
            <a:xfrm>
              <a:off x="7006733" y="1770842"/>
              <a:ext cx="185555" cy="20693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110"/>
            <p:cNvSpPr/>
            <p:nvPr/>
          </p:nvSpPr>
          <p:spPr>
            <a:xfrm>
              <a:off x="7097983" y="1855601"/>
              <a:ext cx="111868" cy="1557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Freeform: Shape 111"/>
            <p:cNvSpPr/>
            <p:nvPr/>
          </p:nvSpPr>
          <p:spPr>
            <a:xfrm>
              <a:off x="7289647" y="1637211"/>
              <a:ext cx="247407" cy="5910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Freeform: Shape 112"/>
            <p:cNvSpPr/>
            <p:nvPr/>
          </p:nvSpPr>
          <p:spPr>
            <a:xfrm>
              <a:off x="7251467" y="1601322"/>
              <a:ext cx="57270" cy="6204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Freeform: Shape 113"/>
            <p:cNvSpPr/>
            <p:nvPr/>
          </p:nvSpPr>
          <p:spPr>
            <a:xfrm>
              <a:off x="7288120" y="1574214"/>
              <a:ext cx="267642" cy="5425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315227" y="1687991"/>
              <a:ext cx="200064" cy="11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7316756" y="1717390"/>
              <a:ext cx="197009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7318665" y="1746788"/>
              <a:ext cx="193573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7320574" y="1776187"/>
              <a:ext cx="190137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 flipV="1">
              <a:off x="7322483" y="1805204"/>
              <a:ext cx="18708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7324392" y="1834602"/>
              <a:ext cx="183646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7326301" y="1864001"/>
              <a:ext cx="180592" cy="7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7328210" y="1893400"/>
              <a:ext cx="17677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V="1">
              <a:off x="7329736" y="1922797"/>
              <a:ext cx="173719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V="1">
              <a:off x="7331645" y="1952197"/>
              <a:ext cx="170665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V="1">
              <a:off x="7333554" y="1981595"/>
              <a:ext cx="167230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7335463" y="2010994"/>
              <a:ext cx="164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 flipV="1">
              <a:off x="7337372" y="2040392"/>
              <a:ext cx="160739" cy="3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339281" y="2069791"/>
              <a:ext cx="1573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340809" y="2099190"/>
              <a:ext cx="1542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342718" y="2128589"/>
              <a:ext cx="15119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344627" y="2157987"/>
              <a:ext cx="1477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346536" y="2187386"/>
              <a:ext cx="14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348062" y="2216784"/>
              <a:ext cx="141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223977" y="2077809"/>
              <a:ext cx="416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242686" y="2133552"/>
              <a:ext cx="0" cy="61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303775" y="2253437"/>
              <a:ext cx="1630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519110" y="2275964"/>
              <a:ext cx="49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666103" y="2284745"/>
              <a:ext cx="0" cy="874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735973" y="2322543"/>
              <a:ext cx="69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741318" y="2358432"/>
              <a:ext cx="5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529036" y="2119044"/>
              <a:ext cx="93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761935" y="2115225"/>
              <a:ext cx="542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795533" y="2074372"/>
              <a:ext cx="0" cy="408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7808515" y="2194640"/>
              <a:ext cx="0" cy="736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7606923" y="2040392"/>
              <a:ext cx="0" cy="5154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7632505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7658466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7684430" y="2040774"/>
              <a:ext cx="0" cy="511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7710392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7735973" y="2041156"/>
              <a:ext cx="0" cy="507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7761935" y="2041538"/>
              <a:ext cx="0" cy="5039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7587070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7783698" y="214806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7595852" y="201443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54"/>
            <p:cNvSpPr/>
            <p:nvPr/>
          </p:nvSpPr>
          <p:spPr>
            <a:xfrm>
              <a:off x="7598524" y="1885764"/>
              <a:ext cx="170665" cy="1019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7666103" y="1861328"/>
              <a:ext cx="370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7672594" y="1837275"/>
              <a:ext cx="255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7685575" y="1759006"/>
              <a:ext cx="0" cy="465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7650831" y="2232820"/>
              <a:ext cx="683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7854331" y="2068263"/>
              <a:ext cx="7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7840204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7940999" y="1966323"/>
              <a:ext cx="0" cy="901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7845166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786883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789212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791541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7938709" y="2079718"/>
              <a:ext cx="0" cy="22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Freeform: Shape 167"/>
            <p:cNvSpPr/>
            <p:nvPr/>
          </p:nvSpPr>
          <p:spPr>
            <a:xfrm>
              <a:off x="7836386" y="1858274"/>
              <a:ext cx="105759" cy="908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68"/>
            <p:cNvSpPr/>
            <p:nvPr/>
          </p:nvSpPr>
          <p:spPr>
            <a:xfrm>
              <a:off x="7867694" y="1990377"/>
              <a:ext cx="46580" cy="465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7863112" y="1940743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7863112" y="1959069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7863876" y="1905235"/>
              <a:ext cx="50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Freeform: Shape 172"/>
            <p:cNvSpPr/>
            <p:nvPr/>
          </p:nvSpPr>
          <p:spPr>
            <a:xfrm>
              <a:off x="7863876" y="1818185"/>
              <a:ext cx="50016" cy="397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7890220" y="1873164"/>
              <a:ext cx="0" cy="217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 flipV="1">
              <a:off x="7889456" y="1780005"/>
              <a:ext cx="0" cy="385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7983378" y="2125534"/>
              <a:ext cx="0" cy="862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7955890" y="2211821"/>
              <a:ext cx="53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7879911" y="2358432"/>
              <a:ext cx="4394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78"/>
            <p:cNvSpPr/>
            <p:nvPr/>
          </p:nvSpPr>
          <p:spPr>
            <a:xfrm>
              <a:off x="7996361" y="1052675"/>
              <a:ext cx="322621" cy="12870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8157100" y="1147741"/>
              <a:ext cx="130534" cy="1183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8301037" y="2174023"/>
              <a:ext cx="128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8352962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9072656" y="2248474"/>
              <a:ext cx="0" cy="1179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8526300" y="2358432"/>
              <a:ext cx="266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8577843" y="2389740"/>
              <a:ext cx="771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8315164" y="2014812"/>
              <a:ext cx="67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8476284" y="2014812"/>
              <a:ext cx="149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8385797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Freeform: Shape 188"/>
            <p:cNvSpPr/>
            <p:nvPr/>
          </p:nvSpPr>
          <p:spPr>
            <a:xfrm>
              <a:off x="8476284" y="1918598"/>
              <a:ext cx="353929" cy="3260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8429704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8429704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8359835" y="1900272"/>
              <a:ext cx="1420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192"/>
            <p:cNvSpPr/>
            <p:nvPr/>
          </p:nvSpPr>
          <p:spPr>
            <a:xfrm>
              <a:off x="8371289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8430849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8629004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8719491" y="1918598"/>
              <a:ext cx="0" cy="200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8673293" y="1918598"/>
              <a:ext cx="0" cy="446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8673293" y="2011376"/>
              <a:ext cx="0" cy="1909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8603422" y="1900272"/>
              <a:ext cx="1420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0"/>
            <p:cNvSpPr/>
            <p:nvPr/>
          </p:nvSpPr>
          <p:spPr>
            <a:xfrm>
              <a:off x="8614876" y="1838420"/>
              <a:ext cx="113395" cy="469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8674438" y="1750606"/>
              <a:ext cx="0" cy="881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02"/>
            <p:cNvSpPr/>
            <p:nvPr/>
          </p:nvSpPr>
          <p:spPr>
            <a:xfrm>
              <a:off x="8746217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03"/>
            <p:cNvSpPr/>
            <p:nvPr/>
          </p:nvSpPr>
          <p:spPr>
            <a:xfrm>
              <a:off x="8838612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04"/>
            <p:cNvSpPr/>
            <p:nvPr/>
          </p:nvSpPr>
          <p:spPr>
            <a:xfrm>
              <a:off x="8931008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05"/>
            <p:cNvSpPr/>
            <p:nvPr/>
          </p:nvSpPr>
          <p:spPr>
            <a:xfrm>
              <a:off x="9023403" y="2136606"/>
              <a:ext cx="45816" cy="393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206"/>
            <p:cNvSpPr/>
            <p:nvPr/>
          </p:nvSpPr>
          <p:spPr>
            <a:xfrm>
              <a:off x="8374725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07"/>
            <p:cNvSpPr/>
            <p:nvPr/>
          </p:nvSpPr>
          <p:spPr>
            <a:xfrm>
              <a:off x="8614495" y="2287418"/>
              <a:ext cx="200063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208"/>
            <p:cNvSpPr/>
            <p:nvPr/>
          </p:nvSpPr>
          <p:spPr>
            <a:xfrm>
              <a:off x="8854266" y="2287418"/>
              <a:ext cx="200445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9112745" y="1956778"/>
              <a:ext cx="0" cy="584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0" y="2215257"/>
              <a:ext cx="1656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53002" y="2248474"/>
              <a:ext cx="0" cy="1233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201523" y="2145770"/>
              <a:ext cx="568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27899" y="2190822"/>
              <a:ext cx="307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425258" y="2233584"/>
              <a:ext cx="1130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831112" y="2115988"/>
              <a:ext cx="0" cy="347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871201" y="2150733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918926" y="1782296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1501935" y="1459292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1702380" y="2028939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879918" y="1983123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905880" y="1931961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651219" y="1338262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620675" y="1375296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1597768" y="1403931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88604" y="2263364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1895190" y="2072081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203798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2169323" y="1520762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2044475" y="1496708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2103653" y="1382169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2074254" y="1557033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2058982" y="1619649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2055546" y="16597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2055546" y="169142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2055546" y="17227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2055546" y="175404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2055546" y="178535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2055546" y="181665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2055546" y="184796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2055546" y="18796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2055546" y="19109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2055546" y="194226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2055546" y="19739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2055546" y="200564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2055546" y="20369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2186122" y="17383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2186122" y="175976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2186122" y="178076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2186122" y="180214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2186122" y="182353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2186122" y="184491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2186122" y="186629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2186122" y="18880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2186122" y="190905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2186122" y="193043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2186122" y="195181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2186122" y="197319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2186122" y="199457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2186122" y="201595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2186122" y="203771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348770" y="1733807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2077308" y="2059865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2465599" y="2177077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000185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018129" y="1907908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2025765" y="2113317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2055546" y="2140043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2300280" y="2078572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2519433" y="2066355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2746986" y="2060246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2763022" y="2147297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2415965" y="1897981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2396876" y="1879655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1424430" y="1971287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1396177" y="2175168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3682016" y="2012521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3733942" y="2120189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3845809" y="2051083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187267" y="1657447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87267" y="168340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87267" y="170975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202158" y="16089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59197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614120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63626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65840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680553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702699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725224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2746986" y="1552834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347966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3644981" y="1681882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2571358" y="1523435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2559141" y="1494417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2816856" y="1931961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2785930" y="1991904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3149786" y="2004885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3242945" y="1971287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3350995" y="1997249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410556" y="1935779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3396047" y="2181659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3504860" y="2236256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3496461" y="214309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3496461" y="198350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3496461" y="1827730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3516697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3547241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3577785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3607946" y="2004885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3516697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3547241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3577785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3607946" y="1847202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3516697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3547241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3577785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3607946" y="1693336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3489970" y="1584905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2304861" y="2233584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2818001" y="2076664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3286089" y="2025502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3340686" y="2088118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3753795" y="1663937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3811064" y="2194640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4035945" y="2167532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4386437" y="2143097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4109633" y="2012521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4306259" y="2036956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3677052" y="1947615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4048926" y="1718535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571805" y="2359960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2744696" y="2373323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667320" y="2189295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848293" y="2215257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028503" y="2339342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158315" y="2387449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654655" y="2338197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3315869" y="2353851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3481570" y="2396231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3950803" y="2339342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2187267" y="2236256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2866872" y="1561997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2866872" y="165362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2866872" y="169600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2866872" y="172807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2866872" y="176015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2866872" y="17918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2866872" y="18235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2866872" y="185560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2866872" y="188767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2866872" y="191936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2866872" y="19514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2866872" y="198312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2866872" y="201519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2866872" y="204726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2866872" y="207933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2866872" y="2107208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2866872" y="2139279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2866872" y="2171350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2916124" y="1522290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3018446" y="1589868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153286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153286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153286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153286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153286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153286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153286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153286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153286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153286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153286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153286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153286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153286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153286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153286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153286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156302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156302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156302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156302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156302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156302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156302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156302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156302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156302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156302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156302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156302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1563023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1563023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1563023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1563023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1593567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1593567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1593567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1593567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1593567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1593567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1593567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1593567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1593567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1593567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1593567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1593567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1593567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1593567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1593567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1593567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1593567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162411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162411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162411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162411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162411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162411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162411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162411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162411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162411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162411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162411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162411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1624111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1624111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1624111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1624111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1654655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1654655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1654655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1654655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1654655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1654655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1654655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1654655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1654655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1654655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1654655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1654655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1654655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1654655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1654655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1654655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1654655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1685199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1685199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1685199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1685199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1685199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1685199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1685199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1685199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1685199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1685199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1685199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1685199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1685199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1685199" y="203122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1685199" y="207284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1685199" y="2114079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1685199" y="2155315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1806994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1806994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1806994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1806994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1806994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1806994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1806994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1806994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1806994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1806994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1806994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1806994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1806994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1776451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1776451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1776451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1776451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1776451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1776451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1776451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1776451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1776451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1776451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1776451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1776451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1776451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1745906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1745906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1745906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1745906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1745906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1745906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1745906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1745906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1745906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1745906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1745906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1745906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1745906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1715743" y="1494035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1715743" y="1535271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1715743" y="157688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1715743" y="161812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1715743" y="16593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1715743" y="17009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1715743" y="17422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1715743" y="178305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1715743" y="182467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1715743" y="186591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1715743" y="190714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1715743" y="19487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1715743" y="198999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345080" y="2270618"/>
              <a:ext cx="67960" cy="16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45843" y="2436702"/>
              <a:ext cx="38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4941957" y="2269090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4942721" y="2409594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549343" y="2275964"/>
              <a:ext cx="95068" cy="2237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551252" y="2506571"/>
              <a:ext cx="534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4536486" y="2218312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4538394" y="2502753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1" y="2014812"/>
              <a:ext cx="10052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53002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912817" y="1773896"/>
              <a:ext cx="0" cy="33178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54911" y="1800622"/>
              <a:ext cx="857524" cy="1622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122490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172888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225576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276738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27899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79060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430603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840657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789877" y="1888054"/>
              <a:ext cx="0" cy="12675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737571" y="1914780"/>
              <a:ext cx="0" cy="100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686409" y="1933489"/>
              <a:ext cx="0" cy="813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635248" y="1945706"/>
              <a:ext cx="0" cy="691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584087" y="1956778"/>
              <a:ext cx="0" cy="5803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532544" y="1961360"/>
              <a:ext cx="0" cy="534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481765" y="1963269"/>
              <a:ext cx="0" cy="488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839131" y="2014812"/>
              <a:ext cx="172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62"/>
            <p:cNvSpPr/>
            <p:nvPr/>
          </p:nvSpPr>
          <p:spPr>
            <a:xfrm>
              <a:off x="915108" y="1804822"/>
              <a:ext cx="174101" cy="1095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981923" y="1857892"/>
              <a:ext cx="0" cy="15424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1033084" y="1888054"/>
              <a:ext cx="0" cy="992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1085391" y="1914780"/>
              <a:ext cx="0" cy="57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Freeform: Shape 566"/>
            <p:cNvSpPr/>
            <p:nvPr/>
          </p:nvSpPr>
          <p:spPr>
            <a:xfrm>
              <a:off x="8772561" y="1252357"/>
              <a:ext cx="296277" cy="7445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Freeform: Shape 567"/>
            <p:cNvSpPr/>
            <p:nvPr/>
          </p:nvSpPr>
          <p:spPr>
            <a:xfrm>
              <a:off x="8843956" y="1400877"/>
              <a:ext cx="159593" cy="2084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8911153" y="1435621"/>
              <a:ext cx="232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8904664" y="1469219"/>
              <a:ext cx="358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8898937" y="1502817"/>
              <a:ext cx="473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8892828" y="1536033"/>
              <a:ext cx="59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8886719" y="1569633"/>
              <a:ext cx="713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8880610" y="1603231"/>
              <a:ext cx="832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8874500" y="1636830"/>
              <a:ext cx="954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8868775" y="1670428"/>
              <a:ext cx="1072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8862666" y="1704027"/>
              <a:ext cx="1191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8856557" y="1737625"/>
              <a:ext cx="1309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8850448" y="1770842"/>
              <a:ext cx="1431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8844339" y="1804058"/>
              <a:ext cx="15501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8838230" y="1837657"/>
              <a:ext cx="1672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8832502" y="1871255"/>
              <a:ext cx="1786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8826012" y="1904854"/>
              <a:ext cx="1912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8820286" y="1938452"/>
              <a:ext cx="2031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8814177" y="1972050"/>
              <a:ext cx="21495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Arc 578"/>
            <p:cNvSpPr/>
            <p:nvPr/>
          </p:nvSpPr>
          <p:spPr>
            <a:xfrm>
              <a:off x="-1444417" y="389303"/>
              <a:ext cx="1707410" cy="1707410"/>
            </a:xfrm>
            <a:prstGeom prst="arc">
              <a:avLst>
                <a:gd name="adj1" fmla="val 2456154"/>
                <a:gd name="adj2" fmla="val 2779844"/>
              </a:avLst>
            </a:prstGeom>
            <a:ln cap="rnd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580" name="Straight Connector 579"/>
            <p:cNvSpPr/>
            <p:nvPr userDrawn="1"/>
          </p:nvSpPr>
          <p:spPr>
            <a:xfrm>
              <a:off x="8721398" y="2014813"/>
              <a:ext cx="4226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 userDrawn="1"/>
          </p:nvSpPr>
          <p:spPr>
            <a:xfrm>
              <a:off x="9023402" y="2105024"/>
              <a:ext cx="120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 userDrawn="1"/>
          </p:nvSpPr>
          <p:spPr>
            <a:xfrm>
              <a:off x="9023402" y="2060575"/>
              <a:ext cx="0" cy="417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8656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642759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736129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8463265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75472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713705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4322159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159789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2955685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71977346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7128917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8936640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433962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7655666" y="4541711"/>
            <a:ext cx="1488334" cy="299995"/>
            <a:chOff x="1743075" y="4356100"/>
            <a:chExt cx="3654425" cy="736600"/>
          </a:xfrm>
        </p:grpSpPr>
        <p:sp>
          <p:nvSpPr>
            <p:cNvPr id="5" name="Freeform 41"/>
            <p:cNvSpPr>
              <a:spLocks noChangeArrowheads="1"/>
            </p:cNvSpPr>
            <p:nvPr/>
          </p:nvSpPr>
          <p:spPr bwMode="auto">
            <a:xfrm>
              <a:off x="1743075" y="4356100"/>
              <a:ext cx="2854325" cy="520700"/>
            </a:xfrm>
            <a:custGeom>
              <a:avLst/>
              <a:gdLst>
                <a:gd name="T0" fmla="*/ 567 w 7927"/>
                <a:gd name="T1" fmla="*/ 1444 h 1445"/>
                <a:gd name="T2" fmla="*/ 84 w 7927"/>
                <a:gd name="T3" fmla="*/ 987 h 1445"/>
                <a:gd name="T4" fmla="*/ 296 w 7927"/>
                <a:gd name="T5" fmla="*/ 781 h 1445"/>
                <a:gd name="T6" fmla="*/ 2198 w 7927"/>
                <a:gd name="T7" fmla="*/ 496 h 1445"/>
                <a:gd name="T8" fmla="*/ 4450 w 7927"/>
                <a:gd name="T9" fmla="*/ 0 h 1445"/>
                <a:gd name="T10" fmla="*/ 7926 w 7927"/>
                <a:gd name="T11" fmla="*/ 677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27" h="1445">
                  <a:moveTo>
                    <a:pt x="567" y="1444"/>
                  </a:moveTo>
                  <a:cubicBezTo>
                    <a:pt x="567" y="1444"/>
                    <a:pt x="166" y="1069"/>
                    <a:pt x="84" y="987"/>
                  </a:cubicBezTo>
                  <a:cubicBezTo>
                    <a:pt x="0" y="903"/>
                    <a:pt x="53" y="826"/>
                    <a:pt x="296" y="781"/>
                  </a:cubicBezTo>
                  <a:cubicBezTo>
                    <a:pt x="541" y="736"/>
                    <a:pt x="1380" y="414"/>
                    <a:pt x="2198" y="496"/>
                  </a:cubicBezTo>
                  <a:cubicBezTo>
                    <a:pt x="3016" y="581"/>
                    <a:pt x="3708" y="0"/>
                    <a:pt x="4450" y="0"/>
                  </a:cubicBezTo>
                  <a:cubicBezTo>
                    <a:pt x="6180" y="0"/>
                    <a:pt x="6648" y="677"/>
                    <a:pt x="7926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6" name="Line 42"/>
            <p:cNvSpPr>
              <a:spLocks noChangeShapeType="1"/>
            </p:cNvSpPr>
            <p:nvPr/>
          </p:nvSpPr>
          <p:spPr bwMode="auto">
            <a:xfrm>
              <a:off x="4146550" y="4927600"/>
              <a:ext cx="339725" cy="1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7" name="Line 43"/>
            <p:cNvSpPr>
              <a:spLocks noChangeShapeType="1"/>
            </p:cNvSpPr>
            <p:nvPr/>
          </p:nvSpPr>
          <p:spPr bwMode="auto">
            <a:xfrm>
              <a:off x="2640013" y="4927600"/>
              <a:ext cx="1039812" cy="1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8" name="Line 44"/>
            <p:cNvSpPr>
              <a:spLocks noChangeShapeType="1"/>
            </p:cNvSpPr>
            <p:nvPr/>
          </p:nvSpPr>
          <p:spPr bwMode="auto">
            <a:xfrm>
              <a:off x="1866900" y="4927600"/>
              <a:ext cx="307975" cy="15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9" name="Freeform 45"/>
            <p:cNvSpPr>
              <a:spLocks noChangeArrowheads="1"/>
            </p:cNvSpPr>
            <p:nvPr/>
          </p:nvSpPr>
          <p:spPr bwMode="auto">
            <a:xfrm>
              <a:off x="2843213" y="4481513"/>
              <a:ext cx="727075" cy="177800"/>
            </a:xfrm>
            <a:custGeom>
              <a:avLst/>
              <a:gdLst>
                <a:gd name="T0" fmla="*/ 844 w 2021"/>
                <a:gd name="T1" fmla="*/ 0 h 495"/>
                <a:gd name="T2" fmla="*/ 0 w 2021"/>
                <a:gd name="T3" fmla="*/ 489 h 495"/>
                <a:gd name="T4" fmla="*/ 2020 w 2021"/>
                <a:gd name="T5" fmla="*/ 35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21" h="495">
                  <a:moveTo>
                    <a:pt x="844" y="0"/>
                  </a:moveTo>
                  <a:cubicBezTo>
                    <a:pt x="844" y="0"/>
                    <a:pt x="530" y="96"/>
                    <a:pt x="0" y="489"/>
                  </a:cubicBezTo>
                  <a:cubicBezTo>
                    <a:pt x="0" y="489"/>
                    <a:pt x="1479" y="494"/>
                    <a:pt x="2020" y="35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0" name="Line 46"/>
            <p:cNvSpPr>
              <a:spLocks noChangeShapeType="1"/>
            </p:cNvSpPr>
            <p:nvPr/>
          </p:nvSpPr>
          <p:spPr bwMode="auto">
            <a:xfrm flipH="1">
              <a:off x="3608388" y="4491038"/>
              <a:ext cx="60325" cy="746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1" name="Line 47"/>
            <p:cNvSpPr>
              <a:spLocks noChangeShapeType="1"/>
            </p:cNvSpPr>
            <p:nvPr/>
          </p:nvSpPr>
          <p:spPr bwMode="auto">
            <a:xfrm flipH="1">
              <a:off x="3684588" y="4491038"/>
              <a:ext cx="60325" cy="746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2" name="Freeform 48"/>
            <p:cNvSpPr>
              <a:spLocks noChangeArrowheads="1"/>
            </p:cNvSpPr>
            <p:nvPr/>
          </p:nvSpPr>
          <p:spPr bwMode="auto">
            <a:xfrm>
              <a:off x="2238375" y="4754563"/>
              <a:ext cx="338138" cy="338137"/>
            </a:xfrm>
            <a:custGeom>
              <a:avLst/>
              <a:gdLst>
                <a:gd name="T0" fmla="*/ 937 w 938"/>
                <a:gd name="T1" fmla="*/ 468 h 938"/>
                <a:gd name="T2" fmla="*/ 874 w 938"/>
                <a:gd name="T3" fmla="*/ 702 h 938"/>
                <a:gd name="T4" fmla="*/ 702 w 938"/>
                <a:gd name="T5" fmla="*/ 874 h 938"/>
                <a:gd name="T6" fmla="*/ 468 w 938"/>
                <a:gd name="T7" fmla="*/ 937 h 938"/>
                <a:gd name="T8" fmla="*/ 234 w 938"/>
                <a:gd name="T9" fmla="*/ 874 h 938"/>
                <a:gd name="T10" fmla="*/ 62 w 938"/>
                <a:gd name="T11" fmla="*/ 702 h 938"/>
                <a:gd name="T12" fmla="*/ 0 w 938"/>
                <a:gd name="T13" fmla="*/ 468 h 938"/>
                <a:gd name="T14" fmla="*/ 62 w 938"/>
                <a:gd name="T15" fmla="*/ 234 h 938"/>
                <a:gd name="T16" fmla="*/ 234 w 938"/>
                <a:gd name="T17" fmla="*/ 63 h 938"/>
                <a:gd name="T18" fmla="*/ 468 w 938"/>
                <a:gd name="T19" fmla="*/ 0 h 938"/>
                <a:gd name="T20" fmla="*/ 702 w 938"/>
                <a:gd name="T21" fmla="*/ 63 h 938"/>
                <a:gd name="T22" fmla="*/ 874 w 938"/>
                <a:gd name="T23" fmla="*/ 234 h 938"/>
                <a:gd name="T24" fmla="*/ 937 w 938"/>
                <a:gd name="T25" fmla="*/ 468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8" h="938">
                  <a:moveTo>
                    <a:pt x="937" y="468"/>
                  </a:moveTo>
                  <a:cubicBezTo>
                    <a:pt x="937" y="554"/>
                    <a:pt x="917" y="628"/>
                    <a:pt x="874" y="702"/>
                  </a:cubicBezTo>
                  <a:cubicBezTo>
                    <a:pt x="831" y="777"/>
                    <a:pt x="776" y="831"/>
                    <a:pt x="702" y="874"/>
                  </a:cubicBezTo>
                  <a:cubicBezTo>
                    <a:pt x="627" y="917"/>
                    <a:pt x="554" y="937"/>
                    <a:pt x="468" y="937"/>
                  </a:cubicBezTo>
                  <a:cubicBezTo>
                    <a:pt x="382" y="937"/>
                    <a:pt x="309" y="917"/>
                    <a:pt x="234" y="874"/>
                  </a:cubicBezTo>
                  <a:cubicBezTo>
                    <a:pt x="159" y="831"/>
                    <a:pt x="105" y="777"/>
                    <a:pt x="62" y="702"/>
                  </a:cubicBezTo>
                  <a:cubicBezTo>
                    <a:pt x="18" y="628"/>
                    <a:pt x="0" y="554"/>
                    <a:pt x="0" y="468"/>
                  </a:cubicBezTo>
                  <a:cubicBezTo>
                    <a:pt x="0" y="382"/>
                    <a:pt x="18" y="309"/>
                    <a:pt x="62" y="234"/>
                  </a:cubicBezTo>
                  <a:cubicBezTo>
                    <a:pt x="105" y="159"/>
                    <a:pt x="159" y="107"/>
                    <a:pt x="234" y="63"/>
                  </a:cubicBezTo>
                  <a:cubicBezTo>
                    <a:pt x="309" y="20"/>
                    <a:pt x="382" y="0"/>
                    <a:pt x="468" y="0"/>
                  </a:cubicBezTo>
                  <a:cubicBezTo>
                    <a:pt x="554" y="0"/>
                    <a:pt x="627" y="20"/>
                    <a:pt x="702" y="63"/>
                  </a:cubicBezTo>
                  <a:cubicBezTo>
                    <a:pt x="776" y="107"/>
                    <a:pt x="831" y="159"/>
                    <a:pt x="874" y="234"/>
                  </a:cubicBezTo>
                  <a:cubicBezTo>
                    <a:pt x="917" y="309"/>
                    <a:pt x="937" y="382"/>
                    <a:pt x="937" y="46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3" name="Freeform 49"/>
            <p:cNvSpPr>
              <a:spLocks noChangeArrowheads="1"/>
            </p:cNvSpPr>
            <p:nvPr/>
          </p:nvSpPr>
          <p:spPr bwMode="auto">
            <a:xfrm>
              <a:off x="2176463" y="4692650"/>
              <a:ext cx="461962" cy="230188"/>
            </a:xfrm>
            <a:custGeom>
              <a:avLst/>
              <a:gdLst>
                <a:gd name="T0" fmla="*/ 0 w 1282"/>
                <a:gd name="T1" fmla="*/ 640 h 641"/>
                <a:gd name="T2" fmla="*/ 640 w 1282"/>
                <a:gd name="T3" fmla="*/ 0 h 641"/>
                <a:gd name="T4" fmla="*/ 1281 w 1282"/>
                <a:gd name="T5" fmla="*/ 64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2" h="641">
                  <a:moveTo>
                    <a:pt x="0" y="640"/>
                  </a:moveTo>
                  <a:cubicBezTo>
                    <a:pt x="0" y="287"/>
                    <a:pt x="287" y="0"/>
                    <a:pt x="640" y="0"/>
                  </a:cubicBezTo>
                  <a:cubicBezTo>
                    <a:pt x="993" y="0"/>
                    <a:pt x="1281" y="287"/>
                    <a:pt x="1281" y="64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4" name="Freeform 50"/>
            <p:cNvSpPr>
              <a:spLocks noChangeArrowheads="1"/>
            </p:cNvSpPr>
            <p:nvPr/>
          </p:nvSpPr>
          <p:spPr bwMode="auto">
            <a:xfrm>
              <a:off x="3743325" y="4754563"/>
              <a:ext cx="338138" cy="338137"/>
            </a:xfrm>
            <a:custGeom>
              <a:avLst/>
              <a:gdLst>
                <a:gd name="T0" fmla="*/ 937 w 938"/>
                <a:gd name="T1" fmla="*/ 468 h 938"/>
                <a:gd name="T2" fmla="*/ 874 w 938"/>
                <a:gd name="T3" fmla="*/ 702 h 938"/>
                <a:gd name="T4" fmla="*/ 703 w 938"/>
                <a:gd name="T5" fmla="*/ 874 h 938"/>
                <a:gd name="T6" fmla="*/ 468 w 938"/>
                <a:gd name="T7" fmla="*/ 937 h 938"/>
                <a:gd name="T8" fmla="*/ 234 w 938"/>
                <a:gd name="T9" fmla="*/ 874 h 938"/>
                <a:gd name="T10" fmla="*/ 63 w 938"/>
                <a:gd name="T11" fmla="*/ 702 h 938"/>
                <a:gd name="T12" fmla="*/ 0 w 938"/>
                <a:gd name="T13" fmla="*/ 468 h 938"/>
                <a:gd name="T14" fmla="*/ 63 w 938"/>
                <a:gd name="T15" fmla="*/ 234 h 938"/>
                <a:gd name="T16" fmla="*/ 234 w 938"/>
                <a:gd name="T17" fmla="*/ 63 h 938"/>
                <a:gd name="T18" fmla="*/ 468 w 938"/>
                <a:gd name="T19" fmla="*/ 0 h 938"/>
                <a:gd name="T20" fmla="*/ 703 w 938"/>
                <a:gd name="T21" fmla="*/ 63 h 938"/>
                <a:gd name="T22" fmla="*/ 874 w 938"/>
                <a:gd name="T23" fmla="*/ 234 h 938"/>
                <a:gd name="T24" fmla="*/ 937 w 938"/>
                <a:gd name="T25" fmla="*/ 468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38" h="938">
                  <a:moveTo>
                    <a:pt x="937" y="468"/>
                  </a:moveTo>
                  <a:cubicBezTo>
                    <a:pt x="937" y="554"/>
                    <a:pt x="917" y="628"/>
                    <a:pt x="874" y="702"/>
                  </a:cubicBezTo>
                  <a:cubicBezTo>
                    <a:pt x="831" y="777"/>
                    <a:pt x="777" y="831"/>
                    <a:pt x="703" y="874"/>
                  </a:cubicBezTo>
                  <a:cubicBezTo>
                    <a:pt x="628" y="917"/>
                    <a:pt x="554" y="937"/>
                    <a:pt x="468" y="937"/>
                  </a:cubicBezTo>
                  <a:cubicBezTo>
                    <a:pt x="381" y="937"/>
                    <a:pt x="308" y="917"/>
                    <a:pt x="234" y="874"/>
                  </a:cubicBezTo>
                  <a:cubicBezTo>
                    <a:pt x="159" y="831"/>
                    <a:pt x="106" y="777"/>
                    <a:pt x="63" y="702"/>
                  </a:cubicBezTo>
                  <a:cubicBezTo>
                    <a:pt x="20" y="628"/>
                    <a:pt x="0" y="554"/>
                    <a:pt x="0" y="468"/>
                  </a:cubicBezTo>
                  <a:cubicBezTo>
                    <a:pt x="0" y="382"/>
                    <a:pt x="20" y="309"/>
                    <a:pt x="63" y="234"/>
                  </a:cubicBezTo>
                  <a:cubicBezTo>
                    <a:pt x="106" y="159"/>
                    <a:pt x="159" y="107"/>
                    <a:pt x="234" y="63"/>
                  </a:cubicBezTo>
                  <a:cubicBezTo>
                    <a:pt x="308" y="20"/>
                    <a:pt x="382" y="0"/>
                    <a:pt x="468" y="0"/>
                  </a:cubicBezTo>
                  <a:cubicBezTo>
                    <a:pt x="555" y="0"/>
                    <a:pt x="628" y="20"/>
                    <a:pt x="703" y="63"/>
                  </a:cubicBezTo>
                  <a:cubicBezTo>
                    <a:pt x="777" y="107"/>
                    <a:pt x="831" y="159"/>
                    <a:pt x="874" y="234"/>
                  </a:cubicBezTo>
                  <a:cubicBezTo>
                    <a:pt x="917" y="309"/>
                    <a:pt x="937" y="382"/>
                    <a:pt x="937" y="46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5" name="Freeform 51"/>
            <p:cNvSpPr>
              <a:spLocks noChangeArrowheads="1"/>
            </p:cNvSpPr>
            <p:nvPr/>
          </p:nvSpPr>
          <p:spPr bwMode="auto">
            <a:xfrm>
              <a:off x="3681413" y="4692650"/>
              <a:ext cx="461962" cy="230188"/>
            </a:xfrm>
            <a:custGeom>
              <a:avLst/>
              <a:gdLst>
                <a:gd name="T0" fmla="*/ 0 w 1282"/>
                <a:gd name="T1" fmla="*/ 640 h 641"/>
                <a:gd name="T2" fmla="*/ 640 w 1282"/>
                <a:gd name="T3" fmla="*/ 0 h 641"/>
                <a:gd name="T4" fmla="*/ 1281 w 1282"/>
                <a:gd name="T5" fmla="*/ 64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82" h="641">
                  <a:moveTo>
                    <a:pt x="0" y="640"/>
                  </a:moveTo>
                  <a:cubicBezTo>
                    <a:pt x="0" y="287"/>
                    <a:pt x="287" y="0"/>
                    <a:pt x="640" y="0"/>
                  </a:cubicBezTo>
                  <a:cubicBezTo>
                    <a:pt x="992" y="0"/>
                    <a:pt x="1281" y="287"/>
                    <a:pt x="1281" y="64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6" name="Freeform 52"/>
            <p:cNvSpPr>
              <a:spLocks noChangeArrowheads="1"/>
            </p:cNvSpPr>
            <p:nvPr/>
          </p:nvSpPr>
          <p:spPr bwMode="auto">
            <a:xfrm>
              <a:off x="2336800" y="4854575"/>
              <a:ext cx="138113" cy="138113"/>
            </a:xfrm>
            <a:custGeom>
              <a:avLst/>
              <a:gdLst>
                <a:gd name="T0" fmla="*/ 384 w 385"/>
                <a:gd name="T1" fmla="*/ 192 h 385"/>
                <a:gd name="T2" fmla="*/ 358 w 385"/>
                <a:gd name="T3" fmla="*/ 288 h 385"/>
                <a:gd name="T4" fmla="*/ 288 w 385"/>
                <a:gd name="T5" fmla="*/ 358 h 385"/>
                <a:gd name="T6" fmla="*/ 192 w 385"/>
                <a:gd name="T7" fmla="*/ 384 h 385"/>
                <a:gd name="T8" fmla="*/ 96 w 385"/>
                <a:gd name="T9" fmla="*/ 358 h 385"/>
                <a:gd name="T10" fmla="*/ 26 w 385"/>
                <a:gd name="T11" fmla="*/ 288 h 385"/>
                <a:gd name="T12" fmla="*/ 0 w 385"/>
                <a:gd name="T13" fmla="*/ 192 h 385"/>
                <a:gd name="T14" fmla="*/ 26 w 385"/>
                <a:gd name="T15" fmla="*/ 96 h 385"/>
                <a:gd name="T16" fmla="*/ 96 w 385"/>
                <a:gd name="T17" fmla="*/ 26 h 385"/>
                <a:gd name="T18" fmla="*/ 192 w 385"/>
                <a:gd name="T19" fmla="*/ 0 h 385"/>
                <a:gd name="T20" fmla="*/ 288 w 385"/>
                <a:gd name="T21" fmla="*/ 26 h 385"/>
                <a:gd name="T22" fmla="*/ 358 w 385"/>
                <a:gd name="T23" fmla="*/ 96 h 385"/>
                <a:gd name="T24" fmla="*/ 384 w 385"/>
                <a:gd name="T25" fmla="*/ 19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85">
                  <a:moveTo>
                    <a:pt x="384" y="192"/>
                  </a:moveTo>
                  <a:cubicBezTo>
                    <a:pt x="384" y="228"/>
                    <a:pt x="375" y="258"/>
                    <a:pt x="358" y="288"/>
                  </a:cubicBezTo>
                  <a:cubicBezTo>
                    <a:pt x="340" y="319"/>
                    <a:pt x="319" y="341"/>
                    <a:pt x="288" y="358"/>
                  </a:cubicBezTo>
                  <a:cubicBezTo>
                    <a:pt x="257" y="376"/>
                    <a:pt x="227" y="384"/>
                    <a:pt x="192" y="384"/>
                  </a:cubicBezTo>
                  <a:cubicBezTo>
                    <a:pt x="157" y="384"/>
                    <a:pt x="126" y="376"/>
                    <a:pt x="96" y="358"/>
                  </a:cubicBezTo>
                  <a:cubicBezTo>
                    <a:pt x="65" y="341"/>
                    <a:pt x="44" y="319"/>
                    <a:pt x="26" y="288"/>
                  </a:cubicBezTo>
                  <a:cubicBezTo>
                    <a:pt x="8" y="258"/>
                    <a:pt x="0" y="228"/>
                    <a:pt x="0" y="192"/>
                  </a:cubicBezTo>
                  <a:cubicBezTo>
                    <a:pt x="0" y="157"/>
                    <a:pt x="8" y="127"/>
                    <a:pt x="26" y="96"/>
                  </a:cubicBezTo>
                  <a:cubicBezTo>
                    <a:pt x="44" y="66"/>
                    <a:pt x="65" y="44"/>
                    <a:pt x="96" y="26"/>
                  </a:cubicBezTo>
                  <a:cubicBezTo>
                    <a:pt x="126" y="8"/>
                    <a:pt x="157" y="0"/>
                    <a:pt x="192" y="0"/>
                  </a:cubicBezTo>
                  <a:cubicBezTo>
                    <a:pt x="227" y="0"/>
                    <a:pt x="257" y="8"/>
                    <a:pt x="288" y="26"/>
                  </a:cubicBezTo>
                  <a:cubicBezTo>
                    <a:pt x="319" y="44"/>
                    <a:pt x="340" y="66"/>
                    <a:pt x="358" y="96"/>
                  </a:cubicBezTo>
                  <a:cubicBezTo>
                    <a:pt x="375" y="127"/>
                    <a:pt x="384" y="157"/>
                    <a:pt x="384" y="19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7" name="Freeform 53"/>
            <p:cNvSpPr>
              <a:spLocks noChangeArrowheads="1"/>
            </p:cNvSpPr>
            <p:nvPr/>
          </p:nvSpPr>
          <p:spPr bwMode="auto">
            <a:xfrm>
              <a:off x="3849688" y="4854575"/>
              <a:ext cx="138112" cy="138113"/>
            </a:xfrm>
            <a:custGeom>
              <a:avLst/>
              <a:gdLst>
                <a:gd name="T0" fmla="*/ 384 w 385"/>
                <a:gd name="T1" fmla="*/ 192 h 385"/>
                <a:gd name="T2" fmla="*/ 359 w 385"/>
                <a:gd name="T3" fmla="*/ 288 h 385"/>
                <a:gd name="T4" fmla="*/ 288 w 385"/>
                <a:gd name="T5" fmla="*/ 358 h 385"/>
                <a:gd name="T6" fmla="*/ 192 w 385"/>
                <a:gd name="T7" fmla="*/ 384 h 385"/>
                <a:gd name="T8" fmla="*/ 96 w 385"/>
                <a:gd name="T9" fmla="*/ 358 h 385"/>
                <a:gd name="T10" fmla="*/ 26 w 385"/>
                <a:gd name="T11" fmla="*/ 288 h 385"/>
                <a:gd name="T12" fmla="*/ 0 w 385"/>
                <a:gd name="T13" fmla="*/ 192 h 385"/>
                <a:gd name="T14" fmla="*/ 26 w 385"/>
                <a:gd name="T15" fmla="*/ 96 h 385"/>
                <a:gd name="T16" fmla="*/ 96 w 385"/>
                <a:gd name="T17" fmla="*/ 26 h 385"/>
                <a:gd name="T18" fmla="*/ 192 w 385"/>
                <a:gd name="T19" fmla="*/ 0 h 385"/>
                <a:gd name="T20" fmla="*/ 288 w 385"/>
                <a:gd name="T21" fmla="*/ 26 h 385"/>
                <a:gd name="T22" fmla="*/ 359 w 385"/>
                <a:gd name="T23" fmla="*/ 96 h 385"/>
                <a:gd name="T24" fmla="*/ 384 w 385"/>
                <a:gd name="T25" fmla="*/ 19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85">
                  <a:moveTo>
                    <a:pt x="384" y="192"/>
                  </a:moveTo>
                  <a:cubicBezTo>
                    <a:pt x="384" y="228"/>
                    <a:pt x="376" y="258"/>
                    <a:pt x="359" y="288"/>
                  </a:cubicBezTo>
                  <a:cubicBezTo>
                    <a:pt x="341" y="319"/>
                    <a:pt x="318" y="341"/>
                    <a:pt x="288" y="358"/>
                  </a:cubicBezTo>
                  <a:cubicBezTo>
                    <a:pt x="257" y="376"/>
                    <a:pt x="227" y="384"/>
                    <a:pt x="192" y="384"/>
                  </a:cubicBezTo>
                  <a:cubicBezTo>
                    <a:pt x="156" y="384"/>
                    <a:pt x="126" y="376"/>
                    <a:pt x="96" y="358"/>
                  </a:cubicBezTo>
                  <a:cubicBezTo>
                    <a:pt x="65" y="341"/>
                    <a:pt x="43" y="319"/>
                    <a:pt x="26" y="288"/>
                  </a:cubicBezTo>
                  <a:cubicBezTo>
                    <a:pt x="8" y="258"/>
                    <a:pt x="0" y="228"/>
                    <a:pt x="0" y="192"/>
                  </a:cubicBezTo>
                  <a:cubicBezTo>
                    <a:pt x="0" y="157"/>
                    <a:pt x="8" y="127"/>
                    <a:pt x="26" y="96"/>
                  </a:cubicBezTo>
                  <a:cubicBezTo>
                    <a:pt x="43" y="66"/>
                    <a:pt x="65" y="44"/>
                    <a:pt x="96" y="26"/>
                  </a:cubicBezTo>
                  <a:cubicBezTo>
                    <a:pt x="126" y="8"/>
                    <a:pt x="157" y="0"/>
                    <a:pt x="192" y="0"/>
                  </a:cubicBezTo>
                  <a:cubicBezTo>
                    <a:pt x="228" y="0"/>
                    <a:pt x="257" y="8"/>
                    <a:pt x="288" y="26"/>
                  </a:cubicBezTo>
                  <a:cubicBezTo>
                    <a:pt x="318" y="44"/>
                    <a:pt x="341" y="66"/>
                    <a:pt x="359" y="96"/>
                  </a:cubicBezTo>
                  <a:cubicBezTo>
                    <a:pt x="376" y="127"/>
                    <a:pt x="384" y="157"/>
                    <a:pt x="384" y="19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8" name="Line 54"/>
            <p:cNvSpPr>
              <a:spLocks noChangeShapeType="1"/>
            </p:cNvSpPr>
            <p:nvPr/>
          </p:nvSpPr>
          <p:spPr bwMode="auto">
            <a:xfrm flipH="1">
              <a:off x="4514850" y="4699000"/>
              <a:ext cx="30163" cy="1651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9" name="Line 55"/>
            <p:cNvSpPr>
              <a:spLocks noChangeShapeType="1"/>
            </p:cNvSpPr>
            <p:nvPr/>
          </p:nvSpPr>
          <p:spPr bwMode="auto">
            <a:xfrm>
              <a:off x="4738688" y="4686300"/>
              <a:ext cx="65881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20" name="Line 56"/>
            <p:cNvSpPr>
              <a:spLocks noChangeShapeType="1"/>
            </p:cNvSpPr>
            <p:nvPr/>
          </p:nvSpPr>
          <p:spPr bwMode="auto">
            <a:xfrm>
              <a:off x="4783138" y="4600575"/>
              <a:ext cx="2587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21" name="Line 57"/>
            <p:cNvSpPr>
              <a:spLocks noChangeShapeType="1"/>
            </p:cNvSpPr>
            <p:nvPr/>
          </p:nvSpPr>
          <p:spPr bwMode="auto">
            <a:xfrm>
              <a:off x="4227513" y="4464050"/>
              <a:ext cx="406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22" name="Line 58"/>
            <p:cNvSpPr>
              <a:spLocks noChangeShapeType="1"/>
            </p:cNvSpPr>
            <p:nvPr/>
          </p:nvSpPr>
          <p:spPr bwMode="auto">
            <a:xfrm>
              <a:off x="5116513" y="4600575"/>
              <a:ext cx="555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23" name="Line 59"/>
            <p:cNvSpPr>
              <a:spLocks noChangeShapeType="1"/>
            </p:cNvSpPr>
            <p:nvPr/>
          </p:nvSpPr>
          <p:spPr bwMode="auto">
            <a:xfrm>
              <a:off x="4684713" y="4806950"/>
              <a:ext cx="2492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666650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6739134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 rot="20700000">
            <a:off x="7278731" y="400763"/>
            <a:ext cx="1468291" cy="351071"/>
            <a:chOff x="781050" y="1370013"/>
            <a:chExt cx="3605213" cy="862012"/>
          </a:xfrm>
        </p:grpSpPr>
        <p:sp>
          <p:nvSpPr>
            <p:cNvPr id="5" name="Freeform 1"/>
            <p:cNvSpPr>
              <a:spLocks noChangeArrowheads="1"/>
            </p:cNvSpPr>
            <p:nvPr/>
          </p:nvSpPr>
          <p:spPr bwMode="auto">
            <a:xfrm>
              <a:off x="1449388" y="1616075"/>
              <a:ext cx="2936875" cy="407988"/>
            </a:xfrm>
            <a:custGeom>
              <a:avLst/>
              <a:gdLst>
                <a:gd name="T0" fmla="*/ 3494 w 8156"/>
                <a:gd name="T1" fmla="*/ 28 h 1132"/>
                <a:gd name="T2" fmla="*/ 6392 w 8156"/>
                <a:gd name="T3" fmla="*/ 0 h 1132"/>
                <a:gd name="T4" fmla="*/ 7985 w 8156"/>
                <a:gd name="T5" fmla="*/ 759 h 1132"/>
                <a:gd name="T6" fmla="*/ 7822 w 8156"/>
                <a:gd name="T7" fmla="*/ 1131 h 1132"/>
                <a:gd name="T8" fmla="*/ 0 w 8156"/>
                <a:gd name="T9" fmla="*/ 1131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56" h="1132">
                  <a:moveTo>
                    <a:pt x="3494" y="28"/>
                  </a:moveTo>
                  <a:cubicBezTo>
                    <a:pt x="4831" y="14"/>
                    <a:pt x="6254" y="0"/>
                    <a:pt x="6392" y="0"/>
                  </a:cubicBezTo>
                  <a:cubicBezTo>
                    <a:pt x="6756" y="0"/>
                    <a:pt x="7278" y="48"/>
                    <a:pt x="7985" y="759"/>
                  </a:cubicBezTo>
                  <a:cubicBezTo>
                    <a:pt x="8155" y="928"/>
                    <a:pt x="8031" y="1131"/>
                    <a:pt x="7822" y="1131"/>
                  </a:cubicBezTo>
                  <a:cubicBezTo>
                    <a:pt x="7613" y="1131"/>
                    <a:pt x="0" y="1131"/>
                    <a:pt x="0" y="113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6" name="Freeform 2"/>
            <p:cNvSpPr>
              <a:spLocks noChangeArrowheads="1"/>
            </p:cNvSpPr>
            <p:nvPr/>
          </p:nvSpPr>
          <p:spPr bwMode="auto">
            <a:xfrm>
              <a:off x="1222375" y="1370013"/>
              <a:ext cx="944563" cy="652462"/>
            </a:xfrm>
            <a:custGeom>
              <a:avLst/>
              <a:gdLst>
                <a:gd name="T0" fmla="*/ 1341 w 2623"/>
                <a:gd name="T1" fmla="*/ 1812 h 1813"/>
                <a:gd name="T2" fmla="*/ 1279 w 2623"/>
                <a:gd name="T3" fmla="*/ 1470 h 1813"/>
                <a:gd name="T4" fmla="*/ 0 w 2623"/>
                <a:gd name="T5" fmla="*/ 0 h 1813"/>
                <a:gd name="T6" fmla="*/ 441 w 2623"/>
                <a:gd name="T7" fmla="*/ 0 h 1813"/>
                <a:gd name="T8" fmla="*/ 906 w 2623"/>
                <a:gd name="T9" fmla="*/ 155 h 1813"/>
                <a:gd name="T10" fmla="*/ 1688 w 2623"/>
                <a:gd name="T11" fmla="*/ 736 h 1813"/>
                <a:gd name="T12" fmla="*/ 2622 w 2623"/>
                <a:gd name="T13" fmla="*/ 725 h 1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23" h="1813">
                  <a:moveTo>
                    <a:pt x="1341" y="1812"/>
                  </a:moveTo>
                  <a:cubicBezTo>
                    <a:pt x="1341" y="1812"/>
                    <a:pt x="1395" y="1648"/>
                    <a:pt x="1279" y="1470"/>
                  </a:cubicBezTo>
                  <a:cubicBezTo>
                    <a:pt x="1163" y="1292"/>
                    <a:pt x="0" y="0"/>
                    <a:pt x="0" y="0"/>
                  </a:cubicBezTo>
                  <a:cubicBezTo>
                    <a:pt x="0" y="0"/>
                    <a:pt x="257" y="0"/>
                    <a:pt x="441" y="0"/>
                  </a:cubicBezTo>
                  <a:cubicBezTo>
                    <a:pt x="624" y="0"/>
                    <a:pt x="734" y="31"/>
                    <a:pt x="906" y="155"/>
                  </a:cubicBezTo>
                  <a:cubicBezTo>
                    <a:pt x="1078" y="279"/>
                    <a:pt x="1688" y="736"/>
                    <a:pt x="1688" y="736"/>
                  </a:cubicBezTo>
                  <a:cubicBezTo>
                    <a:pt x="1688" y="736"/>
                    <a:pt x="2066" y="734"/>
                    <a:pt x="2622" y="72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7" name="Line 3"/>
            <p:cNvSpPr>
              <a:spLocks noChangeShapeType="1"/>
            </p:cNvSpPr>
            <p:nvPr/>
          </p:nvSpPr>
          <p:spPr bwMode="auto">
            <a:xfrm>
              <a:off x="3581400" y="2232025"/>
              <a:ext cx="49053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8" name="Line 4"/>
            <p:cNvSpPr>
              <a:spLocks noChangeShapeType="1"/>
            </p:cNvSpPr>
            <p:nvPr/>
          </p:nvSpPr>
          <p:spPr bwMode="auto">
            <a:xfrm>
              <a:off x="3246438" y="2232025"/>
              <a:ext cx="1428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9" name="Line 5"/>
            <p:cNvSpPr>
              <a:spLocks noChangeShapeType="1"/>
            </p:cNvSpPr>
            <p:nvPr/>
          </p:nvSpPr>
          <p:spPr bwMode="auto">
            <a:xfrm>
              <a:off x="1385888" y="2232025"/>
              <a:ext cx="5508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0" name="Line 6"/>
            <p:cNvSpPr>
              <a:spLocks noChangeShapeType="1"/>
            </p:cNvSpPr>
            <p:nvPr/>
          </p:nvSpPr>
          <p:spPr bwMode="auto">
            <a:xfrm>
              <a:off x="982663" y="2022475"/>
              <a:ext cx="2190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1" name="Line 7"/>
            <p:cNvSpPr>
              <a:spLocks noChangeShapeType="1"/>
            </p:cNvSpPr>
            <p:nvPr/>
          </p:nvSpPr>
          <p:spPr bwMode="auto">
            <a:xfrm>
              <a:off x="781050" y="2022475"/>
              <a:ext cx="809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2" name="Line 8"/>
            <p:cNvSpPr>
              <a:spLocks noChangeShapeType="1"/>
            </p:cNvSpPr>
            <p:nvPr/>
          </p:nvSpPr>
          <p:spPr bwMode="auto">
            <a:xfrm>
              <a:off x="1092200" y="2232025"/>
              <a:ext cx="8572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3" name="Freeform 9"/>
            <p:cNvSpPr>
              <a:spLocks noChangeArrowheads="1"/>
            </p:cNvSpPr>
            <p:nvPr/>
          </p:nvSpPr>
          <p:spPr bwMode="auto">
            <a:xfrm>
              <a:off x="1914525" y="1455738"/>
              <a:ext cx="1425575" cy="414337"/>
            </a:xfrm>
            <a:custGeom>
              <a:avLst/>
              <a:gdLst>
                <a:gd name="T0" fmla="*/ 1685 w 3958"/>
                <a:gd name="T1" fmla="*/ 1148 h 1149"/>
                <a:gd name="T2" fmla="*/ 0 w 3958"/>
                <a:gd name="T3" fmla="*/ 0 h 1149"/>
                <a:gd name="T4" fmla="*/ 830 w 3958"/>
                <a:gd name="T5" fmla="*/ 0 h 1149"/>
                <a:gd name="T6" fmla="*/ 3375 w 3958"/>
                <a:gd name="T7" fmla="*/ 973 h 1149"/>
                <a:gd name="T8" fmla="*/ 3957 w 3958"/>
                <a:gd name="T9" fmla="*/ 1089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58" h="1149">
                  <a:moveTo>
                    <a:pt x="1685" y="1148"/>
                  </a:moveTo>
                  <a:lnTo>
                    <a:pt x="0" y="0"/>
                  </a:lnTo>
                  <a:cubicBezTo>
                    <a:pt x="0" y="0"/>
                    <a:pt x="627" y="0"/>
                    <a:pt x="830" y="0"/>
                  </a:cubicBezTo>
                  <a:cubicBezTo>
                    <a:pt x="1225" y="0"/>
                    <a:pt x="1750" y="304"/>
                    <a:pt x="3375" y="973"/>
                  </a:cubicBezTo>
                  <a:cubicBezTo>
                    <a:pt x="3545" y="1044"/>
                    <a:pt x="3641" y="1089"/>
                    <a:pt x="3957" y="108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4" name="Freeform 10"/>
            <p:cNvSpPr>
              <a:spLocks noChangeArrowheads="1"/>
            </p:cNvSpPr>
            <p:nvPr/>
          </p:nvSpPr>
          <p:spPr bwMode="auto">
            <a:xfrm>
              <a:off x="3848100" y="1728788"/>
              <a:ext cx="381000" cy="79375"/>
            </a:xfrm>
            <a:custGeom>
              <a:avLst/>
              <a:gdLst>
                <a:gd name="T0" fmla="*/ 0 w 1058"/>
                <a:gd name="T1" fmla="*/ 0 h 221"/>
                <a:gd name="T2" fmla="*/ 398 w 1058"/>
                <a:gd name="T3" fmla="*/ 220 h 221"/>
                <a:gd name="T4" fmla="*/ 1057 w 1058"/>
                <a:gd name="T5" fmla="*/ 22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58" h="221">
                  <a:moveTo>
                    <a:pt x="0" y="0"/>
                  </a:moveTo>
                  <a:cubicBezTo>
                    <a:pt x="0" y="0"/>
                    <a:pt x="107" y="220"/>
                    <a:pt x="398" y="220"/>
                  </a:cubicBezTo>
                  <a:cubicBezTo>
                    <a:pt x="688" y="220"/>
                    <a:pt x="1057" y="220"/>
                    <a:pt x="1057" y="2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5" name="Line 11"/>
            <p:cNvSpPr>
              <a:spLocks noChangeShapeType="1"/>
            </p:cNvSpPr>
            <p:nvPr/>
          </p:nvSpPr>
          <p:spPr bwMode="auto">
            <a:xfrm>
              <a:off x="3397250" y="1722438"/>
              <a:ext cx="49213" cy="650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6" name="Line 12"/>
            <p:cNvSpPr>
              <a:spLocks noChangeShapeType="1"/>
            </p:cNvSpPr>
            <p:nvPr/>
          </p:nvSpPr>
          <p:spPr bwMode="auto">
            <a:xfrm>
              <a:off x="3608388" y="1722438"/>
              <a:ext cx="50800" cy="6508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  <p:sp>
          <p:nvSpPr>
            <p:cNvPr id="17" name="Freeform 13"/>
            <p:cNvSpPr>
              <a:spLocks noChangeArrowheads="1"/>
            </p:cNvSpPr>
            <p:nvPr/>
          </p:nvSpPr>
          <p:spPr bwMode="auto">
            <a:xfrm>
              <a:off x="2528888" y="2022475"/>
              <a:ext cx="581025" cy="177800"/>
            </a:xfrm>
            <a:custGeom>
              <a:avLst/>
              <a:gdLst>
                <a:gd name="T0" fmla="*/ 570 w 1615"/>
                <a:gd name="T1" fmla="*/ 0 h 492"/>
                <a:gd name="T2" fmla="*/ 0 w 1615"/>
                <a:gd name="T3" fmla="*/ 491 h 492"/>
                <a:gd name="T4" fmla="*/ 369 w 1615"/>
                <a:gd name="T5" fmla="*/ 491 h 492"/>
                <a:gd name="T6" fmla="*/ 1614 w 1615"/>
                <a:gd name="T7" fmla="*/ 3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15" h="492">
                  <a:moveTo>
                    <a:pt x="570" y="0"/>
                  </a:moveTo>
                  <a:lnTo>
                    <a:pt x="0" y="491"/>
                  </a:lnTo>
                  <a:cubicBezTo>
                    <a:pt x="0" y="491"/>
                    <a:pt x="254" y="491"/>
                    <a:pt x="369" y="491"/>
                  </a:cubicBezTo>
                  <a:cubicBezTo>
                    <a:pt x="711" y="491"/>
                    <a:pt x="852" y="415"/>
                    <a:pt x="1614" y="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28282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2373904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7800949" y="3998614"/>
            <a:ext cx="840242" cy="879122"/>
            <a:chOff x="1639439" y="4759559"/>
            <a:chExt cx="420121" cy="439561"/>
          </a:xfrm>
        </p:grpSpPr>
        <p:sp>
          <p:nvSpPr>
            <p:cNvPr id="5" name="Freeform: Shape 49"/>
            <p:cNvSpPr/>
            <p:nvPr/>
          </p:nvSpPr>
          <p:spPr>
            <a:xfrm>
              <a:off x="1707120" y="4766399"/>
              <a:ext cx="32220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6" h="895">
                  <a:moveTo>
                    <a:pt x="896" y="448"/>
                  </a:moveTo>
                  <a:cubicBezTo>
                    <a:pt x="896" y="530"/>
                    <a:pt x="877" y="600"/>
                    <a:pt x="836" y="672"/>
                  </a:cubicBezTo>
                  <a:cubicBezTo>
                    <a:pt x="795" y="743"/>
                    <a:pt x="743" y="793"/>
                    <a:pt x="672" y="835"/>
                  </a:cubicBezTo>
                  <a:cubicBezTo>
                    <a:pt x="601" y="876"/>
                    <a:pt x="530" y="895"/>
                    <a:pt x="448" y="895"/>
                  </a:cubicBezTo>
                  <a:cubicBezTo>
                    <a:pt x="366" y="895"/>
                    <a:pt x="295" y="876"/>
                    <a:pt x="224" y="835"/>
                  </a:cubicBezTo>
                  <a:cubicBezTo>
                    <a:pt x="152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2" y="101"/>
                    <a:pt x="224" y="60"/>
                  </a:cubicBezTo>
                  <a:cubicBezTo>
                    <a:pt x="295" y="19"/>
                    <a:pt x="366" y="0"/>
                    <a:pt x="448" y="0"/>
                  </a:cubicBezTo>
                  <a:cubicBezTo>
                    <a:pt x="530" y="0"/>
                    <a:pt x="601" y="19"/>
                    <a:pt x="672" y="60"/>
                  </a:cubicBezTo>
                  <a:cubicBezTo>
                    <a:pt x="743" y="101"/>
                    <a:pt x="795" y="153"/>
                    <a:pt x="836" y="224"/>
                  </a:cubicBezTo>
                  <a:cubicBezTo>
                    <a:pt x="877" y="295"/>
                    <a:pt x="896" y="365"/>
                    <a:pt x="896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1868399" y="4759559"/>
              <a:ext cx="0" cy="212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1868399" y="508104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1925640" y="477252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1803600" y="5069880"/>
              <a:ext cx="7920" cy="1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1975320" y="4810680"/>
              <a:ext cx="15120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1746360" y="5036400"/>
              <a:ext cx="15120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2007720" y="486648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1709640" y="4987440"/>
              <a:ext cx="19799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2018519" y="4930560"/>
              <a:ext cx="21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1697400" y="4931279"/>
              <a:ext cx="20880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2007720" y="4987440"/>
              <a:ext cx="19799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1709640" y="4866840"/>
              <a:ext cx="19440" cy="79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1748160" y="480924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1973880" y="5037840"/>
              <a:ext cx="1511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1799640" y="4773960"/>
              <a:ext cx="864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1928879" y="5068440"/>
              <a:ext cx="8281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66"/>
            <p:cNvSpPr/>
            <p:nvPr/>
          </p:nvSpPr>
          <p:spPr>
            <a:xfrm>
              <a:off x="1829520" y="4924800"/>
              <a:ext cx="88920" cy="236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8" h="658" fill="none">
                  <a:moveTo>
                    <a:pt x="0" y="658"/>
                  </a:moveTo>
                  <a:lnTo>
                    <a:pt x="126" y="0"/>
                  </a:lnTo>
                  <a:lnTo>
                    <a:pt x="248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1639439" y="5187240"/>
              <a:ext cx="244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1692000" y="5135400"/>
              <a:ext cx="35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69"/>
            <p:cNvSpPr/>
            <p:nvPr/>
          </p:nvSpPr>
          <p:spPr>
            <a:xfrm>
              <a:off x="1782360" y="5161680"/>
              <a:ext cx="27684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0" h="105" fill="none">
                  <a:moveTo>
                    <a:pt x="770" y="105"/>
                  </a:moveTo>
                  <a:lnTo>
                    <a:pt x="532" y="105"/>
                  </a:lnTo>
                  <a:lnTo>
                    <a:pt x="532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70"/>
            <p:cNvSpPr/>
            <p:nvPr/>
          </p:nvSpPr>
          <p:spPr>
            <a:xfrm>
              <a:off x="2004840" y="5149800"/>
              <a:ext cx="54720" cy="23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67">
                  <a:moveTo>
                    <a:pt x="153" y="33"/>
                  </a:moveTo>
                  <a:lnTo>
                    <a:pt x="153" y="67"/>
                  </a:lnTo>
                  <a:lnTo>
                    <a:pt x="0" y="67"/>
                  </a:lnTo>
                  <a:lnTo>
                    <a:pt x="0" y="0"/>
                  </a:lnTo>
                  <a:lnTo>
                    <a:pt x="153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5770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55700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555558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8997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7166654" y="4067439"/>
            <a:ext cx="1551460" cy="811451"/>
            <a:chOff x="11040120" y="2278080"/>
            <a:chExt cx="1015938" cy="531360"/>
          </a:xfrm>
        </p:grpSpPr>
        <p:sp>
          <p:nvSpPr>
            <p:cNvPr id="5" name="Straight Connector 4"/>
            <p:cNvSpPr/>
            <p:nvPr/>
          </p:nvSpPr>
          <p:spPr>
            <a:xfrm flipH="1">
              <a:off x="11201400" y="2593440"/>
              <a:ext cx="1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Freeform: Shape 568"/>
            <p:cNvSpPr/>
            <p:nvPr/>
          </p:nvSpPr>
          <p:spPr>
            <a:xfrm>
              <a:off x="11201760" y="2607120"/>
              <a:ext cx="324000" cy="61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01" h="172" fill="none">
                  <a:moveTo>
                    <a:pt x="0" y="0"/>
                  </a:moveTo>
                  <a:lnTo>
                    <a:pt x="484" y="0"/>
                  </a:lnTo>
                  <a:lnTo>
                    <a:pt x="484" y="105"/>
                  </a:lnTo>
                  <a:lnTo>
                    <a:pt x="901" y="105"/>
                  </a:lnTo>
                  <a:lnTo>
                    <a:pt x="901" y="17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569"/>
            <p:cNvSpPr/>
            <p:nvPr/>
          </p:nvSpPr>
          <p:spPr>
            <a:xfrm>
              <a:off x="11372040" y="2675160"/>
              <a:ext cx="2815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3" h="85" fill="none">
                  <a:moveTo>
                    <a:pt x="0" y="0"/>
                  </a:moveTo>
                  <a:lnTo>
                    <a:pt x="304" y="0"/>
                  </a:lnTo>
                  <a:lnTo>
                    <a:pt x="304" y="85"/>
                  </a:lnTo>
                  <a:lnTo>
                    <a:pt x="783" y="8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: Shape 570"/>
            <p:cNvSpPr/>
            <p:nvPr/>
          </p:nvSpPr>
          <p:spPr>
            <a:xfrm>
              <a:off x="11161440" y="2638080"/>
              <a:ext cx="80280" cy="5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" h="165" fill="none">
                  <a:moveTo>
                    <a:pt x="0" y="165"/>
                  </a:moveTo>
                  <a:lnTo>
                    <a:pt x="0" y="0"/>
                  </a:lnTo>
                  <a:lnTo>
                    <a:pt x="224" y="0"/>
                  </a:lnTo>
                  <a:lnTo>
                    <a:pt x="224" y="1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Freeform: Shape 571"/>
            <p:cNvSpPr/>
            <p:nvPr/>
          </p:nvSpPr>
          <p:spPr>
            <a:xfrm>
              <a:off x="11178360" y="2653560"/>
              <a:ext cx="29880" cy="1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" h="43">
                  <a:moveTo>
                    <a:pt x="42" y="43"/>
                  </a:moveTo>
                  <a:lnTo>
                    <a:pt x="0" y="43"/>
                  </a:lnTo>
                  <a:lnTo>
                    <a:pt x="0" y="0"/>
                  </a:lnTo>
                  <a:lnTo>
                    <a:pt x="84" y="0"/>
                  </a:lnTo>
                  <a:lnTo>
                    <a:pt x="84" y="4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Freeform: Shape 572"/>
            <p:cNvSpPr/>
            <p:nvPr/>
          </p:nvSpPr>
          <p:spPr>
            <a:xfrm>
              <a:off x="11275920" y="2617920"/>
              <a:ext cx="84960" cy="13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7" h="39">
                  <a:moveTo>
                    <a:pt x="119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237" y="0"/>
                  </a:lnTo>
                  <a:lnTo>
                    <a:pt x="237" y="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Freeform: Shape 573"/>
            <p:cNvSpPr/>
            <p:nvPr/>
          </p:nvSpPr>
          <p:spPr>
            <a:xfrm>
              <a:off x="11403360" y="2610720"/>
              <a:ext cx="51840" cy="13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5" h="39">
                  <a:moveTo>
                    <a:pt x="73" y="39"/>
                  </a:moveTo>
                  <a:lnTo>
                    <a:pt x="0" y="39"/>
                  </a:lnTo>
                  <a:lnTo>
                    <a:pt x="0" y="0"/>
                  </a:lnTo>
                  <a:lnTo>
                    <a:pt x="145" y="0"/>
                  </a:lnTo>
                  <a:lnTo>
                    <a:pt x="145" y="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Freeform: Shape 574"/>
            <p:cNvSpPr/>
            <p:nvPr/>
          </p:nvSpPr>
          <p:spPr>
            <a:xfrm>
              <a:off x="11535839" y="2607120"/>
              <a:ext cx="47880" cy="3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4" h="90">
                  <a:moveTo>
                    <a:pt x="67" y="90"/>
                  </a:moveTo>
                  <a:lnTo>
                    <a:pt x="0" y="90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eform: Shape 575"/>
            <p:cNvSpPr/>
            <p:nvPr/>
          </p:nvSpPr>
          <p:spPr>
            <a:xfrm>
              <a:off x="11545200" y="2657520"/>
              <a:ext cx="18000" cy="31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" h="88">
                  <a:moveTo>
                    <a:pt x="26" y="88"/>
                  </a:moveTo>
                  <a:lnTo>
                    <a:pt x="0" y="88"/>
                  </a:lnTo>
                  <a:lnTo>
                    <a:pt x="0" y="0"/>
                  </a:lnTo>
                  <a:lnTo>
                    <a:pt x="51" y="0"/>
                  </a:lnTo>
                  <a:lnTo>
                    <a:pt x="51" y="8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Freeform: Shape 576"/>
            <p:cNvSpPr/>
            <p:nvPr/>
          </p:nvSpPr>
          <p:spPr>
            <a:xfrm>
              <a:off x="11080440" y="2697840"/>
              <a:ext cx="1800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" h="87">
                  <a:moveTo>
                    <a:pt x="26" y="87"/>
                  </a:moveTo>
                  <a:lnTo>
                    <a:pt x="0" y="87"/>
                  </a:lnTo>
                  <a:lnTo>
                    <a:pt x="0" y="0"/>
                  </a:lnTo>
                  <a:lnTo>
                    <a:pt x="51" y="0"/>
                  </a:lnTo>
                  <a:lnTo>
                    <a:pt x="51" y="8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: Shape 577"/>
            <p:cNvSpPr/>
            <p:nvPr/>
          </p:nvSpPr>
          <p:spPr>
            <a:xfrm>
              <a:off x="11343240" y="2512800"/>
              <a:ext cx="34920" cy="1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" h="33">
                  <a:moveTo>
                    <a:pt x="49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98" y="0"/>
                  </a:lnTo>
                  <a:lnTo>
                    <a:pt x="98" y="3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578"/>
            <p:cNvSpPr/>
            <p:nvPr/>
          </p:nvSpPr>
          <p:spPr>
            <a:xfrm>
              <a:off x="11974320" y="2719440"/>
              <a:ext cx="34920" cy="1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" h="33">
                  <a:moveTo>
                    <a:pt x="49" y="33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98" y="0"/>
                  </a:lnTo>
                  <a:lnTo>
                    <a:pt x="98" y="3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579"/>
            <p:cNvSpPr/>
            <p:nvPr/>
          </p:nvSpPr>
          <p:spPr>
            <a:xfrm>
              <a:off x="11332080" y="2502000"/>
              <a:ext cx="79560" cy="93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2" h="260" fill="none">
                  <a:moveTo>
                    <a:pt x="0" y="260"/>
                  </a:moveTo>
                  <a:lnTo>
                    <a:pt x="0" y="0"/>
                  </a:lnTo>
                  <a:lnTo>
                    <a:pt x="222" y="0"/>
                  </a:lnTo>
                  <a:lnTo>
                    <a:pt x="222" y="26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1144584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1145844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1147140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1148436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1149732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1151028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11523240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11535839" y="2311920"/>
              <a:ext cx="0" cy="288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588"/>
            <p:cNvSpPr/>
            <p:nvPr/>
          </p:nvSpPr>
          <p:spPr>
            <a:xfrm>
              <a:off x="11433600" y="2295000"/>
              <a:ext cx="112680" cy="30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4" h="858" fill="none">
                  <a:moveTo>
                    <a:pt x="0" y="858"/>
                  </a:moveTo>
                  <a:lnTo>
                    <a:pt x="0" y="0"/>
                  </a:lnTo>
                  <a:lnTo>
                    <a:pt x="314" y="0"/>
                  </a:lnTo>
                  <a:lnTo>
                    <a:pt x="314" y="8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11426400" y="2278080"/>
              <a:ext cx="128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11576519" y="2532600"/>
              <a:ext cx="0" cy="316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11558520" y="2567160"/>
              <a:ext cx="36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11770560" y="2575080"/>
              <a:ext cx="629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11824559" y="255528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11913840" y="2677680"/>
              <a:ext cx="0" cy="49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595"/>
            <p:cNvSpPr/>
            <p:nvPr/>
          </p:nvSpPr>
          <p:spPr>
            <a:xfrm>
              <a:off x="11278440" y="2707920"/>
              <a:ext cx="60552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3" h="69" fill="none">
                  <a:moveTo>
                    <a:pt x="0" y="56"/>
                  </a:moveTo>
                  <a:lnTo>
                    <a:pt x="117" y="0"/>
                  </a:lnTo>
                  <a:lnTo>
                    <a:pt x="483" y="0"/>
                  </a:lnTo>
                  <a:lnTo>
                    <a:pt x="483" y="69"/>
                  </a:lnTo>
                  <a:lnTo>
                    <a:pt x="1683" y="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596"/>
            <p:cNvSpPr/>
            <p:nvPr/>
          </p:nvSpPr>
          <p:spPr>
            <a:xfrm>
              <a:off x="11577240" y="2616480"/>
              <a:ext cx="255960" cy="6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2" h="190" fill="none">
                  <a:moveTo>
                    <a:pt x="0" y="190"/>
                  </a:moveTo>
                  <a:lnTo>
                    <a:pt x="406" y="190"/>
                  </a:lnTo>
                  <a:lnTo>
                    <a:pt x="406" y="55"/>
                  </a:lnTo>
                  <a:lnTo>
                    <a:pt x="601" y="55"/>
                  </a:lnTo>
                  <a:lnTo>
                    <a:pt x="601" y="0"/>
                  </a:lnTo>
                  <a:lnTo>
                    <a:pt x="712" y="0"/>
                  </a:lnTo>
                  <a:lnTo>
                    <a:pt x="712" y="146"/>
                  </a:lnTo>
                  <a:lnTo>
                    <a:pt x="578" y="14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597"/>
            <p:cNvSpPr/>
            <p:nvPr/>
          </p:nvSpPr>
          <p:spPr>
            <a:xfrm>
              <a:off x="11849759" y="2586960"/>
              <a:ext cx="34200" cy="23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6" h="66" fill="none">
                  <a:moveTo>
                    <a:pt x="0" y="58"/>
                  </a:moveTo>
                  <a:lnTo>
                    <a:pt x="0" y="0"/>
                  </a:lnTo>
                  <a:lnTo>
                    <a:pt x="96" y="0"/>
                  </a:lnTo>
                  <a:lnTo>
                    <a:pt x="96" y="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598"/>
            <p:cNvSpPr/>
            <p:nvPr/>
          </p:nvSpPr>
          <p:spPr>
            <a:xfrm>
              <a:off x="11881440" y="2623320"/>
              <a:ext cx="59040" cy="24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5" h="68" fill="none">
                  <a:moveTo>
                    <a:pt x="103" y="0"/>
                  </a:moveTo>
                  <a:lnTo>
                    <a:pt x="0" y="0"/>
                  </a:lnTo>
                  <a:lnTo>
                    <a:pt x="0" y="68"/>
                  </a:lnTo>
                  <a:lnTo>
                    <a:pt x="165" y="6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11534400" y="2777760"/>
              <a:ext cx="0" cy="3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 flipH="1">
              <a:off x="11040120" y="2750760"/>
              <a:ext cx="101593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11605680" y="2777760"/>
              <a:ext cx="398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11792880" y="2802600"/>
              <a:ext cx="92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11140199" y="2769480"/>
              <a:ext cx="54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11210040" y="2709360"/>
              <a:ext cx="30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605"/>
            <p:cNvSpPr/>
            <p:nvPr/>
          </p:nvSpPr>
          <p:spPr>
            <a:xfrm>
              <a:off x="11605680" y="2317320"/>
              <a:ext cx="164160" cy="362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1009" fill="none">
                  <a:moveTo>
                    <a:pt x="0" y="1009"/>
                  </a:moveTo>
                  <a:lnTo>
                    <a:pt x="0" y="0"/>
                  </a:lnTo>
                  <a:lnTo>
                    <a:pt x="457" y="0"/>
                  </a:lnTo>
                  <a:lnTo>
                    <a:pt x="457" y="84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11605680" y="237060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1605680" y="2395439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11605680" y="241416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11605680" y="243252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11605680" y="245088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11605680" y="246924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11605680" y="248796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11605680" y="250668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11605680" y="2525039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11605680" y="254376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11605680" y="256248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11605680" y="258084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1605680" y="259956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1605680" y="2618280"/>
              <a:ext cx="164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1605680" y="2634480"/>
              <a:ext cx="104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11605680" y="2653200"/>
              <a:ext cx="104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11605680" y="2671560"/>
              <a:ext cx="104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623"/>
            <p:cNvSpPr/>
            <p:nvPr/>
          </p:nvSpPr>
          <p:spPr>
            <a:xfrm>
              <a:off x="11634119" y="2294280"/>
              <a:ext cx="4752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" h="132">
                  <a:moveTo>
                    <a:pt x="133" y="66"/>
                  </a:moveTo>
                  <a:cubicBezTo>
                    <a:pt x="133" y="78"/>
                    <a:pt x="130" y="88"/>
                    <a:pt x="124" y="99"/>
                  </a:cubicBezTo>
                  <a:cubicBezTo>
                    <a:pt x="118" y="109"/>
                    <a:pt x="110" y="117"/>
                    <a:pt x="100" y="123"/>
                  </a:cubicBezTo>
                  <a:cubicBezTo>
                    <a:pt x="89" y="129"/>
                    <a:pt x="79" y="132"/>
                    <a:pt x="67" y="132"/>
                  </a:cubicBezTo>
                  <a:cubicBezTo>
                    <a:pt x="54" y="132"/>
                    <a:pt x="45" y="129"/>
                    <a:pt x="34" y="123"/>
                  </a:cubicBezTo>
                  <a:cubicBezTo>
                    <a:pt x="23" y="117"/>
                    <a:pt x="15" y="109"/>
                    <a:pt x="9" y="99"/>
                  </a:cubicBezTo>
                  <a:cubicBezTo>
                    <a:pt x="3" y="88"/>
                    <a:pt x="0" y="78"/>
                    <a:pt x="0" y="66"/>
                  </a:cubicBezTo>
                  <a:cubicBezTo>
                    <a:pt x="0" y="53"/>
                    <a:pt x="3" y="43"/>
                    <a:pt x="9" y="33"/>
                  </a:cubicBezTo>
                  <a:cubicBezTo>
                    <a:pt x="15" y="22"/>
                    <a:pt x="23" y="14"/>
                    <a:pt x="34" y="8"/>
                  </a:cubicBezTo>
                  <a:cubicBezTo>
                    <a:pt x="45" y="2"/>
                    <a:pt x="54" y="0"/>
                    <a:pt x="67" y="0"/>
                  </a:cubicBezTo>
                  <a:cubicBezTo>
                    <a:pt x="79" y="0"/>
                    <a:pt x="89" y="2"/>
                    <a:pt x="100" y="8"/>
                  </a:cubicBezTo>
                  <a:cubicBezTo>
                    <a:pt x="110" y="14"/>
                    <a:pt x="118" y="22"/>
                    <a:pt x="124" y="33"/>
                  </a:cubicBezTo>
                  <a:cubicBezTo>
                    <a:pt x="130" y="43"/>
                    <a:pt x="133" y="53"/>
                    <a:pt x="133" y="66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11693879" y="2333520"/>
              <a:ext cx="45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2160" tIns="2160" rIns="2160" bIns="216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75077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6377760" y="4048722"/>
            <a:ext cx="2766240" cy="795784"/>
            <a:chOff x="-319680" y="4767120"/>
            <a:chExt cx="1624320" cy="467280"/>
          </a:xfrm>
        </p:grpSpPr>
        <p:sp>
          <p:nvSpPr>
            <p:cNvPr id="5" name="Straight Connector 4"/>
            <p:cNvSpPr/>
            <p:nvPr/>
          </p:nvSpPr>
          <p:spPr>
            <a:xfrm>
              <a:off x="17280" y="4994640"/>
              <a:ext cx="96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87120" y="476712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897839" y="476712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: Shape 5"/>
            <p:cNvSpPr/>
            <p:nvPr/>
          </p:nvSpPr>
          <p:spPr>
            <a:xfrm>
              <a:off x="88920" y="479268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15264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200160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24984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29808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3463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>
              <a:off x="39456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>
              <a:off x="443159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>
              <a:off x="829799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>
              <a:off x="781919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732599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684359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6361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58788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539280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491400" y="494604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-319680" y="499464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2"/>
            <p:cNvSpPr/>
            <p:nvPr/>
          </p:nvSpPr>
          <p:spPr>
            <a:xfrm>
              <a:off x="-319680" y="479268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1908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-28800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7848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-12672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1753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-22356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-271800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 flipH="1">
              <a:off x="810719" y="4994640"/>
              <a:ext cx="49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1"/>
            <p:cNvSpPr/>
            <p:nvPr/>
          </p:nvSpPr>
          <p:spPr>
            <a:xfrm>
              <a:off x="898199" y="479268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0" y="0"/>
                  </a:moveTo>
                  <a:cubicBezTo>
                    <a:pt x="276" y="261"/>
                    <a:pt x="680" y="426"/>
                    <a:pt x="1129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96624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1013759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106344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111168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116028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120852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1256759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314280" y="5066640"/>
              <a:ext cx="535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433440" y="510948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380160" y="5149800"/>
              <a:ext cx="106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40680" y="5195160"/>
              <a:ext cx="75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-7560" y="5195160"/>
              <a:ext cx="15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335520" y="5149800"/>
              <a:ext cx="15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5"/>
            <p:cNvSpPr/>
            <p:nvPr/>
          </p:nvSpPr>
          <p:spPr>
            <a:xfrm>
              <a:off x="188280" y="5110560"/>
              <a:ext cx="50760" cy="11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2" h="334">
                  <a:moveTo>
                    <a:pt x="142" y="0"/>
                  </a:moveTo>
                  <a:lnTo>
                    <a:pt x="142" y="334"/>
                  </a:lnTo>
                  <a:lnTo>
                    <a:pt x="0" y="22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189000" y="523440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7"/>
            <p:cNvSpPr/>
            <p:nvPr/>
          </p:nvSpPr>
          <p:spPr>
            <a:xfrm>
              <a:off x="1010520" y="5052240"/>
              <a:ext cx="33840" cy="80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5" h="225">
                  <a:moveTo>
                    <a:pt x="95" y="0"/>
                  </a:moveTo>
                  <a:lnTo>
                    <a:pt x="95" y="225"/>
                  </a:lnTo>
                  <a:lnTo>
                    <a:pt x="0" y="15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1010879" y="5135400"/>
              <a:ext cx="1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2263542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0" y="3760546"/>
            <a:ext cx="3238764" cy="928550"/>
            <a:chOff x="-198360" y="2843280"/>
            <a:chExt cx="7830359" cy="2244959"/>
          </a:xfrm>
        </p:grpSpPr>
        <p:sp>
          <p:nvSpPr>
            <p:cNvPr id="5" name="Straight Connector 4"/>
            <p:cNvSpPr/>
            <p:nvPr/>
          </p:nvSpPr>
          <p:spPr>
            <a:xfrm>
              <a:off x="284472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2928959" y="4534560"/>
              <a:ext cx="790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3"/>
            <p:cNvSpPr/>
            <p:nvPr/>
          </p:nvSpPr>
          <p:spPr>
            <a:xfrm>
              <a:off x="3028320" y="3767400"/>
              <a:ext cx="1139760" cy="729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67" h="2027" fill="none">
                  <a:moveTo>
                    <a:pt x="0" y="2027"/>
                  </a:moveTo>
                  <a:lnTo>
                    <a:pt x="1583" y="0"/>
                  </a:lnTo>
                  <a:lnTo>
                    <a:pt x="3167" y="2027"/>
                  </a:lnTo>
                  <a:lnTo>
                    <a:pt x="3167" y="167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: Shape 4"/>
            <p:cNvSpPr/>
            <p:nvPr/>
          </p:nvSpPr>
          <p:spPr>
            <a:xfrm>
              <a:off x="4240079" y="3094200"/>
              <a:ext cx="706680" cy="14882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64" h="4135" fill="none">
                  <a:moveTo>
                    <a:pt x="0" y="4135"/>
                  </a:moveTo>
                  <a:lnTo>
                    <a:pt x="0" y="0"/>
                  </a:lnTo>
                  <a:lnTo>
                    <a:pt x="1964" y="0"/>
                  </a:lnTo>
                  <a:lnTo>
                    <a:pt x="1964" y="31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Freeform: Shape 5"/>
            <p:cNvSpPr/>
            <p:nvPr/>
          </p:nvSpPr>
          <p:spPr>
            <a:xfrm>
              <a:off x="4657680" y="4280760"/>
              <a:ext cx="578520" cy="453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08" h="1261" fill="none">
                  <a:moveTo>
                    <a:pt x="0" y="1261"/>
                  </a:moveTo>
                  <a:lnTo>
                    <a:pt x="0" y="0"/>
                  </a:lnTo>
                  <a:lnTo>
                    <a:pt x="1608" y="0"/>
                  </a:lnTo>
                  <a:lnTo>
                    <a:pt x="1608" y="125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5026320" y="4186079"/>
              <a:ext cx="17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5081400" y="4079520"/>
              <a:ext cx="0" cy="58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4551120" y="2843280"/>
              <a:ext cx="8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4488120" y="2919600"/>
              <a:ext cx="21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Freeform: Shape 10"/>
            <p:cNvSpPr/>
            <p:nvPr/>
          </p:nvSpPr>
          <p:spPr>
            <a:xfrm>
              <a:off x="4440240" y="2980440"/>
              <a:ext cx="315720" cy="113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78" h="316" fill="none">
                  <a:moveTo>
                    <a:pt x="0" y="316"/>
                  </a:moveTo>
                  <a:lnTo>
                    <a:pt x="0" y="0"/>
                  </a:lnTo>
                  <a:lnTo>
                    <a:pt x="878" y="0"/>
                  </a:lnTo>
                  <a:lnTo>
                    <a:pt x="878" y="31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>
              <a:off x="4420800" y="4768200"/>
              <a:ext cx="411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V="1">
              <a:off x="5059080" y="4371120"/>
              <a:ext cx="0" cy="349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V="1">
              <a:off x="5356440" y="3223440"/>
              <a:ext cx="0" cy="109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V="1">
              <a:off x="5630040" y="3223440"/>
              <a:ext cx="0" cy="109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5369760" y="3173760"/>
              <a:ext cx="243360" cy="73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7" h="206" fill="none">
                  <a:moveTo>
                    <a:pt x="0" y="206"/>
                  </a:moveTo>
                  <a:lnTo>
                    <a:pt x="342" y="0"/>
                  </a:lnTo>
                  <a:lnTo>
                    <a:pt x="677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 flipV="1">
              <a:off x="5492880" y="2977559"/>
              <a:ext cx="0" cy="196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17"/>
            <p:cNvSpPr/>
            <p:nvPr/>
          </p:nvSpPr>
          <p:spPr>
            <a:xfrm>
              <a:off x="5431680" y="3298680"/>
              <a:ext cx="120600" cy="6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36" h="189">
                  <a:moveTo>
                    <a:pt x="168" y="189"/>
                  </a:moveTo>
                  <a:lnTo>
                    <a:pt x="0" y="189"/>
                  </a:lnTo>
                  <a:lnTo>
                    <a:pt x="0" y="0"/>
                  </a:lnTo>
                  <a:lnTo>
                    <a:pt x="336" y="0"/>
                  </a:lnTo>
                  <a:lnTo>
                    <a:pt x="336" y="18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5399280" y="3428639"/>
              <a:ext cx="181440" cy="34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5" h="96">
                  <a:moveTo>
                    <a:pt x="253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505" y="0"/>
                  </a:lnTo>
                  <a:lnTo>
                    <a:pt x="505" y="9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5392080" y="3511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0"/>
            <p:cNvSpPr/>
            <p:nvPr/>
          </p:nvSpPr>
          <p:spPr>
            <a:xfrm>
              <a:off x="5392080" y="35780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1"/>
            <p:cNvSpPr/>
            <p:nvPr/>
          </p:nvSpPr>
          <p:spPr>
            <a:xfrm>
              <a:off x="5392080" y="36428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2"/>
            <p:cNvSpPr/>
            <p:nvPr/>
          </p:nvSpPr>
          <p:spPr>
            <a:xfrm>
              <a:off x="5392080" y="370908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3"/>
            <p:cNvSpPr/>
            <p:nvPr/>
          </p:nvSpPr>
          <p:spPr>
            <a:xfrm>
              <a:off x="5392080" y="377352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4"/>
            <p:cNvSpPr/>
            <p:nvPr/>
          </p:nvSpPr>
          <p:spPr>
            <a:xfrm>
              <a:off x="5392080" y="383868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5"/>
            <p:cNvSpPr/>
            <p:nvPr/>
          </p:nvSpPr>
          <p:spPr>
            <a:xfrm>
              <a:off x="5392080" y="390456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6"/>
            <p:cNvSpPr/>
            <p:nvPr/>
          </p:nvSpPr>
          <p:spPr>
            <a:xfrm>
              <a:off x="5392080" y="3970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7"/>
            <p:cNvSpPr/>
            <p:nvPr/>
          </p:nvSpPr>
          <p:spPr>
            <a:xfrm>
              <a:off x="5392080" y="4035599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28"/>
            <p:cNvSpPr/>
            <p:nvPr/>
          </p:nvSpPr>
          <p:spPr>
            <a:xfrm>
              <a:off x="5392080" y="410076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9"/>
            <p:cNvSpPr/>
            <p:nvPr/>
          </p:nvSpPr>
          <p:spPr>
            <a:xfrm>
              <a:off x="5392080" y="41666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0"/>
            <p:cNvSpPr/>
            <p:nvPr/>
          </p:nvSpPr>
          <p:spPr>
            <a:xfrm>
              <a:off x="5392080" y="4231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1"/>
            <p:cNvSpPr/>
            <p:nvPr/>
          </p:nvSpPr>
          <p:spPr>
            <a:xfrm>
              <a:off x="5392080" y="42980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2"/>
            <p:cNvSpPr/>
            <p:nvPr/>
          </p:nvSpPr>
          <p:spPr>
            <a:xfrm>
              <a:off x="5664600" y="3675599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3"/>
            <p:cNvSpPr/>
            <p:nvPr/>
          </p:nvSpPr>
          <p:spPr>
            <a:xfrm>
              <a:off x="5664600" y="37202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4"/>
            <p:cNvSpPr/>
            <p:nvPr/>
          </p:nvSpPr>
          <p:spPr>
            <a:xfrm>
              <a:off x="5664600" y="376452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5"/>
            <p:cNvSpPr/>
            <p:nvPr/>
          </p:nvSpPr>
          <p:spPr>
            <a:xfrm>
              <a:off x="5664600" y="380916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6"/>
            <p:cNvSpPr/>
            <p:nvPr/>
          </p:nvSpPr>
          <p:spPr>
            <a:xfrm>
              <a:off x="5664600" y="385380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7"/>
            <p:cNvSpPr/>
            <p:nvPr/>
          </p:nvSpPr>
          <p:spPr>
            <a:xfrm>
              <a:off x="5664600" y="38984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8"/>
            <p:cNvSpPr/>
            <p:nvPr/>
          </p:nvSpPr>
          <p:spPr>
            <a:xfrm>
              <a:off x="5664600" y="39434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9"/>
            <p:cNvSpPr/>
            <p:nvPr/>
          </p:nvSpPr>
          <p:spPr>
            <a:xfrm>
              <a:off x="5664600" y="398700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0"/>
            <p:cNvSpPr/>
            <p:nvPr/>
          </p:nvSpPr>
          <p:spPr>
            <a:xfrm>
              <a:off x="5664600" y="40316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1"/>
            <p:cNvSpPr/>
            <p:nvPr/>
          </p:nvSpPr>
          <p:spPr>
            <a:xfrm>
              <a:off x="5664600" y="407628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2"/>
            <p:cNvSpPr/>
            <p:nvPr/>
          </p:nvSpPr>
          <p:spPr>
            <a:xfrm>
              <a:off x="5664600" y="4120919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3"/>
            <p:cNvSpPr/>
            <p:nvPr/>
          </p:nvSpPr>
          <p:spPr>
            <a:xfrm>
              <a:off x="5664600" y="41648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4"/>
            <p:cNvSpPr/>
            <p:nvPr/>
          </p:nvSpPr>
          <p:spPr>
            <a:xfrm>
              <a:off x="5664600" y="420948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5"/>
            <p:cNvSpPr/>
            <p:nvPr/>
          </p:nvSpPr>
          <p:spPr>
            <a:xfrm>
              <a:off x="5664600" y="425412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6"/>
            <p:cNvSpPr/>
            <p:nvPr/>
          </p:nvSpPr>
          <p:spPr>
            <a:xfrm>
              <a:off x="5664600" y="429876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6002640" y="3666239"/>
              <a:ext cx="0" cy="6433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Freeform: Shape 48"/>
            <p:cNvSpPr/>
            <p:nvPr/>
          </p:nvSpPr>
          <p:spPr>
            <a:xfrm>
              <a:off x="5437800" y="4345560"/>
              <a:ext cx="1357920" cy="221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73" h="615" fill="none">
                  <a:moveTo>
                    <a:pt x="0" y="0"/>
                  </a:moveTo>
                  <a:lnTo>
                    <a:pt x="2283" y="0"/>
                  </a:lnTo>
                  <a:lnTo>
                    <a:pt x="2283" y="375"/>
                  </a:lnTo>
                  <a:lnTo>
                    <a:pt x="3773" y="375"/>
                  </a:lnTo>
                  <a:lnTo>
                    <a:pt x="3773" y="61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49"/>
            <p:cNvSpPr/>
            <p:nvPr/>
          </p:nvSpPr>
          <p:spPr>
            <a:xfrm>
              <a:off x="6246720" y="4589279"/>
              <a:ext cx="889559" cy="109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72" h="305" fill="none">
                  <a:moveTo>
                    <a:pt x="0" y="0"/>
                  </a:moveTo>
                  <a:lnTo>
                    <a:pt x="1080" y="0"/>
                  </a:lnTo>
                  <a:lnTo>
                    <a:pt x="1080" y="305"/>
                  </a:lnTo>
                  <a:lnTo>
                    <a:pt x="2472" y="3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5277240" y="4023720"/>
              <a:ext cx="0" cy="30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5315040" y="4023720"/>
              <a:ext cx="0" cy="30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2"/>
            <p:cNvSpPr/>
            <p:nvPr/>
          </p:nvSpPr>
          <p:spPr>
            <a:xfrm>
              <a:off x="5331240" y="4456440"/>
              <a:ext cx="394920" cy="21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98" h="590" fill="none">
                  <a:moveTo>
                    <a:pt x="0" y="590"/>
                  </a:moveTo>
                  <a:lnTo>
                    <a:pt x="0" y="0"/>
                  </a:lnTo>
                  <a:lnTo>
                    <a:pt x="1098" y="0"/>
                  </a:lnTo>
                  <a:lnTo>
                    <a:pt x="1098" y="57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53"/>
            <p:cNvSpPr/>
            <p:nvPr/>
          </p:nvSpPr>
          <p:spPr>
            <a:xfrm>
              <a:off x="5392080" y="4512240"/>
              <a:ext cx="215280" cy="55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9" h="155">
                  <a:moveTo>
                    <a:pt x="299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599" y="0"/>
                  </a:lnTo>
                  <a:lnTo>
                    <a:pt x="599" y="1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Freeform: Shape 54"/>
            <p:cNvSpPr/>
            <p:nvPr/>
          </p:nvSpPr>
          <p:spPr>
            <a:xfrm>
              <a:off x="5902200" y="4384080"/>
              <a:ext cx="305280" cy="50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9" h="142">
                  <a:moveTo>
                    <a:pt x="425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849" y="0"/>
                  </a:lnTo>
                  <a:lnTo>
                    <a:pt x="849" y="14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55"/>
            <p:cNvSpPr/>
            <p:nvPr/>
          </p:nvSpPr>
          <p:spPr>
            <a:xfrm>
              <a:off x="6865200" y="4527360"/>
              <a:ext cx="65880" cy="11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4" h="314">
                  <a:moveTo>
                    <a:pt x="92" y="314"/>
                  </a:moveTo>
                  <a:lnTo>
                    <a:pt x="0" y="314"/>
                  </a:lnTo>
                  <a:lnTo>
                    <a:pt x="0" y="0"/>
                  </a:lnTo>
                  <a:lnTo>
                    <a:pt x="184" y="0"/>
                  </a:lnTo>
                  <a:lnTo>
                    <a:pt x="184" y="31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6136920" y="4148639"/>
              <a:ext cx="125640" cy="42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0" h="118">
                  <a:moveTo>
                    <a:pt x="175" y="118"/>
                  </a:moveTo>
                  <a:lnTo>
                    <a:pt x="0" y="118"/>
                  </a:lnTo>
                  <a:lnTo>
                    <a:pt x="0" y="0"/>
                  </a:lnTo>
                  <a:lnTo>
                    <a:pt x="350" y="0"/>
                  </a:lnTo>
                  <a:lnTo>
                    <a:pt x="350" y="11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57"/>
            <p:cNvSpPr/>
            <p:nvPr/>
          </p:nvSpPr>
          <p:spPr>
            <a:xfrm>
              <a:off x="4079520" y="4161600"/>
              <a:ext cx="88200" cy="128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6" h="359">
                  <a:moveTo>
                    <a:pt x="123" y="359"/>
                  </a:moveTo>
                  <a:lnTo>
                    <a:pt x="0" y="359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246" y="35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8"/>
            <p:cNvSpPr/>
            <p:nvPr/>
          </p:nvSpPr>
          <p:spPr>
            <a:xfrm>
              <a:off x="4020479" y="4585319"/>
              <a:ext cx="155160" cy="51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2" h="144">
                  <a:moveTo>
                    <a:pt x="216" y="144"/>
                  </a:moveTo>
                  <a:lnTo>
                    <a:pt x="0" y="144"/>
                  </a:lnTo>
                  <a:lnTo>
                    <a:pt x="0" y="0"/>
                  </a:lnTo>
                  <a:lnTo>
                    <a:pt x="432" y="0"/>
                  </a:lnTo>
                  <a:lnTo>
                    <a:pt x="432" y="1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5666399" y="3507839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5666399" y="356184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5666399" y="361656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5697000" y="3407400"/>
              <a:ext cx="0" cy="586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551280" y="4339440"/>
              <a:ext cx="0" cy="91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4"/>
            <p:cNvSpPr/>
            <p:nvPr/>
          </p:nvSpPr>
          <p:spPr>
            <a:xfrm>
              <a:off x="5911199" y="4707360"/>
              <a:ext cx="1720800" cy="87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81" h="245" fill="none">
                  <a:moveTo>
                    <a:pt x="0" y="197"/>
                  </a:moveTo>
                  <a:lnTo>
                    <a:pt x="418" y="0"/>
                  </a:lnTo>
                  <a:lnTo>
                    <a:pt x="1727" y="0"/>
                  </a:lnTo>
                  <a:lnTo>
                    <a:pt x="1727" y="245"/>
                  </a:lnTo>
                  <a:lnTo>
                    <a:pt x="4781" y="2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4386240" y="4970520"/>
              <a:ext cx="0" cy="117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6643799" y="4934879"/>
              <a:ext cx="0" cy="1159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7"/>
            <p:cNvSpPr/>
            <p:nvPr/>
          </p:nvSpPr>
          <p:spPr>
            <a:xfrm>
              <a:off x="2504160" y="4614480"/>
              <a:ext cx="4793400" cy="246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16" h="685">
                  <a:moveTo>
                    <a:pt x="13316" y="682"/>
                  </a:moveTo>
                  <a:lnTo>
                    <a:pt x="7098" y="682"/>
                  </a:lnTo>
                  <a:cubicBezTo>
                    <a:pt x="7098" y="682"/>
                    <a:pt x="0" y="744"/>
                    <a:pt x="0" y="287"/>
                  </a:cubicBezTo>
                  <a:cubicBezTo>
                    <a:pt x="0" y="-80"/>
                    <a:pt x="3646" y="10"/>
                    <a:pt x="3646" y="1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8"/>
            <p:cNvSpPr/>
            <p:nvPr/>
          </p:nvSpPr>
          <p:spPr>
            <a:xfrm>
              <a:off x="2880000" y="4668840"/>
              <a:ext cx="1057320" cy="68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38" h="191" fill="none">
                  <a:moveTo>
                    <a:pt x="0" y="191"/>
                  </a:moveTo>
                  <a:lnTo>
                    <a:pt x="551" y="0"/>
                  </a:lnTo>
                  <a:lnTo>
                    <a:pt x="2938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3255839" y="4927680"/>
              <a:ext cx="7135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3526200" y="5027400"/>
              <a:ext cx="227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4557960" y="4924800"/>
              <a:ext cx="1950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5666399" y="4712400"/>
              <a:ext cx="110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6552360" y="4385160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43052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4368239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44312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449496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455796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46220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487512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481212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474804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468504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1041119" y="4668840"/>
              <a:ext cx="4197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1226160" y="4737600"/>
              <a:ext cx="0" cy="88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1535039" y="4523400"/>
              <a:ext cx="11826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1798200" y="4617720"/>
              <a:ext cx="64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2001240" y="4707360"/>
              <a:ext cx="23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-198360" y="4547880"/>
              <a:ext cx="23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284544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-8028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92"/>
            <p:cNvSpPr/>
            <p:nvPr/>
          </p:nvSpPr>
          <p:spPr>
            <a:xfrm>
              <a:off x="214200" y="4413600"/>
              <a:ext cx="14184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5" h="934">
                  <a:moveTo>
                    <a:pt x="395" y="0"/>
                  </a:moveTo>
                  <a:lnTo>
                    <a:pt x="395" y="934"/>
                  </a:lnTo>
                  <a:lnTo>
                    <a:pt x="0" y="62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216360" y="4759200"/>
              <a:ext cx="80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94"/>
            <p:cNvSpPr/>
            <p:nvPr/>
          </p:nvSpPr>
          <p:spPr>
            <a:xfrm>
              <a:off x="532080" y="4448160"/>
              <a:ext cx="198000" cy="465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 h="1295">
                  <a:moveTo>
                    <a:pt x="551" y="0"/>
                  </a:moveTo>
                  <a:lnTo>
                    <a:pt x="551" y="1295"/>
                  </a:lnTo>
                  <a:lnTo>
                    <a:pt x="0" y="86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535320" y="4927680"/>
              <a:ext cx="11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1072800" y="4252320"/>
              <a:ext cx="213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226160" y="3749760"/>
              <a:ext cx="0" cy="690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3015360" y="3749760"/>
              <a:ext cx="0" cy="690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9"/>
            <p:cNvSpPr/>
            <p:nvPr/>
          </p:nvSpPr>
          <p:spPr>
            <a:xfrm>
              <a:off x="1230120" y="3805200"/>
              <a:ext cx="1784880" cy="33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59" h="940">
                  <a:moveTo>
                    <a:pt x="4959" y="0"/>
                  </a:moveTo>
                  <a:cubicBezTo>
                    <a:pt x="4349" y="576"/>
                    <a:pt x="3457" y="940"/>
                    <a:pt x="2467" y="940"/>
                  </a:cubicBezTo>
                  <a:cubicBezTo>
                    <a:pt x="1490" y="940"/>
                    <a:pt x="610" y="587"/>
                    <a:pt x="0" y="2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052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1475999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Straight Connector 105"/>
            <p:cNvSpPr/>
            <p:nvPr/>
          </p:nvSpPr>
          <p:spPr>
            <a:xfrm>
              <a:off x="1584720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Straight Connector 106"/>
            <p:cNvSpPr/>
            <p:nvPr/>
          </p:nvSpPr>
          <p:spPr>
            <a:xfrm>
              <a:off x="1691279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179820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190476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Straight Connector 109"/>
            <p:cNvSpPr/>
            <p:nvPr/>
          </p:nvSpPr>
          <p:spPr>
            <a:xfrm>
              <a:off x="201132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286488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2760119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2650680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>
              <a:off x="2543760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243720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233064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>
              <a:off x="222480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>
              <a:off x="2118240" y="4144320"/>
              <a:ext cx="0" cy="10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327960" y="4252320"/>
              <a:ext cx="1090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16"/>
            <p:cNvSpPr/>
            <p:nvPr/>
          </p:nvSpPr>
          <p:spPr>
            <a:xfrm>
              <a:off x="329040" y="3805200"/>
              <a:ext cx="896759" cy="33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2" h="940">
                  <a:moveTo>
                    <a:pt x="2492" y="0"/>
                  </a:moveTo>
                  <a:cubicBezTo>
                    <a:pt x="1882" y="576"/>
                    <a:pt x="991" y="940"/>
                    <a:pt x="0" y="94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>
              <a:off x="107568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970200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861479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754920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64692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54144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43488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2861640" y="4252320"/>
              <a:ext cx="358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Freeform: Shape 125"/>
            <p:cNvSpPr/>
            <p:nvPr/>
          </p:nvSpPr>
          <p:spPr>
            <a:xfrm>
              <a:off x="3020400" y="3815279"/>
              <a:ext cx="362160" cy="22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07" h="635">
                  <a:moveTo>
                    <a:pt x="1007" y="635"/>
                  </a:moveTo>
                  <a:cubicBezTo>
                    <a:pt x="623" y="477"/>
                    <a:pt x="282" y="263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315936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3265200" y="3988080"/>
              <a:ext cx="0" cy="20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3375000" y="4043879"/>
              <a:ext cx="0" cy="11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7562213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825" y="3560710"/>
            <a:ext cx="3237516" cy="1136045"/>
            <a:chOff x="1212480" y="3200760"/>
            <a:chExt cx="7896600" cy="2770919"/>
          </a:xfrm>
        </p:grpSpPr>
        <p:sp>
          <p:nvSpPr>
            <p:cNvPr id="5" name="Straight Connector 4"/>
            <p:cNvSpPr/>
            <p:nvPr/>
          </p:nvSpPr>
          <p:spPr>
            <a:xfrm>
              <a:off x="3532680" y="5910840"/>
              <a:ext cx="240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1212480" y="5922000"/>
              <a:ext cx="19472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3753360" y="5971679"/>
              <a:ext cx="15195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6198120" y="5910840"/>
              <a:ext cx="2910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5351040" y="5727960"/>
              <a:ext cx="678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5617080" y="5790959"/>
              <a:ext cx="66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6815880" y="5719680"/>
              <a:ext cx="631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7980120" y="5757480"/>
              <a:ext cx="400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7354439" y="5787720"/>
              <a:ext cx="1951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>
              <a:off x="1809719" y="5517720"/>
              <a:ext cx="0" cy="194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>
              <a:off x="1755000" y="5797080"/>
              <a:ext cx="99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>
              <a:off x="1812600" y="560808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>
              <a:off x="2215080" y="5388480"/>
              <a:ext cx="358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4241880" y="5762520"/>
              <a:ext cx="76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2061719" y="5416920"/>
              <a:ext cx="9612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8" h="587">
                  <a:moveTo>
                    <a:pt x="134" y="587"/>
                  </a:moveTo>
                  <a:lnTo>
                    <a:pt x="0" y="587"/>
                  </a:lnTo>
                  <a:lnTo>
                    <a:pt x="0" y="0"/>
                  </a:lnTo>
                  <a:lnTo>
                    <a:pt x="268" y="0"/>
                  </a:lnTo>
                  <a:lnTo>
                    <a:pt x="268" y="58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16"/>
            <p:cNvSpPr/>
            <p:nvPr/>
          </p:nvSpPr>
          <p:spPr>
            <a:xfrm>
              <a:off x="1918440" y="5716800"/>
              <a:ext cx="614160" cy="5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07" h="149">
                  <a:moveTo>
                    <a:pt x="854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707" y="0"/>
                  </a:lnTo>
                  <a:lnTo>
                    <a:pt x="1707" y="14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17"/>
            <p:cNvSpPr/>
            <p:nvPr/>
          </p:nvSpPr>
          <p:spPr>
            <a:xfrm>
              <a:off x="1366920" y="5726880"/>
              <a:ext cx="165240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60" h="138">
                  <a:moveTo>
                    <a:pt x="230" y="138"/>
                  </a:moveTo>
                  <a:lnTo>
                    <a:pt x="0" y="138"/>
                  </a:lnTo>
                  <a:lnTo>
                    <a:pt x="0" y="0"/>
                  </a:lnTo>
                  <a:lnTo>
                    <a:pt x="460" y="0"/>
                  </a:lnTo>
                  <a:lnTo>
                    <a:pt x="460" y="13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2313720" y="5442479"/>
              <a:ext cx="463680" cy="214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89" h="598">
                  <a:moveTo>
                    <a:pt x="645" y="598"/>
                  </a:moveTo>
                  <a:lnTo>
                    <a:pt x="0" y="598"/>
                  </a:lnTo>
                  <a:lnTo>
                    <a:pt x="0" y="0"/>
                  </a:lnTo>
                  <a:lnTo>
                    <a:pt x="1289" y="0"/>
                  </a:lnTo>
                  <a:lnTo>
                    <a:pt x="1289" y="59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3362040" y="5723640"/>
              <a:ext cx="297360" cy="46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27" h="130">
                  <a:moveTo>
                    <a:pt x="414" y="130"/>
                  </a:moveTo>
                  <a:lnTo>
                    <a:pt x="0" y="130"/>
                  </a:lnTo>
                  <a:lnTo>
                    <a:pt x="0" y="0"/>
                  </a:lnTo>
                  <a:lnTo>
                    <a:pt x="827" y="0"/>
                  </a:lnTo>
                  <a:lnTo>
                    <a:pt x="827" y="1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0"/>
            <p:cNvSpPr/>
            <p:nvPr/>
          </p:nvSpPr>
          <p:spPr>
            <a:xfrm>
              <a:off x="8432280" y="5723640"/>
              <a:ext cx="155160" cy="46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2" h="130">
                  <a:moveTo>
                    <a:pt x="216" y="130"/>
                  </a:moveTo>
                  <a:lnTo>
                    <a:pt x="0" y="130"/>
                  </a:lnTo>
                  <a:lnTo>
                    <a:pt x="0" y="0"/>
                  </a:lnTo>
                  <a:lnTo>
                    <a:pt x="432" y="0"/>
                  </a:lnTo>
                  <a:lnTo>
                    <a:pt x="432" y="1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1"/>
            <p:cNvSpPr/>
            <p:nvPr/>
          </p:nvSpPr>
          <p:spPr>
            <a:xfrm>
              <a:off x="3841560" y="5729760"/>
              <a:ext cx="254520" cy="4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8" h="122">
                  <a:moveTo>
                    <a:pt x="354" y="122"/>
                  </a:moveTo>
                  <a:lnTo>
                    <a:pt x="0" y="122"/>
                  </a:lnTo>
                  <a:lnTo>
                    <a:pt x="0" y="0"/>
                  </a:lnTo>
                  <a:lnTo>
                    <a:pt x="708" y="0"/>
                  </a:lnTo>
                  <a:lnTo>
                    <a:pt x="708" y="12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2"/>
            <p:cNvSpPr/>
            <p:nvPr/>
          </p:nvSpPr>
          <p:spPr>
            <a:xfrm>
              <a:off x="3330720" y="5562360"/>
              <a:ext cx="250560" cy="7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97" h="203">
                  <a:moveTo>
                    <a:pt x="348" y="203"/>
                  </a:moveTo>
                  <a:lnTo>
                    <a:pt x="0" y="203"/>
                  </a:lnTo>
                  <a:lnTo>
                    <a:pt x="0" y="0"/>
                  </a:lnTo>
                  <a:lnTo>
                    <a:pt x="697" y="0"/>
                  </a:lnTo>
                  <a:lnTo>
                    <a:pt x="697" y="20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3"/>
            <p:cNvSpPr/>
            <p:nvPr/>
          </p:nvSpPr>
          <p:spPr>
            <a:xfrm>
              <a:off x="3119400" y="5388480"/>
              <a:ext cx="129600" cy="155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1" h="432">
                  <a:moveTo>
                    <a:pt x="180" y="432"/>
                  </a:moveTo>
                  <a:lnTo>
                    <a:pt x="0" y="432"/>
                  </a:lnTo>
                  <a:lnTo>
                    <a:pt x="0" y="0"/>
                  </a:lnTo>
                  <a:lnTo>
                    <a:pt x="361" y="0"/>
                  </a:lnTo>
                  <a:lnTo>
                    <a:pt x="361" y="4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4"/>
            <p:cNvSpPr/>
            <p:nvPr/>
          </p:nvSpPr>
          <p:spPr>
            <a:xfrm>
              <a:off x="3365279" y="5393520"/>
              <a:ext cx="316440" cy="58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164">
                  <a:moveTo>
                    <a:pt x="440" y="1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80" y="0"/>
                  </a:lnTo>
                  <a:lnTo>
                    <a:pt x="880" y="1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5"/>
            <p:cNvSpPr/>
            <p:nvPr/>
          </p:nvSpPr>
          <p:spPr>
            <a:xfrm>
              <a:off x="2721960" y="5263559"/>
              <a:ext cx="127800" cy="102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6" h="285">
                  <a:moveTo>
                    <a:pt x="178" y="285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356" y="0"/>
                  </a:lnTo>
                  <a:lnTo>
                    <a:pt x="356" y="2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6"/>
            <p:cNvSpPr/>
            <p:nvPr/>
          </p:nvSpPr>
          <p:spPr>
            <a:xfrm>
              <a:off x="4483800" y="5663880"/>
              <a:ext cx="829439" cy="8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05" h="243">
                  <a:moveTo>
                    <a:pt x="1152" y="243"/>
                  </a:moveTo>
                  <a:lnTo>
                    <a:pt x="0" y="243"/>
                  </a:lnTo>
                  <a:lnTo>
                    <a:pt x="0" y="0"/>
                  </a:lnTo>
                  <a:lnTo>
                    <a:pt x="2305" y="0"/>
                  </a:lnTo>
                  <a:lnTo>
                    <a:pt x="2305" y="24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7"/>
            <p:cNvSpPr/>
            <p:nvPr/>
          </p:nvSpPr>
          <p:spPr>
            <a:xfrm>
              <a:off x="4962240" y="5464800"/>
              <a:ext cx="53280" cy="69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9" h="195">
                  <a:moveTo>
                    <a:pt x="75" y="195"/>
                  </a:moveTo>
                  <a:lnTo>
                    <a:pt x="0" y="195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19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28"/>
            <p:cNvSpPr/>
            <p:nvPr/>
          </p:nvSpPr>
          <p:spPr>
            <a:xfrm>
              <a:off x="5807160" y="5091839"/>
              <a:ext cx="69840" cy="25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714">
                  <a:moveTo>
                    <a:pt x="97" y="714"/>
                  </a:moveTo>
                  <a:lnTo>
                    <a:pt x="0" y="714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71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9"/>
            <p:cNvSpPr/>
            <p:nvPr/>
          </p:nvSpPr>
          <p:spPr>
            <a:xfrm>
              <a:off x="8070480" y="5463720"/>
              <a:ext cx="63720" cy="121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8" h="339">
                  <a:moveTo>
                    <a:pt x="89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3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0"/>
            <p:cNvSpPr/>
            <p:nvPr/>
          </p:nvSpPr>
          <p:spPr>
            <a:xfrm>
              <a:off x="8869320" y="5693400"/>
              <a:ext cx="52200" cy="121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6" h="338">
                  <a:moveTo>
                    <a:pt x="73" y="338"/>
                  </a:moveTo>
                  <a:lnTo>
                    <a:pt x="0" y="338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33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3643559" y="398988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3643559" y="40579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3643559" y="41252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3643559" y="41922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3643559" y="42591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3643559" y="43261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3643559" y="43941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3643559" y="446148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3643559" y="45284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3643559" y="45950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3643559" y="46620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3643559" y="47304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3643559" y="47973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3643559" y="48643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3643559" y="4931279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3643559" y="49993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3643559" y="50666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3643559" y="51336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3643559" y="52005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3643559" y="52675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51"/>
            <p:cNvSpPr/>
            <p:nvPr/>
          </p:nvSpPr>
          <p:spPr>
            <a:xfrm>
              <a:off x="1987560" y="3769560"/>
              <a:ext cx="2429640" cy="1904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50" h="5291" fill="none">
                  <a:moveTo>
                    <a:pt x="2760" y="5291"/>
                  </a:moveTo>
                  <a:lnTo>
                    <a:pt x="6750" y="5291"/>
                  </a:lnTo>
                  <a:lnTo>
                    <a:pt x="6457" y="4848"/>
                  </a:lnTo>
                  <a:lnTo>
                    <a:pt x="5404" y="4848"/>
                  </a:lnTo>
                  <a:lnTo>
                    <a:pt x="5404" y="4388"/>
                  </a:lnTo>
                  <a:lnTo>
                    <a:pt x="4382" y="4388"/>
                  </a:lnTo>
                  <a:lnTo>
                    <a:pt x="4382" y="3536"/>
                  </a:lnTo>
                  <a:lnTo>
                    <a:pt x="3821" y="3536"/>
                  </a:lnTo>
                  <a:lnTo>
                    <a:pt x="3821" y="1721"/>
                  </a:lnTo>
                  <a:lnTo>
                    <a:pt x="3211" y="1721"/>
                  </a:lnTo>
                  <a:lnTo>
                    <a:pt x="3211" y="3804"/>
                  </a:lnTo>
                  <a:lnTo>
                    <a:pt x="2763" y="3804"/>
                  </a:lnTo>
                  <a:lnTo>
                    <a:pt x="2763" y="2224"/>
                  </a:lnTo>
                  <a:lnTo>
                    <a:pt x="2602" y="2088"/>
                  </a:lnTo>
                  <a:lnTo>
                    <a:pt x="2602" y="553"/>
                  </a:lnTo>
                  <a:lnTo>
                    <a:pt x="2503" y="135"/>
                  </a:lnTo>
                  <a:lnTo>
                    <a:pt x="2503" y="429"/>
                  </a:lnTo>
                  <a:lnTo>
                    <a:pt x="2274" y="0"/>
                  </a:lnTo>
                  <a:lnTo>
                    <a:pt x="2057" y="420"/>
                  </a:lnTo>
                  <a:lnTo>
                    <a:pt x="2057" y="144"/>
                  </a:lnTo>
                  <a:lnTo>
                    <a:pt x="1975" y="559"/>
                  </a:lnTo>
                  <a:lnTo>
                    <a:pt x="1975" y="2097"/>
                  </a:lnTo>
                  <a:lnTo>
                    <a:pt x="1803" y="2226"/>
                  </a:lnTo>
                  <a:lnTo>
                    <a:pt x="1803" y="3841"/>
                  </a:lnTo>
                  <a:lnTo>
                    <a:pt x="1453" y="3841"/>
                  </a:lnTo>
                  <a:lnTo>
                    <a:pt x="1453" y="3302"/>
                  </a:lnTo>
                  <a:lnTo>
                    <a:pt x="1287" y="3302"/>
                  </a:lnTo>
                  <a:lnTo>
                    <a:pt x="1287" y="4106"/>
                  </a:lnTo>
                  <a:lnTo>
                    <a:pt x="911" y="4106"/>
                  </a:lnTo>
                  <a:lnTo>
                    <a:pt x="911" y="4267"/>
                  </a:lnTo>
                  <a:lnTo>
                    <a:pt x="0" y="4267"/>
                  </a:lnTo>
                  <a:lnTo>
                    <a:pt x="0" y="460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2"/>
            <p:cNvSpPr/>
            <p:nvPr/>
          </p:nvSpPr>
          <p:spPr>
            <a:xfrm>
              <a:off x="3269520" y="4442040"/>
              <a:ext cx="42480" cy="76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9" h="2122">
                  <a:moveTo>
                    <a:pt x="60" y="2122"/>
                  </a:moveTo>
                  <a:lnTo>
                    <a:pt x="0" y="2122"/>
                  </a:lnTo>
                  <a:lnTo>
                    <a:pt x="0" y="0"/>
                  </a:lnTo>
                  <a:lnTo>
                    <a:pt x="119" y="0"/>
                  </a:lnTo>
                  <a:lnTo>
                    <a:pt x="119" y="212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2861280" y="3974759"/>
              <a:ext cx="0" cy="655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2916000" y="4584960"/>
              <a:ext cx="0" cy="516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 flipV="1">
              <a:off x="2806200" y="3648600"/>
              <a:ext cx="0" cy="124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6"/>
            <p:cNvSpPr/>
            <p:nvPr/>
          </p:nvSpPr>
          <p:spPr>
            <a:xfrm>
              <a:off x="3548160" y="3751200"/>
              <a:ext cx="605880" cy="1549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4" h="4304" fill="none">
                  <a:moveTo>
                    <a:pt x="0" y="3429"/>
                  </a:moveTo>
                  <a:lnTo>
                    <a:pt x="0" y="474"/>
                  </a:lnTo>
                  <a:lnTo>
                    <a:pt x="1382" y="474"/>
                  </a:lnTo>
                  <a:lnTo>
                    <a:pt x="1267" y="319"/>
                  </a:lnTo>
                  <a:lnTo>
                    <a:pt x="98" y="319"/>
                  </a:lnTo>
                  <a:lnTo>
                    <a:pt x="352" y="0"/>
                  </a:lnTo>
                  <a:lnTo>
                    <a:pt x="1394" y="0"/>
                  </a:lnTo>
                  <a:lnTo>
                    <a:pt x="1684" y="483"/>
                  </a:lnTo>
                  <a:lnTo>
                    <a:pt x="1684" y="43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4088520" y="4026600"/>
              <a:ext cx="0" cy="635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8"/>
            <p:cNvSpPr/>
            <p:nvPr/>
          </p:nvSpPr>
          <p:spPr>
            <a:xfrm>
              <a:off x="4100760" y="4614480"/>
              <a:ext cx="23004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1916" fill="none">
                  <a:moveTo>
                    <a:pt x="0" y="1916"/>
                  </a:moveTo>
                  <a:lnTo>
                    <a:pt x="640" y="1916"/>
                  </a:lnTo>
                  <a:lnTo>
                    <a:pt x="64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4209480" y="4755600"/>
              <a:ext cx="0" cy="5475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4908239" y="4755600"/>
              <a:ext cx="0" cy="574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1"/>
            <p:cNvSpPr/>
            <p:nvPr/>
          </p:nvSpPr>
          <p:spPr>
            <a:xfrm>
              <a:off x="4281480" y="4410720"/>
              <a:ext cx="151920" cy="1206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3" h="3352" fill="none">
                  <a:moveTo>
                    <a:pt x="423" y="0"/>
                  </a:moveTo>
                  <a:lnTo>
                    <a:pt x="0" y="505"/>
                  </a:lnTo>
                  <a:lnTo>
                    <a:pt x="0" y="680"/>
                  </a:lnTo>
                  <a:lnTo>
                    <a:pt x="418" y="248"/>
                  </a:lnTo>
                  <a:lnTo>
                    <a:pt x="418" y="335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2"/>
            <p:cNvSpPr/>
            <p:nvPr/>
          </p:nvSpPr>
          <p:spPr>
            <a:xfrm>
              <a:off x="4480560" y="4410720"/>
              <a:ext cx="153000" cy="1206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6" h="3352" fill="none">
                  <a:moveTo>
                    <a:pt x="0" y="0"/>
                  </a:moveTo>
                  <a:lnTo>
                    <a:pt x="426" y="505"/>
                  </a:lnTo>
                  <a:lnTo>
                    <a:pt x="426" y="680"/>
                  </a:lnTo>
                  <a:lnTo>
                    <a:pt x="9" y="248"/>
                  </a:lnTo>
                  <a:lnTo>
                    <a:pt x="9" y="335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4585319" y="4604400"/>
              <a:ext cx="0" cy="68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509544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514296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518940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5237279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8"/>
            <p:cNvSpPr/>
            <p:nvPr/>
          </p:nvSpPr>
          <p:spPr>
            <a:xfrm>
              <a:off x="4965120" y="4209480"/>
              <a:ext cx="554400" cy="112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41" h="3132" fill="none">
                  <a:moveTo>
                    <a:pt x="0" y="3132"/>
                  </a:moveTo>
                  <a:lnTo>
                    <a:pt x="0" y="0"/>
                  </a:lnTo>
                  <a:lnTo>
                    <a:pt x="1098" y="0"/>
                  </a:lnTo>
                  <a:lnTo>
                    <a:pt x="1098" y="1908"/>
                  </a:lnTo>
                  <a:lnTo>
                    <a:pt x="1541" y="190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Freeform: Shape 69"/>
            <p:cNvSpPr/>
            <p:nvPr/>
          </p:nvSpPr>
          <p:spPr>
            <a:xfrm>
              <a:off x="5239080" y="5090759"/>
              <a:ext cx="630720" cy="485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53" h="1349" fill="none">
                  <a:moveTo>
                    <a:pt x="0" y="514"/>
                  </a:moveTo>
                  <a:lnTo>
                    <a:pt x="0" y="0"/>
                  </a:lnTo>
                  <a:lnTo>
                    <a:pt x="1059" y="0"/>
                  </a:lnTo>
                  <a:lnTo>
                    <a:pt x="1059" y="1349"/>
                  </a:lnTo>
                  <a:lnTo>
                    <a:pt x="1753" y="88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5522760" y="4630680"/>
              <a:ext cx="0" cy="452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71"/>
            <p:cNvSpPr/>
            <p:nvPr/>
          </p:nvSpPr>
          <p:spPr>
            <a:xfrm>
              <a:off x="5569200" y="4282560"/>
              <a:ext cx="82080" cy="80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2224" fill="none">
                  <a:moveTo>
                    <a:pt x="0" y="2224"/>
                  </a:moveTo>
                  <a:lnTo>
                    <a:pt x="0" y="0"/>
                  </a:lnTo>
                  <a:lnTo>
                    <a:pt x="229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72"/>
            <p:cNvSpPr/>
            <p:nvPr/>
          </p:nvSpPr>
          <p:spPr>
            <a:xfrm>
              <a:off x="5025240" y="3963600"/>
              <a:ext cx="275040" cy="200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65" h="559">
                  <a:moveTo>
                    <a:pt x="382" y="559"/>
                  </a:moveTo>
                  <a:lnTo>
                    <a:pt x="0" y="559"/>
                  </a:lnTo>
                  <a:lnTo>
                    <a:pt x="0" y="0"/>
                  </a:lnTo>
                  <a:lnTo>
                    <a:pt x="765" y="0"/>
                  </a:lnTo>
                  <a:lnTo>
                    <a:pt x="765" y="55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5039280" y="3888360"/>
              <a:ext cx="2602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4"/>
            <p:cNvSpPr/>
            <p:nvPr/>
          </p:nvSpPr>
          <p:spPr>
            <a:xfrm>
              <a:off x="5062680" y="3632400"/>
              <a:ext cx="84960" cy="327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7" h="911">
                  <a:moveTo>
                    <a:pt x="0" y="911"/>
                  </a:moveTo>
                  <a:lnTo>
                    <a:pt x="0" y="717"/>
                  </a:lnTo>
                  <a:cubicBezTo>
                    <a:pt x="0" y="717"/>
                    <a:pt x="237" y="584"/>
                    <a:pt x="237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75"/>
            <p:cNvSpPr/>
            <p:nvPr/>
          </p:nvSpPr>
          <p:spPr>
            <a:xfrm>
              <a:off x="5193360" y="3629160"/>
              <a:ext cx="79920" cy="330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3" h="920">
                  <a:moveTo>
                    <a:pt x="3" y="0"/>
                  </a:moveTo>
                  <a:cubicBezTo>
                    <a:pt x="3" y="0"/>
                    <a:pt x="-45" y="455"/>
                    <a:pt x="223" y="726"/>
                  </a:cubicBezTo>
                  <a:lnTo>
                    <a:pt x="223" y="92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5123880" y="3624120"/>
              <a:ext cx="92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5137920" y="358560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 flipV="1">
              <a:off x="5169240" y="3200760"/>
              <a:ext cx="0" cy="380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5142960" y="337644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Freeform: Shape 80"/>
            <p:cNvSpPr/>
            <p:nvPr/>
          </p:nvSpPr>
          <p:spPr>
            <a:xfrm>
              <a:off x="4542479" y="5340960"/>
              <a:ext cx="720000" cy="242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01" h="674">
                  <a:moveTo>
                    <a:pt x="1001" y="674"/>
                  </a:moveTo>
                  <a:lnTo>
                    <a:pt x="0" y="674"/>
                  </a:lnTo>
                  <a:lnTo>
                    <a:pt x="0" y="0"/>
                  </a:lnTo>
                  <a:lnTo>
                    <a:pt x="2001" y="0"/>
                  </a:lnTo>
                  <a:lnTo>
                    <a:pt x="2001" y="6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Freeform: Shape 81"/>
            <p:cNvSpPr/>
            <p:nvPr/>
          </p:nvSpPr>
          <p:spPr>
            <a:xfrm>
              <a:off x="5844600" y="4279680"/>
              <a:ext cx="252720" cy="1171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3" h="3256" fill="none">
                  <a:moveTo>
                    <a:pt x="0" y="0"/>
                  </a:moveTo>
                  <a:lnTo>
                    <a:pt x="223" y="0"/>
                  </a:lnTo>
                  <a:lnTo>
                    <a:pt x="223" y="3256"/>
                  </a:lnTo>
                  <a:lnTo>
                    <a:pt x="703" y="3256"/>
                  </a:lnTo>
                  <a:lnTo>
                    <a:pt x="703" y="1100"/>
                  </a:lnTo>
                  <a:lnTo>
                    <a:pt x="234" y="110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Freeform: Shape 82"/>
            <p:cNvSpPr/>
            <p:nvPr/>
          </p:nvSpPr>
          <p:spPr>
            <a:xfrm>
              <a:off x="5649480" y="4415760"/>
              <a:ext cx="192960" cy="636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7" h="1769" fill="none">
                  <a:moveTo>
                    <a:pt x="0" y="1763"/>
                  </a:moveTo>
                  <a:lnTo>
                    <a:pt x="0" y="0"/>
                  </a:lnTo>
                  <a:lnTo>
                    <a:pt x="537" y="0"/>
                  </a:lnTo>
                  <a:lnTo>
                    <a:pt x="537" y="17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83"/>
            <p:cNvSpPr/>
            <p:nvPr/>
          </p:nvSpPr>
          <p:spPr>
            <a:xfrm>
              <a:off x="5714640" y="3956400"/>
              <a:ext cx="65520" cy="4517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3" h="1256">
                  <a:moveTo>
                    <a:pt x="0" y="1250"/>
                  </a:moveTo>
                  <a:lnTo>
                    <a:pt x="0" y="88"/>
                  </a:lnTo>
                  <a:cubicBezTo>
                    <a:pt x="0" y="88"/>
                    <a:pt x="-6" y="0"/>
                    <a:pt x="90" y="0"/>
                  </a:cubicBezTo>
                  <a:cubicBezTo>
                    <a:pt x="192" y="0"/>
                    <a:pt x="183" y="88"/>
                    <a:pt x="183" y="88"/>
                  </a:cubicBezTo>
                  <a:lnTo>
                    <a:pt x="183" y="125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84"/>
            <p:cNvSpPr/>
            <p:nvPr/>
          </p:nvSpPr>
          <p:spPr>
            <a:xfrm>
              <a:off x="5657760" y="3903480"/>
              <a:ext cx="178920" cy="462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8" h="1287">
                  <a:moveTo>
                    <a:pt x="1" y="1287"/>
                  </a:moveTo>
                  <a:lnTo>
                    <a:pt x="1" y="218"/>
                  </a:lnTo>
                  <a:cubicBezTo>
                    <a:pt x="1" y="218"/>
                    <a:pt x="-25" y="0"/>
                    <a:pt x="249" y="0"/>
                  </a:cubicBezTo>
                  <a:cubicBezTo>
                    <a:pt x="522" y="0"/>
                    <a:pt x="498" y="221"/>
                    <a:pt x="498" y="221"/>
                  </a:cubicBezTo>
                  <a:lnTo>
                    <a:pt x="498" y="12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85"/>
            <p:cNvSpPr/>
            <p:nvPr/>
          </p:nvSpPr>
          <p:spPr>
            <a:xfrm>
              <a:off x="5616000" y="3839760"/>
              <a:ext cx="261000" cy="439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6" h="1222">
                  <a:moveTo>
                    <a:pt x="0" y="1222"/>
                  </a:moveTo>
                  <a:lnTo>
                    <a:pt x="0" y="200"/>
                  </a:lnTo>
                  <a:lnTo>
                    <a:pt x="141" y="200"/>
                  </a:lnTo>
                  <a:cubicBezTo>
                    <a:pt x="141" y="200"/>
                    <a:pt x="178" y="0"/>
                    <a:pt x="361" y="0"/>
                  </a:cubicBezTo>
                  <a:cubicBezTo>
                    <a:pt x="542" y="0"/>
                    <a:pt x="579" y="197"/>
                    <a:pt x="579" y="197"/>
                  </a:cubicBezTo>
                  <a:lnTo>
                    <a:pt x="726" y="197"/>
                  </a:lnTo>
                  <a:lnTo>
                    <a:pt x="726" y="12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86"/>
            <p:cNvSpPr/>
            <p:nvPr/>
          </p:nvSpPr>
          <p:spPr>
            <a:xfrm>
              <a:off x="5650560" y="3751200"/>
              <a:ext cx="78840" cy="155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0" h="432">
                  <a:moveTo>
                    <a:pt x="0" y="432"/>
                  </a:moveTo>
                  <a:cubicBezTo>
                    <a:pt x="0" y="432"/>
                    <a:pt x="-5" y="79"/>
                    <a:pt x="22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Freeform: Shape 87"/>
            <p:cNvSpPr/>
            <p:nvPr/>
          </p:nvSpPr>
          <p:spPr>
            <a:xfrm>
              <a:off x="5766480" y="3752280"/>
              <a:ext cx="77760" cy="156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437">
                  <a:moveTo>
                    <a:pt x="0" y="0"/>
                  </a:moveTo>
                  <a:cubicBezTo>
                    <a:pt x="0" y="0"/>
                    <a:pt x="217" y="39"/>
                    <a:pt x="217" y="43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Freeform: Shape 88"/>
            <p:cNvSpPr/>
            <p:nvPr/>
          </p:nvSpPr>
          <p:spPr>
            <a:xfrm>
              <a:off x="5689080" y="3663000"/>
              <a:ext cx="11664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25" h="321">
                  <a:moveTo>
                    <a:pt x="0" y="302"/>
                  </a:moveTo>
                  <a:cubicBezTo>
                    <a:pt x="0" y="302"/>
                    <a:pt x="3" y="90"/>
                    <a:pt x="167" y="0"/>
                  </a:cubicBezTo>
                  <a:cubicBezTo>
                    <a:pt x="167" y="0"/>
                    <a:pt x="322" y="64"/>
                    <a:pt x="325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 flipV="1">
              <a:off x="5749200" y="3480120"/>
              <a:ext cx="0" cy="181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5705640" y="5169240"/>
              <a:ext cx="0" cy="263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Freeform: Shape 91"/>
            <p:cNvSpPr/>
            <p:nvPr/>
          </p:nvSpPr>
          <p:spPr>
            <a:xfrm>
              <a:off x="7290360" y="4978080"/>
              <a:ext cx="515879" cy="636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4" h="1769">
                  <a:moveTo>
                    <a:pt x="717" y="1769"/>
                  </a:moveTo>
                  <a:lnTo>
                    <a:pt x="0" y="1769"/>
                  </a:lnTo>
                  <a:lnTo>
                    <a:pt x="0" y="0"/>
                  </a:lnTo>
                  <a:lnTo>
                    <a:pt x="1434" y="0"/>
                  </a:lnTo>
                  <a:lnTo>
                    <a:pt x="1434" y="17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92"/>
            <p:cNvSpPr/>
            <p:nvPr/>
          </p:nvSpPr>
          <p:spPr>
            <a:xfrm>
              <a:off x="7873560" y="4957920"/>
              <a:ext cx="134640" cy="664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5" h="1848">
                  <a:moveTo>
                    <a:pt x="188" y="1848"/>
                  </a:moveTo>
                  <a:lnTo>
                    <a:pt x="0" y="1848"/>
                  </a:lnTo>
                  <a:lnTo>
                    <a:pt x="0" y="0"/>
                  </a:lnTo>
                  <a:lnTo>
                    <a:pt x="375" y="0"/>
                  </a:lnTo>
                  <a:lnTo>
                    <a:pt x="375" y="184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3"/>
            <p:cNvSpPr/>
            <p:nvPr/>
          </p:nvSpPr>
          <p:spPr>
            <a:xfrm>
              <a:off x="6774120" y="5575320"/>
              <a:ext cx="66960" cy="92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" h="257">
                  <a:moveTo>
                    <a:pt x="94" y="257"/>
                  </a:moveTo>
                  <a:cubicBezTo>
                    <a:pt x="43" y="257"/>
                    <a:pt x="0" y="215"/>
                    <a:pt x="0" y="164"/>
                  </a:cubicBezTo>
                  <a:lnTo>
                    <a:pt x="0" y="94"/>
                  </a:lnTo>
                  <a:cubicBezTo>
                    <a:pt x="0" y="43"/>
                    <a:pt x="43" y="0"/>
                    <a:pt x="94" y="0"/>
                  </a:cubicBezTo>
                  <a:cubicBezTo>
                    <a:pt x="144" y="0"/>
                    <a:pt x="187" y="43"/>
                    <a:pt x="187" y="94"/>
                  </a:cubicBezTo>
                  <a:lnTo>
                    <a:pt x="187" y="164"/>
                  </a:lnTo>
                  <a:cubicBezTo>
                    <a:pt x="187" y="215"/>
                    <a:pt x="144" y="257"/>
                    <a:pt x="94" y="25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5510520" y="5680079"/>
              <a:ext cx="712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5"/>
            <p:cNvSpPr/>
            <p:nvPr/>
          </p:nvSpPr>
          <p:spPr>
            <a:xfrm>
              <a:off x="5834520" y="4135320"/>
              <a:ext cx="876239" cy="156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5" h="4340" fill="none">
                  <a:moveTo>
                    <a:pt x="1245" y="4340"/>
                  </a:moveTo>
                  <a:lnTo>
                    <a:pt x="1245" y="4080"/>
                  </a:lnTo>
                  <a:lnTo>
                    <a:pt x="0" y="4080"/>
                  </a:lnTo>
                  <a:lnTo>
                    <a:pt x="308" y="3877"/>
                  </a:lnTo>
                  <a:lnTo>
                    <a:pt x="1002" y="3877"/>
                  </a:lnTo>
                  <a:lnTo>
                    <a:pt x="1002" y="367"/>
                  </a:lnTo>
                  <a:lnTo>
                    <a:pt x="1357" y="0"/>
                  </a:lnTo>
                  <a:lnTo>
                    <a:pt x="2054" y="0"/>
                  </a:lnTo>
                  <a:lnTo>
                    <a:pt x="2435" y="243"/>
                  </a:lnTo>
                  <a:lnTo>
                    <a:pt x="2435" y="32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6335280" y="4214520"/>
              <a:ext cx="0" cy="101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6410520" y="4204440"/>
              <a:ext cx="89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8"/>
            <p:cNvSpPr/>
            <p:nvPr/>
          </p:nvSpPr>
          <p:spPr>
            <a:xfrm>
              <a:off x="6573960" y="4135320"/>
              <a:ext cx="330840" cy="117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0" h="3262" fill="none">
                  <a:moveTo>
                    <a:pt x="0" y="0"/>
                  </a:moveTo>
                  <a:lnTo>
                    <a:pt x="0" y="3262"/>
                  </a:lnTo>
                  <a:lnTo>
                    <a:pt x="920" y="32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6775200" y="5112360"/>
              <a:ext cx="0" cy="189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0"/>
            <p:cNvSpPr/>
            <p:nvPr/>
          </p:nvSpPr>
          <p:spPr>
            <a:xfrm>
              <a:off x="6239880" y="5280840"/>
              <a:ext cx="137880" cy="324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4" h="903">
                  <a:moveTo>
                    <a:pt x="0" y="48"/>
                  </a:moveTo>
                  <a:lnTo>
                    <a:pt x="0" y="612"/>
                  </a:lnTo>
                  <a:lnTo>
                    <a:pt x="384" y="903"/>
                  </a:lnTo>
                  <a:lnTo>
                    <a:pt x="384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6433920" y="5569560"/>
              <a:ext cx="300600" cy="15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2"/>
            <p:cNvSpPr/>
            <p:nvPr/>
          </p:nvSpPr>
          <p:spPr>
            <a:xfrm>
              <a:off x="6325200" y="5683320"/>
              <a:ext cx="265680" cy="69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94">
                  <a:moveTo>
                    <a:pt x="0" y="194"/>
                  </a:moveTo>
                  <a:cubicBezTo>
                    <a:pt x="0" y="87"/>
                    <a:pt x="88" y="0"/>
                    <a:pt x="195" y="0"/>
                  </a:cubicBezTo>
                  <a:lnTo>
                    <a:pt x="545" y="0"/>
                  </a:lnTo>
                  <a:cubicBezTo>
                    <a:pt x="652" y="0"/>
                    <a:pt x="739" y="87"/>
                    <a:pt x="739" y="19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3"/>
            <p:cNvSpPr/>
            <p:nvPr/>
          </p:nvSpPr>
          <p:spPr>
            <a:xfrm>
              <a:off x="6630120" y="5458680"/>
              <a:ext cx="653760" cy="69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17" h="195" fill="none">
                  <a:moveTo>
                    <a:pt x="194" y="0"/>
                  </a:moveTo>
                  <a:lnTo>
                    <a:pt x="0" y="195"/>
                  </a:lnTo>
                  <a:lnTo>
                    <a:pt x="1817" y="19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4"/>
            <p:cNvSpPr/>
            <p:nvPr/>
          </p:nvSpPr>
          <p:spPr>
            <a:xfrm>
              <a:off x="6915600" y="5178240"/>
              <a:ext cx="373320" cy="288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8" h="801" fill="none">
                  <a:moveTo>
                    <a:pt x="714" y="0"/>
                  </a:moveTo>
                  <a:lnTo>
                    <a:pt x="0" y="0"/>
                  </a:lnTo>
                  <a:lnTo>
                    <a:pt x="0" y="801"/>
                  </a:lnTo>
                  <a:lnTo>
                    <a:pt x="1038" y="80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5"/>
            <p:cNvSpPr/>
            <p:nvPr/>
          </p:nvSpPr>
          <p:spPr>
            <a:xfrm>
              <a:off x="7174439" y="5074560"/>
              <a:ext cx="111600" cy="38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1" h="1070" fill="none">
                  <a:moveTo>
                    <a:pt x="0" y="1070"/>
                  </a:moveTo>
                  <a:lnTo>
                    <a:pt x="0" y="0"/>
                  </a:lnTo>
                  <a:lnTo>
                    <a:pt x="31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6"/>
            <p:cNvSpPr/>
            <p:nvPr/>
          </p:nvSpPr>
          <p:spPr>
            <a:xfrm>
              <a:off x="7403040" y="4898880"/>
              <a:ext cx="28404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0" h="214" fill="none">
                  <a:moveTo>
                    <a:pt x="0" y="209"/>
                  </a:moveTo>
                  <a:lnTo>
                    <a:pt x="0" y="0"/>
                  </a:lnTo>
                  <a:lnTo>
                    <a:pt x="790" y="0"/>
                  </a:lnTo>
                  <a:lnTo>
                    <a:pt x="790" y="2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7"/>
            <p:cNvSpPr/>
            <p:nvPr/>
          </p:nvSpPr>
          <p:spPr>
            <a:xfrm>
              <a:off x="7574760" y="4848120"/>
              <a:ext cx="49320" cy="47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8" h="133" fill="none">
                  <a:moveTo>
                    <a:pt x="0" y="133"/>
                  </a:moveTo>
                  <a:lnTo>
                    <a:pt x="0" y="0"/>
                  </a:lnTo>
                  <a:lnTo>
                    <a:pt x="138" y="0"/>
                  </a:lnTo>
                  <a:lnTo>
                    <a:pt x="138" y="12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7744320" y="5073480"/>
              <a:ext cx="0" cy="412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7820640" y="5380560"/>
              <a:ext cx="43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>
              <a:off x="8219880" y="5549040"/>
              <a:ext cx="0" cy="88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8786880" y="5693400"/>
              <a:ext cx="0" cy="88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2"/>
            <p:cNvSpPr/>
            <p:nvPr/>
          </p:nvSpPr>
          <p:spPr>
            <a:xfrm>
              <a:off x="8052479" y="5644440"/>
              <a:ext cx="23004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311" fill="none">
                  <a:moveTo>
                    <a:pt x="0" y="311"/>
                  </a:moveTo>
                  <a:lnTo>
                    <a:pt x="0" y="0"/>
                  </a:lnTo>
                  <a:lnTo>
                    <a:pt x="640" y="0"/>
                  </a:lnTo>
                  <a:lnTo>
                    <a:pt x="640" y="30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3"/>
            <p:cNvSpPr/>
            <p:nvPr/>
          </p:nvSpPr>
          <p:spPr>
            <a:xfrm>
              <a:off x="7600320" y="5686200"/>
              <a:ext cx="272880" cy="83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9" h="234">
                  <a:moveTo>
                    <a:pt x="0" y="217"/>
                  </a:moveTo>
                  <a:cubicBezTo>
                    <a:pt x="0" y="99"/>
                    <a:pt x="96" y="0"/>
                    <a:pt x="217" y="0"/>
                  </a:cubicBezTo>
                  <a:lnTo>
                    <a:pt x="525" y="0"/>
                  </a:lnTo>
                  <a:cubicBezTo>
                    <a:pt x="654" y="0"/>
                    <a:pt x="759" y="104"/>
                    <a:pt x="759" y="23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>
              <a:off x="7081200" y="5584680"/>
              <a:ext cx="0" cy="83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7151040" y="557748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>
              <a:off x="6996600" y="5111279"/>
              <a:ext cx="0" cy="658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117"/>
            <p:cNvSpPr/>
            <p:nvPr/>
          </p:nvSpPr>
          <p:spPr>
            <a:xfrm>
              <a:off x="8174160" y="4755600"/>
              <a:ext cx="694800" cy="6944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31" h="1930">
                  <a:moveTo>
                    <a:pt x="1931" y="965"/>
                  </a:moveTo>
                  <a:cubicBezTo>
                    <a:pt x="1931" y="1143"/>
                    <a:pt x="1890" y="1294"/>
                    <a:pt x="1801" y="1448"/>
                  </a:cubicBezTo>
                  <a:cubicBezTo>
                    <a:pt x="1712" y="1602"/>
                    <a:pt x="1602" y="1712"/>
                    <a:pt x="1448" y="1801"/>
                  </a:cubicBezTo>
                  <a:cubicBezTo>
                    <a:pt x="1294" y="1890"/>
                    <a:pt x="1142" y="1930"/>
                    <a:pt x="965" y="1930"/>
                  </a:cubicBezTo>
                  <a:cubicBezTo>
                    <a:pt x="787" y="1930"/>
                    <a:pt x="637" y="1890"/>
                    <a:pt x="483" y="1801"/>
                  </a:cubicBezTo>
                  <a:cubicBezTo>
                    <a:pt x="329" y="1712"/>
                    <a:pt x="218" y="1602"/>
                    <a:pt x="130" y="1448"/>
                  </a:cubicBezTo>
                  <a:cubicBezTo>
                    <a:pt x="41" y="1294"/>
                    <a:pt x="0" y="1142"/>
                    <a:pt x="0" y="965"/>
                  </a:cubicBezTo>
                  <a:cubicBezTo>
                    <a:pt x="0" y="787"/>
                    <a:pt x="41" y="637"/>
                    <a:pt x="130" y="483"/>
                  </a:cubicBezTo>
                  <a:cubicBezTo>
                    <a:pt x="218" y="329"/>
                    <a:pt x="329" y="217"/>
                    <a:pt x="483" y="129"/>
                  </a:cubicBezTo>
                  <a:cubicBezTo>
                    <a:pt x="637" y="40"/>
                    <a:pt x="788" y="0"/>
                    <a:pt x="965" y="0"/>
                  </a:cubicBezTo>
                  <a:cubicBezTo>
                    <a:pt x="1143" y="0"/>
                    <a:pt x="1294" y="40"/>
                    <a:pt x="1448" y="129"/>
                  </a:cubicBezTo>
                  <a:cubicBezTo>
                    <a:pt x="1602" y="217"/>
                    <a:pt x="1712" y="329"/>
                    <a:pt x="1801" y="483"/>
                  </a:cubicBezTo>
                  <a:cubicBezTo>
                    <a:pt x="1890" y="637"/>
                    <a:pt x="1931" y="788"/>
                    <a:pt x="1931" y="965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8521560" y="4740480"/>
              <a:ext cx="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8521560" y="5434200"/>
              <a:ext cx="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8381519" y="4767839"/>
              <a:ext cx="17281" cy="424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8644680" y="5409720"/>
              <a:ext cx="17280" cy="4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8258399" y="4850280"/>
              <a:ext cx="32761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8752320" y="5337720"/>
              <a:ext cx="32400" cy="3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8179200" y="4970880"/>
              <a:ext cx="41760" cy="16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8822520" y="5232240"/>
              <a:ext cx="42480" cy="17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8845920" y="5111279"/>
              <a:ext cx="45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8151840" y="5111279"/>
              <a:ext cx="44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 flipV="1">
              <a:off x="8178480" y="5232240"/>
              <a:ext cx="42480" cy="16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 flipV="1">
              <a:off x="8822520" y="4970880"/>
              <a:ext cx="42480" cy="17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 flipH="1">
              <a:off x="8750160" y="4847040"/>
              <a:ext cx="31680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 flipH="1">
              <a:off x="8261639" y="5340960"/>
              <a:ext cx="32401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 flipH="1">
              <a:off x="8651880" y="4770720"/>
              <a:ext cx="18000" cy="41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 flipH="1">
              <a:off x="8373240" y="5406840"/>
              <a:ext cx="18360" cy="41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Freeform: Shape 134"/>
            <p:cNvSpPr/>
            <p:nvPr/>
          </p:nvSpPr>
          <p:spPr>
            <a:xfrm>
              <a:off x="8429400" y="5096880"/>
              <a:ext cx="217800" cy="648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6" h="1801" fill="none">
                  <a:moveTo>
                    <a:pt x="606" y="1801"/>
                  </a:moveTo>
                  <a:lnTo>
                    <a:pt x="262" y="0"/>
                  </a:lnTo>
                  <a:lnTo>
                    <a:pt x="0" y="14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72899100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798978" y="3850200"/>
            <a:ext cx="3345022" cy="994985"/>
            <a:chOff x="5798978" y="3850200"/>
            <a:chExt cx="3345022" cy="994985"/>
          </a:xfrm>
        </p:grpSpPr>
        <p:sp>
          <p:nvSpPr>
            <p:cNvPr id="5" name="Freeform: Shape 1"/>
            <p:cNvSpPr/>
            <p:nvPr/>
          </p:nvSpPr>
          <p:spPr>
            <a:xfrm>
              <a:off x="6967584" y="4581648"/>
              <a:ext cx="208099" cy="310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0" h="226">
                  <a:moveTo>
                    <a:pt x="754" y="0"/>
                  </a:moveTo>
                  <a:lnTo>
                    <a:pt x="0" y="226"/>
                  </a:lnTo>
                  <a:lnTo>
                    <a:pt x="1510" y="22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6287024" y="4813329"/>
              <a:ext cx="190322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3"/>
            <p:cNvSpPr/>
            <p:nvPr/>
          </p:nvSpPr>
          <p:spPr>
            <a:xfrm>
              <a:off x="6126226" y="4603851"/>
              <a:ext cx="306149" cy="11239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21" h="816" fill="none">
                  <a:moveTo>
                    <a:pt x="0" y="816"/>
                  </a:moveTo>
                  <a:lnTo>
                    <a:pt x="0" y="0"/>
                  </a:lnTo>
                  <a:lnTo>
                    <a:pt x="926" y="0"/>
                  </a:lnTo>
                  <a:lnTo>
                    <a:pt x="926" y="709"/>
                  </a:lnTo>
                  <a:lnTo>
                    <a:pt x="1087" y="709"/>
                  </a:lnTo>
                  <a:lnTo>
                    <a:pt x="1087" y="0"/>
                  </a:lnTo>
                  <a:lnTo>
                    <a:pt x="1679" y="0"/>
                  </a:lnTo>
                  <a:lnTo>
                    <a:pt x="1679" y="728"/>
                  </a:lnTo>
                  <a:lnTo>
                    <a:pt x="2221" y="72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6031210" y="4742446"/>
              <a:ext cx="1503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6017281" y="4751823"/>
              <a:ext cx="0" cy="45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Freeform: Shape 6"/>
            <p:cNvSpPr/>
            <p:nvPr/>
          </p:nvSpPr>
          <p:spPr>
            <a:xfrm>
              <a:off x="6129398" y="4457120"/>
              <a:ext cx="158177" cy="820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8" h="596" fill="none">
                  <a:moveTo>
                    <a:pt x="1148" y="0"/>
                  </a:moveTo>
                  <a:lnTo>
                    <a:pt x="623" y="0"/>
                  </a:lnTo>
                  <a:lnTo>
                    <a:pt x="623" y="596"/>
                  </a:lnTo>
                  <a:lnTo>
                    <a:pt x="0" y="59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6244549" y="4413128"/>
              <a:ext cx="0" cy="4399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6056998" y="4555998"/>
              <a:ext cx="0" cy="4399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6262890" y="4413128"/>
              <a:ext cx="0" cy="4399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Freeform: Shape 10"/>
            <p:cNvSpPr/>
            <p:nvPr/>
          </p:nvSpPr>
          <p:spPr>
            <a:xfrm>
              <a:off x="6244549" y="4516006"/>
              <a:ext cx="31029" cy="697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507">
                  <a:moveTo>
                    <a:pt x="113" y="507"/>
                  </a:moveTo>
                  <a:lnTo>
                    <a:pt x="0" y="507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5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: Shape 11"/>
            <p:cNvSpPr/>
            <p:nvPr/>
          </p:nvSpPr>
          <p:spPr>
            <a:xfrm>
              <a:off x="6156565" y="4695006"/>
              <a:ext cx="59023" cy="239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9" h="175">
                  <a:moveTo>
                    <a:pt x="215" y="175"/>
                  </a:moveTo>
                  <a:lnTo>
                    <a:pt x="0" y="175"/>
                  </a:lnTo>
                  <a:lnTo>
                    <a:pt x="0" y="0"/>
                  </a:lnTo>
                  <a:lnTo>
                    <a:pt x="429" y="0"/>
                  </a:lnTo>
                  <a:lnTo>
                    <a:pt x="429" y="17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12"/>
            <p:cNvSpPr/>
            <p:nvPr/>
          </p:nvSpPr>
          <p:spPr>
            <a:xfrm>
              <a:off x="6039898" y="4603437"/>
              <a:ext cx="33649" cy="1019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5" h="740">
                  <a:moveTo>
                    <a:pt x="122" y="740"/>
                  </a:moveTo>
                  <a:lnTo>
                    <a:pt x="0" y="740"/>
                  </a:lnTo>
                  <a:lnTo>
                    <a:pt x="0" y="0"/>
                  </a:lnTo>
                  <a:lnTo>
                    <a:pt x="245" y="0"/>
                  </a:lnTo>
                  <a:lnTo>
                    <a:pt x="245" y="7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13"/>
            <p:cNvSpPr/>
            <p:nvPr/>
          </p:nvSpPr>
          <p:spPr>
            <a:xfrm>
              <a:off x="6270199" y="4716382"/>
              <a:ext cx="136940" cy="3406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94" h="248">
                  <a:moveTo>
                    <a:pt x="497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994" y="0"/>
                  </a:lnTo>
                  <a:lnTo>
                    <a:pt x="994" y="24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6457060" y="4713210"/>
              <a:ext cx="2031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5"/>
            <p:cNvSpPr/>
            <p:nvPr/>
          </p:nvSpPr>
          <p:spPr>
            <a:xfrm>
              <a:off x="6287713" y="4075951"/>
              <a:ext cx="231818" cy="60071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2" h="4357">
                  <a:moveTo>
                    <a:pt x="0" y="3756"/>
                  </a:moveTo>
                  <a:lnTo>
                    <a:pt x="0" y="0"/>
                  </a:lnTo>
                  <a:lnTo>
                    <a:pt x="1149" y="0"/>
                  </a:lnTo>
                  <a:lnTo>
                    <a:pt x="1682" y="3214"/>
                  </a:lnTo>
                  <a:lnTo>
                    <a:pt x="1389" y="3214"/>
                  </a:lnTo>
                  <a:lnTo>
                    <a:pt x="1389" y="3694"/>
                  </a:lnTo>
                  <a:lnTo>
                    <a:pt x="1149" y="3694"/>
                  </a:lnTo>
                  <a:lnTo>
                    <a:pt x="1149" y="4357"/>
                  </a:lnTo>
                  <a:lnTo>
                    <a:pt x="968" y="4357"/>
                  </a:lnTo>
                  <a:lnTo>
                    <a:pt x="336" y="163"/>
                  </a:lnTo>
                  <a:lnTo>
                    <a:pt x="164" y="163"/>
                  </a:lnTo>
                  <a:lnTo>
                    <a:pt x="164" y="37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16"/>
            <p:cNvSpPr/>
            <p:nvPr/>
          </p:nvSpPr>
          <p:spPr>
            <a:xfrm>
              <a:off x="6492502" y="4508145"/>
              <a:ext cx="256641" cy="1726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62" h="1253" fill="none">
                  <a:moveTo>
                    <a:pt x="0" y="181"/>
                  </a:moveTo>
                  <a:lnTo>
                    <a:pt x="584" y="181"/>
                  </a:lnTo>
                  <a:lnTo>
                    <a:pt x="584" y="0"/>
                  </a:lnTo>
                  <a:lnTo>
                    <a:pt x="872" y="0"/>
                  </a:lnTo>
                  <a:lnTo>
                    <a:pt x="872" y="443"/>
                  </a:lnTo>
                  <a:lnTo>
                    <a:pt x="1233" y="443"/>
                  </a:lnTo>
                  <a:lnTo>
                    <a:pt x="1233" y="1253"/>
                  </a:lnTo>
                  <a:lnTo>
                    <a:pt x="1862" y="125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6089681" y="4773199"/>
              <a:ext cx="89541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8"/>
            <p:cNvSpPr/>
            <p:nvPr/>
          </p:nvSpPr>
          <p:spPr>
            <a:xfrm>
              <a:off x="6495536" y="4550620"/>
              <a:ext cx="43854" cy="1425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9" h="1035">
                  <a:moveTo>
                    <a:pt x="160" y="1035"/>
                  </a:moveTo>
                  <a:lnTo>
                    <a:pt x="0" y="1035"/>
                  </a:lnTo>
                  <a:lnTo>
                    <a:pt x="0" y="0"/>
                  </a:lnTo>
                  <a:lnTo>
                    <a:pt x="319" y="0"/>
                  </a:lnTo>
                  <a:lnTo>
                    <a:pt x="319" y="103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19"/>
            <p:cNvSpPr/>
            <p:nvPr/>
          </p:nvSpPr>
          <p:spPr>
            <a:xfrm>
              <a:off x="6562558" y="4648670"/>
              <a:ext cx="85087" cy="19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18" h="144">
                  <a:moveTo>
                    <a:pt x="309" y="144"/>
                  </a:moveTo>
                  <a:lnTo>
                    <a:pt x="0" y="144"/>
                  </a:lnTo>
                  <a:lnTo>
                    <a:pt x="0" y="0"/>
                  </a:lnTo>
                  <a:lnTo>
                    <a:pt x="618" y="0"/>
                  </a:lnTo>
                  <a:lnTo>
                    <a:pt x="618" y="1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6515808" y="4409681"/>
              <a:ext cx="0" cy="2537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1"/>
            <p:cNvSpPr/>
            <p:nvPr/>
          </p:nvSpPr>
          <p:spPr>
            <a:xfrm>
              <a:off x="6531253" y="4069745"/>
              <a:ext cx="194859" cy="5629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4" h="4083">
                  <a:moveTo>
                    <a:pt x="9" y="3002"/>
                  </a:moveTo>
                  <a:cubicBezTo>
                    <a:pt x="9" y="3002"/>
                    <a:pt x="-132" y="1405"/>
                    <a:pt x="712" y="0"/>
                  </a:cubicBezTo>
                  <a:cubicBezTo>
                    <a:pt x="712" y="0"/>
                    <a:pt x="1787" y="1718"/>
                    <a:pt x="1276" y="408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2"/>
            <p:cNvSpPr/>
            <p:nvPr/>
          </p:nvSpPr>
          <p:spPr>
            <a:xfrm>
              <a:off x="6603377" y="4128492"/>
              <a:ext cx="80812" cy="932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677">
                  <a:moveTo>
                    <a:pt x="0" y="0"/>
                  </a:moveTo>
                  <a:cubicBezTo>
                    <a:pt x="0" y="0"/>
                    <a:pt x="220" y="457"/>
                    <a:pt x="587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3"/>
            <p:cNvSpPr/>
            <p:nvPr/>
          </p:nvSpPr>
          <p:spPr>
            <a:xfrm>
              <a:off x="6589725" y="4191929"/>
              <a:ext cx="103429" cy="11694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1" h="849">
                  <a:moveTo>
                    <a:pt x="0" y="0"/>
                  </a:moveTo>
                  <a:cubicBezTo>
                    <a:pt x="0" y="0"/>
                    <a:pt x="280" y="570"/>
                    <a:pt x="751" y="84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4"/>
            <p:cNvSpPr/>
            <p:nvPr/>
          </p:nvSpPr>
          <p:spPr>
            <a:xfrm>
              <a:off x="6576486" y="4255779"/>
              <a:ext cx="121356" cy="13680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1" h="993">
                  <a:moveTo>
                    <a:pt x="0" y="0"/>
                  </a:moveTo>
                  <a:cubicBezTo>
                    <a:pt x="0" y="0"/>
                    <a:pt x="328" y="668"/>
                    <a:pt x="881" y="99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5"/>
            <p:cNvSpPr/>
            <p:nvPr/>
          </p:nvSpPr>
          <p:spPr>
            <a:xfrm>
              <a:off x="6562558" y="4318388"/>
              <a:ext cx="142180" cy="1581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2" h="1148">
                  <a:moveTo>
                    <a:pt x="0" y="0"/>
                  </a:moveTo>
                  <a:cubicBezTo>
                    <a:pt x="0" y="0"/>
                    <a:pt x="383" y="773"/>
                    <a:pt x="1032" y="11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6"/>
            <p:cNvSpPr/>
            <p:nvPr/>
          </p:nvSpPr>
          <p:spPr>
            <a:xfrm>
              <a:off x="6549319" y="4383203"/>
              <a:ext cx="157763" cy="17693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5" h="1284">
                  <a:moveTo>
                    <a:pt x="0" y="0"/>
                  </a:moveTo>
                  <a:cubicBezTo>
                    <a:pt x="0" y="0"/>
                    <a:pt x="426" y="864"/>
                    <a:pt x="1145" y="128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7"/>
            <p:cNvSpPr/>
            <p:nvPr/>
          </p:nvSpPr>
          <p:spPr>
            <a:xfrm>
              <a:off x="6574555" y="4134284"/>
              <a:ext cx="80812" cy="932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677">
                  <a:moveTo>
                    <a:pt x="587" y="0"/>
                  </a:moveTo>
                  <a:cubicBezTo>
                    <a:pt x="587" y="0"/>
                    <a:pt x="367" y="457"/>
                    <a:pt x="0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28"/>
            <p:cNvSpPr/>
            <p:nvPr/>
          </p:nvSpPr>
          <p:spPr>
            <a:xfrm>
              <a:off x="6565178" y="4197721"/>
              <a:ext cx="103429" cy="11708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1" h="850">
                  <a:moveTo>
                    <a:pt x="751" y="0"/>
                  </a:moveTo>
                  <a:cubicBezTo>
                    <a:pt x="751" y="0"/>
                    <a:pt x="472" y="570"/>
                    <a:pt x="0" y="85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9"/>
            <p:cNvSpPr/>
            <p:nvPr/>
          </p:nvSpPr>
          <p:spPr>
            <a:xfrm>
              <a:off x="6560489" y="4261571"/>
              <a:ext cx="121356" cy="13680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1" h="993">
                  <a:moveTo>
                    <a:pt x="881" y="0"/>
                  </a:moveTo>
                  <a:cubicBezTo>
                    <a:pt x="881" y="0"/>
                    <a:pt x="554" y="669"/>
                    <a:pt x="0" y="99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0"/>
            <p:cNvSpPr/>
            <p:nvPr/>
          </p:nvSpPr>
          <p:spPr>
            <a:xfrm>
              <a:off x="6553594" y="4324180"/>
              <a:ext cx="142318" cy="15831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3" h="1149">
                  <a:moveTo>
                    <a:pt x="1033" y="0"/>
                  </a:moveTo>
                  <a:cubicBezTo>
                    <a:pt x="1033" y="0"/>
                    <a:pt x="649" y="773"/>
                    <a:pt x="0" y="114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1"/>
            <p:cNvSpPr/>
            <p:nvPr/>
          </p:nvSpPr>
          <p:spPr>
            <a:xfrm>
              <a:off x="6623236" y="4389133"/>
              <a:ext cx="85777" cy="1192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23" h="866">
                  <a:moveTo>
                    <a:pt x="623" y="0"/>
                  </a:moveTo>
                  <a:cubicBezTo>
                    <a:pt x="623" y="0"/>
                    <a:pt x="398" y="457"/>
                    <a:pt x="0" y="86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2"/>
            <p:cNvSpPr/>
            <p:nvPr/>
          </p:nvSpPr>
          <p:spPr>
            <a:xfrm>
              <a:off x="6769828" y="4221992"/>
              <a:ext cx="189068" cy="45219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72" h="3280">
                  <a:moveTo>
                    <a:pt x="142" y="3280"/>
                  </a:moveTo>
                  <a:cubicBezTo>
                    <a:pt x="142" y="3280"/>
                    <a:pt x="-149" y="557"/>
                    <a:pt x="102" y="102"/>
                  </a:cubicBezTo>
                  <a:cubicBezTo>
                    <a:pt x="102" y="102"/>
                    <a:pt x="774" y="-146"/>
                    <a:pt x="1279" y="131"/>
                  </a:cubicBezTo>
                  <a:cubicBezTo>
                    <a:pt x="1279" y="131"/>
                    <a:pt x="1527" y="915"/>
                    <a:pt x="1211" y="328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3"/>
            <p:cNvSpPr/>
            <p:nvPr/>
          </p:nvSpPr>
          <p:spPr>
            <a:xfrm>
              <a:off x="6740455" y="4194963"/>
              <a:ext cx="43716" cy="47425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8" h="3440">
                  <a:moveTo>
                    <a:pt x="169" y="3440"/>
                  </a:moveTo>
                  <a:cubicBezTo>
                    <a:pt x="169" y="3440"/>
                    <a:pt x="-201" y="734"/>
                    <a:pt x="154" y="0"/>
                  </a:cubicBezTo>
                  <a:lnTo>
                    <a:pt x="318" y="24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4"/>
            <p:cNvSpPr/>
            <p:nvPr/>
          </p:nvSpPr>
          <p:spPr>
            <a:xfrm>
              <a:off x="6768725" y="4173863"/>
              <a:ext cx="205065" cy="4150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8" h="3011">
                  <a:moveTo>
                    <a:pt x="0" y="99"/>
                  </a:moveTo>
                  <a:cubicBezTo>
                    <a:pt x="0" y="99"/>
                    <a:pt x="802" y="-155"/>
                    <a:pt x="1287" y="150"/>
                  </a:cubicBezTo>
                  <a:cubicBezTo>
                    <a:pt x="1287" y="150"/>
                    <a:pt x="1657" y="392"/>
                    <a:pt x="1392" y="30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 flipV="1">
              <a:off x="6789411" y="4261157"/>
              <a:ext cx="152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 flipV="1">
              <a:off x="6790928" y="4283360"/>
              <a:ext cx="1501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 flipV="1">
              <a:off x="6792169" y="4305976"/>
              <a:ext cx="1478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 flipV="1">
              <a:off x="6793686" y="4328455"/>
              <a:ext cx="1452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 flipV="1">
              <a:off x="6795203" y="4350520"/>
              <a:ext cx="14286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 flipV="1">
              <a:off x="6796444" y="4373136"/>
              <a:ext cx="14038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 flipV="1">
              <a:off x="6797961" y="4395615"/>
              <a:ext cx="1377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 flipV="1">
              <a:off x="6799065" y="4418231"/>
              <a:ext cx="13542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 flipV="1">
              <a:off x="6800719" y="4440847"/>
              <a:ext cx="1326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 flipV="1">
              <a:off x="6801823" y="4463050"/>
              <a:ext cx="13073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 flipV="1">
              <a:off x="6803339" y="4485529"/>
              <a:ext cx="12811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6804994" y="4508145"/>
              <a:ext cx="12521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6806511" y="4530761"/>
              <a:ext cx="1225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6807615" y="4553240"/>
              <a:ext cx="1206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6809269" y="4575442"/>
              <a:ext cx="1174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6810373" y="4598059"/>
              <a:ext cx="1155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6812028" y="4620676"/>
              <a:ext cx="1128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6813131" y="4642740"/>
              <a:ext cx="1104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6814648" y="4665357"/>
              <a:ext cx="10784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6719769" y="4559170"/>
              <a:ext cx="3144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6734111" y="4601507"/>
              <a:ext cx="0" cy="4716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6780861" y="4693352"/>
              <a:ext cx="1245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6945382" y="4710865"/>
              <a:ext cx="37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7057498" y="4717485"/>
              <a:ext cx="0" cy="670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7111281" y="4746307"/>
              <a:ext cx="5281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7115143" y="4774026"/>
              <a:ext cx="4550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6714667" y="4845185"/>
              <a:ext cx="4051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093543" y="4845185"/>
              <a:ext cx="33428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952829" y="4590612"/>
              <a:ext cx="712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7131140" y="4587578"/>
              <a:ext cx="4123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7156790" y="4556412"/>
              <a:ext cx="0" cy="3116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7166443" y="4648670"/>
              <a:ext cx="0" cy="564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7012403" y="4530761"/>
              <a:ext cx="0" cy="393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7032261" y="4530761"/>
              <a:ext cx="0" cy="393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7051706" y="4530761"/>
              <a:ext cx="0" cy="393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7071565" y="4531175"/>
              <a:ext cx="0" cy="3888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091423" y="4531175"/>
              <a:ext cx="0" cy="3888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111281" y="4531175"/>
              <a:ext cx="0" cy="3888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7131140" y="4531451"/>
              <a:ext cx="0" cy="3861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6997234" y="4612815"/>
              <a:ext cx="0" cy="7667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7147412" y="4612815"/>
              <a:ext cx="0" cy="7667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7004267" y="4510903"/>
              <a:ext cx="1373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7"/>
            <p:cNvSpPr/>
            <p:nvPr/>
          </p:nvSpPr>
          <p:spPr>
            <a:xfrm>
              <a:off x="7006198" y="4412439"/>
              <a:ext cx="130182" cy="780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45" h="567">
                  <a:moveTo>
                    <a:pt x="945" y="567"/>
                  </a:moveTo>
                  <a:lnTo>
                    <a:pt x="0" y="567"/>
                  </a:lnTo>
                  <a:cubicBezTo>
                    <a:pt x="0" y="567"/>
                    <a:pt x="127" y="0"/>
                    <a:pt x="477" y="0"/>
                  </a:cubicBezTo>
                  <a:cubicBezTo>
                    <a:pt x="824" y="0"/>
                    <a:pt x="945" y="567"/>
                    <a:pt x="945" y="56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7057498" y="4393684"/>
              <a:ext cx="284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7062601" y="4375480"/>
              <a:ext cx="194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072254" y="4315216"/>
              <a:ext cx="0" cy="354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046190" y="4677492"/>
              <a:ext cx="5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201471" y="4551723"/>
              <a:ext cx="584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190577" y="4473945"/>
              <a:ext cx="0" cy="68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268079" y="4473945"/>
              <a:ext cx="0" cy="68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194576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212366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230293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248221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266149" y="4560687"/>
              <a:ext cx="0" cy="1751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Freeform: Shape 90"/>
            <p:cNvSpPr/>
            <p:nvPr/>
          </p:nvSpPr>
          <p:spPr>
            <a:xfrm>
              <a:off x="7187956" y="4391339"/>
              <a:ext cx="80812" cy="696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506" fill="none">
                  <a:moveTo>
                    <a:pt x="0" y="506"/>
                  </a:moveTo>
                  <a:lnTo>
                    <a:pt x="152" y="260"/>
                  </a:lnTo>
                  <a:lnTo>
                    <a:pt x="152" y="0"/>
                  </a:lnTo>
                  <a:lnTo>
                    <a:pt x="431" y="0"/>
                  </a:lnTo>
                  <a:lnTo>
                    <a:pt x="431" y="252"/>
                  </a:lnTo>
                  <a:lnTo>
                    <a:pt x="587" y="50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Freeform: Shape 91"/>
            <p:cNvSpPr/>
            <p:nvPr/>
          </p:nvSpPr>
          <p:spPr>
            <a:xfrm>
              <a:off x="7212090" y="4492148"/>
              <a:ext cx="35579" cy="357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9" h="260">
                  <a:moveTo>
                    <a:pt x="259" y="130"/>
                  </a:moveTo>
                  <a:cubicBezTo>
                    <a:pt x="259" y="154"/>
                    <a:pt x="254" y="174"/>
                    <a:pt x="242" y="195"/>
                  </a:cubicBezTo>
                  <a:cubicBezTo>
                    <a:pt x="230" y="216"/>
                    <a:pt x="214" y="231"/>
                    <a:pt x="194" y="243"/>
                  </a:cubicBezTo>
                  <a:cubicBezTo>
                    <a:pt x="173" y="255"/>
                    <a:pt x="152" y="260"/>
                    <a:pt x="129" y="260"/>
                  </a:cubicBezTo>
                  <a:cubicBezTo>
                    <a:pt x="105" y="260"/>
                    <a:pt x="85" y="255"/>
                    <a:pt x="65" y="243"/>
                  </a:cubicBezTo>
                  <a:cubicBezTo>
                    <a:pt x="44" y="231"/>
                    <a:pt x="29" y="216"/>
                    <a:pt x="17" y="195"/>
                  </a:cubicBezTo>
                  <a:cubicBezTo>
                    <a:pt x="5" y="174"/>
                    <a:pt x="0" y="154"/>
                    <a:pt x="0" y="130"/>
                  </a:cubicBezTo>
                  <a:cubicBezTo>
                    <a:pt x="0" y="106"/>
                    <a:pt x="5" y="85"/>
                    <a:pt x="17" y="65"/>
                  </a:cubicBezTo>
                  <a:cubicBezTo>
                    <a:pt x="29" y="44"/>
                    <a:pt x="44" y="30"/>
                    <a:pt x="65" y="18"/>
                  </a:cubicBezTo>
                  <a:cubicBezTo>
                    <a:pt x="85" y="6"/>
                    <a:pt x="106" y="0"/>
                    <a:pt x="129" y="0"/>
                  </a:cubicBezTo>
                  <a:cubicBezTo>
                    <a:pt x="153" y="0"/>
                    <a:pt x="173" y="6"/>
                    <a:pt x="194" y="18"/>
                  </a:cubicBezTo>
                  <a:cubicBezTo>
                    <a:pt x="214" y="30"/>
                    <a:pt x="230" y="44"/>
                    <a:pt x="242" y="65"/>
                  </a:cubicBezTo>
                  <a:cubicBezTo>
                    <a:pt x="254" y="85"/>
                    <a:pt x="259" y="106"/>
                    <a:pt x="259" y="130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7208091" y="4454500"/>
              <a:ext cx="413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7208091" y="4468428"/>
              <a:ext cx="413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7208918" y="4427195"/>
              <a:ext cx="3888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5"/>
            <p:cNvSpPr/>
            <p:nvPr/>
          </p:nvSpPr>
          <p:spPr>
            <a:xfrm>
              <a:off x="7208918" y="4360725"/>
              <a:ext cx="38338" cy="3047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9" h="222" fill="none">
                  <a:moveTo>
                    <a:pt x="0" y="222"/>
                  </a:moveTo>
                  <a:lnTo>
                    <a:pt x="141" y="0"/>
                  </a:lnTo>
                  <a:lnTo>
                    <a:pt x="279" y="22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7229190" y="4402648"/>
              <a:ext cx="0" cy="1682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 flipV="1">
              <a:off x="7228363" y="4331213"/>
              <a:ext cx="0" cy="2965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7299935" y="4595715"/>
              <a:ext cx="0" cy="657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7279387" y="4661495"/>
              <a:ext cx="482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7226846" y="4776232"/>
              <a:ext cx="32062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1"/>
            <p:cNvSpPr/>
            <p:nvPr/>
          </p:nvSpPr>
          <p:spPr>
            <a:xfrm>
              <a:off x="7318552" y="3850200"/>
              <a:ext cx="228646" cy="9125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59" h="6618" fill="none">
                  <a:moveTo>
                    <a:pt x="0" y="6618"/>
                  </a:moveTo>
                  <a:lnTo>
                    <a:pt x="683" y="0"/>
                  </a:lnTo>
                  <a:lnTo>
                    <a:pt x="798" y="333"/>
                  </a:lnTo>
                  <a:lnTo>
                    <a:pt x="917" y="0"/>
                  </a:lnTo>
                  <a:lnTo>
                    <a:pt x="1659" y="660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Straight Connector 105"/>
            <p:cNvSpPr/>
            <p:nvPr/>
          </p:nvSpPr>
          <p:spPr>
            <a:xfrm>
              <a:off x="7432600" y="3917498"/>
              <a:ext cx="93362" cy="84370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Straight Connector 106"/>
            <p:cNvSpPr/>
            <p:nvPr/>
          </p:nvSpPr>
          <p:spPr>
            <a:xfrm>
              <a:off x="7534098" y="4641637"/>
              <a:ext cx="9377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7571884" y="4695696"/>
              <a:ext cx="0" cy="86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8096474" y="4695696"/>
              <a:ext cx="0" cy="86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Straight Connector 109"/>
            <p:cNvSpPr/>
            <p:nvPr/>
          </p:nvSpPr>
          <p:spPr>
            <a:xfrm>
              <a:off x="7697929" y="4776232"/>
              <a:ext cx="1943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7544303" y="4525245"/>
              <a:ext cx="497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7661384" y="4525245"/>
              <a:ext cx="109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7595603" y="4455189"/>
              <a:ext cx="0" cy="1463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10"/>
            <p:cNvSpPr/>
            <p:nvPr/>
          </p:nvSpPr>
          <p:spPr>
            <a:xfrm>
              <a:off x="7661384" y="4455189"/>
              <a:ext cx="258710" cy="2380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7" h="1727" fill="none">
                  <a:moveTo>
                    <a:pt x="0" y="0"/>
                  </a:moveTo>
                  <a:lnTo>
                    <a:pt x="0" y="1727"/>
                  </a:lnTo>
                  <a:lnTo>
                    <a:pt x="1877" y="1727"/>
                  </a:lnTo>
                  <a:lnTo>
                    <a:pt x="1786" y="1581"/>
                  </a:lnTo>
                  <a:lnTo>
                    <a:pt x="158" y="158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7627873" y="4455189"/>
              <a:ext cx="0" cy="326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7627873" y="4522901"/>
              <a:ext cx="0" cy="14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>
              <a:off x="7576986" y="4441951"/>
              <a:ext cx="1031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4"/>
            <p:cNvSpPr/>
            <p:nvPr/>
          </p:nvSpPr>
          <p:spPr>
            <a:xfrm>
              <a:off x="7585123" y="4396856"/>
              <a:ext cx="82743" cy="344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1" h="251">
                  <a:moveTo>
                    <a:pt x="0" y="251"/>
                  </a:moveTo>
                  <a:cubicBezTo>
                    <a:pt x="0" y="251"/>
                    <a:pt x="62" y="0"/>
                    <a:pt x="313" y="0"/>
                  </a:cubicBezTo>
                  <a:cubicBezTo>
                    <a:pt x="564" y="0"/>
                    <a:pt x="601" y="251"/>
                    <a:pt x="601" y="25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7628701" y="4332454"/>
              <a:ext cx="0" cy="645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116"/>
            <p:cNvSpPr/>
            <p:nvPr/>
          </p:nvSpPr>
          <p:spPr>
            <a:xfrm>
              <a:off x="7838868" y="4525245"/>
              <a:ext cx="318560" cy="489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11" h="356" fill="none">
                  <a:moveTo>
                    <a:pt x="0" y="0"/>
                  </a:moveTo>
                  <a:lnTo>
                    <a:pt x="2311" y="0"/>
                  </a:lnTo>
                  <a:lnTo>
                    <a:pt x="2311" y="356"/>
                  </a:lnTo>
                  <a:lnTo>
                    <a:pt x="1575" y="356"/>
                  </a:lnTo>
                  <a:lnTo>
                    <a:pt x="1575" y="17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>
              <a:off x="7773087" y="4455189"/>
              <a:ext cx="0" cy="1463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7838868" y="4455189"/>
              <a:ext cx="0" cy="1463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7805357" y="4455189"/>
              <a:ext cx="0" cy="326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7805357" y="4522901"/>
              <a:ext cx="0" cy="14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7754470" y="4441951"/>
              <a:ext cx="10342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Freeform: Shape 122"/>
            <p:cNvSpPr/>
            <p:nvPr/>
          </p:nvSpPr>
          <p:spPr>
            <a:xfrm>
              <a:off x="7763020" y="4396856"/>
              <a:ext cx="82743" cy="3447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1" h="251">
                  <a:moveTo>
                    <a:pt x="0" y="251"/>
                  </a:moveTo>
                  <a:cubicBezTo>
                    <a:pt x="0" y="251"/>
                    <a:pt x="62" y="0"/>
                    <a:pt x="313" y="0"/>
                  </a:cubicBezTo>
                  <a:cubicBezTo>
                    <a:pt x="564" y="0"/>
                    <a:pt x="601" y="251"/>
                    <a:pt x="601" y="25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7806184" y="4332454"/>
              <a:ext cx="0" cy="645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Freeform: Shape 124"/>
            <p:cNvSpPr/>
            <p:nvPr/>
          </p:nvSpPr>
          <p:spPr>
            <a:xfrm>
              <a:off x="7858726" y="4614332"/>
              <a:ext cx="33373" cy="2868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Freeform: Shape 125"/>
            <p:cNvSpPr/>
            <p:nvPr/>
          </p:nvSpPr>
          <p:spPr>
            <a:xfrm>
              <a:off x="7926024" y="4614332"/>
              <a:ext cx="33373" cy="2868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Freeform: Shape 126"/>
            <p:cNvSpPr/>
            <p:nvPr/>
          </p:nvSpPr>
          <p:spPr>
            <a:xfrm>
              <a:off x="7993321" y="4614332"/>
              <a:ext cx="33373" cy="2868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Freeform: Shape 127"/>
            <p:cNvSpPr/>
            <p:nvPr/>
          </p:nvSpPr>
          <p:spPr>
            <a:xfrm>
              <a:off x="8060343" y="4614332"/>
              <a:ext cx="33649" cy="2868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5" h="209" fill="none">
                  <a:moveTo>
                    <a:pt x="245" y="0"/>
                  </a:moveTo>
                  <a:lnTo>
                    <a:pt x="245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Freeform: Shape 128"/>
            <p:cNvSpPr/>
            <p:nvPr/>
          </p:nvSpPr>
          <p:spPr>
            <a:xfrm>
              <a:off x="7587881" y="4724518"/>
              <a:ext cx="146179" cy="364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6" y="0"/>
                    <a:pt x="558" y="0"/>
                  </a:cubicBezTo>
                  <a:cubicBezTo>
                    <a:pt x="989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Freeform: Shape 129"/>
            <p:cNvSpPr/>
            <p:nvPr/>
          </p:nvSpPr>
          <p:spPr>
            <a:xfrm>
              <a:off x="7762606" y="4724518"/>
              <a:ext cx="146179" cy="364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7" y="0"/>
                    <a:pt x="559" y="0"/>
                  </a:cubicBezTo>
                  <a:cubicBezTo>
                    <a:pt x="990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Freeform: Shape 130"/>
            <p:cNvSpPr/>
            <p:nvPr/>
          </p:nvSpPr>
          <p:spPr>
            <a:xfrm>
              <a:off x="7937332" y="4724518"/>
              <a:ext cx="146179" cy="364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7" y="0"/>
                    <a:pt x="559" y="0"/>
                  </a:cubicBezTo>
                  <a:cubicBezTo>
                    <a:pt x="990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8125710" y="4483184"/>
              <a:ext cx="0" cy="4247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Freeform: Shape 132"/>
            <p:cNvSpPr/>
            <p:nvPr/>
          </p:nvSpPr>
          <p:spPr>
            <a:xfrm>
              <a:off x="7877343" y="3969350"/>
              <a:ext cx="216235" cy="5430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9" h="3939" fill="none">
                  <a:moveTo>
                    <a:pt x="0" y="3936"/>
                  </a:moveTo>
                  <a:lnTo>
                    <a:pt x="807" y="0"/>
                  </a:lnTo>
                  <a:lnTo>
                    <a:pt x="1569" y="39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Freeform: Shape 133"/>
            <p:cNvSpPr/>
            <p:nvPr/>
          </p:nvSpPr>
          <p:spPr>
            <a:xfrm>
              <a:off x="7929471" y="4077467"/>
              <a:ext cx="116668" cy="1523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7" h="1106" fill="none">
                  <a:moveTo>
                    <a:pt x="43" y="1106"/>
                  </a:moveTo>
                  <a:lnTo>
                    <a:pt x="0" y="0"/>
                  </a:lnTo>
                  <a:lnTo>
                    <a:pt x="847" y="0"/>
                  </a:lnTo>
                  <a:lnTo>
                    <a:pt x="788" y="108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7978565" y="4103118"/>
              <a:ext cx="171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974290" y="4127665"/>
              <a:ext cx="256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7969601" y="4152212"/>
              <a:ext cx="3461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7965327" y="4176345"/>
              <a:ext cx="431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7961051" y="4200892"/>
              <a:ext cx="5171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7956776" y="4225302"/>
              <a:ext cx="606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7952088" y="4249849"/>
              <a:ext cx="6964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947813" y="4273982"/>
              <a:ext cx="781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943538" y="4298529"/>
              <a:ext cx="8674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7938848" y="4323076"/>
              <a:ext cx="957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7934574" y="4347624"/>
              <a:ext cx="10425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7929885" y="4371895"/>
              <a:ext cx="1133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7925610" y="4396442"/>
              <a:ext cx="1219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7921335" y="4420989"/>
              <a:ext cx="13045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7916646" y="4445122"/>
              <a:ext cx="1394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7912371" y="4469670"/>
              <a:ext cx="1479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7908096" y="4494078"/>
              <a:ext cx="15693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Freeform: Shape 151"/>
            <p:cNvSpPr/>
            <p:nvPr/>
          </p:nvSpPr>
          <p:spPr>
            <a:xfrm>
              <a:off x="8226518" y="4663840"/>
              <a:ext cx="74193" cy="14852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9" h="1078">
                  <a:moveTo>
                    <a:pt x="539" y="0"/>
                  </a:moveTo>
                  <a:lnTo>
                    <a:pt x="539" y="1078"/>
                  </a:lnTo>
                  <a:lnTo>
                    <a:pt x="0" y="71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8226518" y="4822982"/>
              <a:ext cx="423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 flipH="1">
              <a:off x="8512533" y="4717485"/>
              <a:ext cx="2977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 flipH="1">
              <a:off x="8600102" y="4751823"/>
              <a:ext cx="5438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 flipH="1">
              <a:off x="5798978" y="4696937"/>
              <a:ext cx="548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 flipH="1">
              <a:off x="5967084" y="4696937"/>
              <a:ext cx="431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 flipH="1">
              <a:off x="8697117" y="4808778"/>
              <a:ext cx="10722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8399727" y="4658324"/>
              <a:ext cx="0" cy="257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8145568" y="4658324"/>
              <a:ext cx="0" cy="4523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Freeform: Shape 160"/>
            <p:cNvSpPr/>
            <p:nvPr/>
          </p:nvSpPr>
          <p:spPr>
            <a:xfrm>
              <a:off x="8415586" y="4711693"/>
              <a:ext cx="41096" cy="970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9" h="705">
                  <a:moveTo>
                    <a:pt x="299" y="0"/>
                  </a:moveTo>
                  <a:lnTo>
                    <a:pt x="299" y="705"/>
                  </a:lnTo>
                  <a:lnTo>
                    <a:pt x="0" y="47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8416413" y="4815535"/>
              <a:ext cx="233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162"/>
            <p:cNvSpPr/>
            <p:nvPr/>
          </p:nvSpPr>
          <p:spPr>
            <a:xfrm>
              <a:off x="5891236" y="4668942"/>
              <a:ext cx="41096" cy="974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9" h="708">
                  <a:moveTo>
                    <a:pt x="299" y="0"/>
                  </a:moveTo>
                  <a:lnTo>
                    <a:pt x="299" y="708"/>
                  </a:lnTo>
                  <a:lnTo>
                    <a:pt x="0" y="4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5891926" y="4773199"/>
              <a:ext cx="233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grpSp>
          <p:nvGrpSpPr>
            <p:cNvPr id="168" name="Group 167"/>
            <p:cNvGrpSpPr/>
            <p:nvPr/>
          </p:nvGrpSpPr>
          <p:grpSpPr>
            <a:xfrm>
              <a:off x="8182940" y="4448156"/>
              <a:ext cx="499492" cy="255400"/>
              <a:chOff x="8276721" y="4448156"/>
              <a:chExt cx="499492" cy="255400"/>
            </a:xfrm>
          </p:grpSpPr>
          <p:sp>
            <p:nvSpPr>
              <p:cNvPr id="185" name="Freeform: Shape 164"/>
              <p:cNvSpPr/>
              <p:nvPr/>
            </p:nvSpPr>
            <p:spPr>
              <a:xfrm>
                <a:off x="8279066" y="4633914"/>
                <a:ext cx="497147" cy="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606">
                    <a:moveTo>
                      <a:pt x="0" y="0"/>
                    </a:moveTo>
                    <a:cubicBezTo>
                      <a:pt x="1199" y="0"/>
                      <a:pt x="2407" y="0"/>
                      <a:pt x="3606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6" name="Straight Connector 185"/>
              <p:cNvSpPr/>
              <p:nvPr/>
            </p:nvSpPr>
            <p:spPr>
              <a:xfrm>
                <a:off x="8444000" y="4448156"/>
                <a:ext cx="0" cy="25540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7" name="Freeform: Shape 166"/>
              <p:cNvSpPr/>
              <p:nvPr/>
            </p:nvSpPr>
            <p:spPr>
              <a:xfrm>
                <a:off x="8444000" y="4469256"/>
                <a:ext cx="332213" cy="124804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410" h="906">
                    <a:moveTo>
                      <a:pt x="2410" y="906"/>
                    </a:moveTo>
                    <a:cubicBezTo>
                      <a:pt x="1583" y="900"/>
                      <a:pt x="748" y="663"/>
                      <a:pt x="110" y="99"/>
                    </a:cubicBezTo>
                    <a:cubicBezTo>
                      <a:pt x="82" y="70"/>
                      <a:pt x="20" y="22"/>
                      <a:pt x="0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8" name="Straight Connector 187"/>
              <p:cNvSpPr/>
              <p:nvPr/>
            </p:nvSpPr>
            <p:spPr>
              <a:xfrm>
                <a:off x="8497369" y="4512834"/>
                <a:ext cx="0" cy="11901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9" name="Straight Connector 188"/>
              <p:cNvSpPr/>
              <p:nvPr/>
            </p:nvSpPr>
            <p:spPr>
              <a:xfrm>
                <a:off x="8536672" y="4536140"/>
                <a:ext cx="0" cy="9777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0" name="Straight Connector 189"/>
              <p:cNvSpPr/>
              <p:nvPr/>
            </p:nvSpPr>
            <p:spPr>
              <a:xfrm>
                <a:off x="8576665" y="4556826"/>
                <a:ext cx="0" cy="7708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1" name="Straight Connector 190"/>
              <p:cNvSpPr/>
              <p:nvPr/>
            </p:nvSpPr>
            <p:spPr>
              <a:xfrm>
                <a:off x="8616381" y="4571168"/>
                <a:ext cx="0" cy="62747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2" name="Straight Connector 191"/>
              <p:cNvSpPr/>
              <p:nvPr/>
            </p:nvSpPr>
            <p:spPr>
              <a:xfrm>
                <a:off x="8655684" y="4580545"/>
                <a:ext cx="0" cy="5336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3" name="Straight Connector 192"/>
              <p:cNvSpPr/>
              <p:nvPr/>
            </p:nvSpPr>
            <p:spPr>
              <a:xfrm>
                <a:off x="8694987" y="4589095"/>
                <a:ext cx="0" cy="4481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4" name="Straight Connector 193"/>
              <p:cNvSpPr/>
              <p:nvPr/>
            </p:nvSpPr>
            <p:spPr>
              <a:xfrm>
                <a:off x="8734290" y="4592543"/>
                <a:ext cx="0" cy="4137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5" name="Freeform: Shape 174"/>
              <p:cNvSpPr/>
              <p:nvPr/>
            </p:nvSpPr>
            <p:spPr>
              <a:xfrm>
                <a:off x="8276721" y="4468842"/>
                <a:ext cx="167141" cy="9874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213" h="717">
                    <a:moveTo>
                      <a:pt x="1213" y="0"/>
                    </a:moveTo>
                    <a:cubicBezTo>
                      <a:pt x="883" y="310"/>
                      <a:pt x="468" y="559"/>
                      <a:pt x="0" y="717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6" name="Straight Connector 195"/>
              <p:cNvSpPr/>
              <p:nvPr/>
            </p:nvSpPr>
            <p:spPr>
              <a:xfrm>
                <a:off x="8388424" y="4512834"/>
                <a:ext cx="0" cy="11901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7" name="Straight Connector 196"/>
              <p:cNvSpPr/>
              <p:nvPr/>
            </p:nvSpPr>
            <p:spPr>
              <a:xfrm>
                <a:off x="8349397" y="4536140"/>
                <a:ext cx="0" cy="9777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98" name="Straight Connector 197"/>
              <p:cNvSpPr/>
              <p:nvPr/>
            </p:nvSpPr>
            <p:spPr>
              <a:xfrm>
                <a:off x="8308991" y="4556826"/>
                <a:ext cx="0" cy="7708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grpSp>
          <p:nvGrpSpPr>
            <p:cNvPr id="169" name="Group 168"/>
            <p:cNvGrpSpPr/>
            <p:nvPr/>
          </p:nvGrpSpPr>
          <p:grpSpPr>
            <a:xfrm flipH="1">
              <a:off x="8644508" y="4448156"/>
              <a:ext cx="499492" cy="255400"/>
              <a:chOff x="8276721" y="4448156"/>
              <a:chExt cx="499492" cy="255400"/>
            </a:xfrm>
          </p:grpSpPr>
          <p:sp>
            <p:nvSpPr>
              <p:cNvPr id="171" name="Freeform: Shape 164"/>
              <p:cNvSpPr/>
              <p:nvPr/>
            </p:nvSpPr>
            <p:spPr>
              <a:xfrm>
                <a:off x="8279066" y="4633914"/>
                <a:ext cx="497147" cy="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606">
                    <a:moveTo>
                      <a:pt x="0" y="0"/>
                    </a:moveTo>
                    <a:cubicBezTo>
                      <a:pt x="1199" y="0"/>
                      <a:pt x="2407" y="0"/>
                      <a:pt x="3606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2" name="Straight Connector 171"/>
              <p:cNvSpPr/>
              <p:nvPr/>
            </p:nvSpPr>
            <p:spPr>
              <a:xfrm>
                <a:off x="8444000" y="4448156"/>
                <a:ext cx="0" cy="25540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3" name="Freeform: Shape 166"/>
              <p:cNvSpPr/>
              <p:nvPr/>
            </p:nvSpPr>
            <p:spPr>
              <a:xfrm>
                <a:off x="8444000" y="4469256"/>
                <a:ext cx="332213" cy="124804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410" h="906">
                    <a:moveTo>
                      <a:pt x="2410" y="906"/>
                    </a:moveTo>
                    <a:cubicBezTo>
                      <a:pt x="1583" y="900"/>
                      <a:pt x="748" y="663"/>
                      <a:pt x="110" y="99"/>
                    </a:cubicBezTo>
                    <a:cubicBezTo>
                      <a:pt x="82" y="70"/>
                      <a:pt x="20" y="22"/>
                      <a:pt x="0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4" name="Straight Connector 173"/>
              <p:cNvSpPr/>
              <p:nvPr/>
            </p:nvSpPr>
            <p:spPr>
              <a:xfrm>
                <a:off x="8497369" y="4512834"/>
                <a:ext cx="0" cy="11901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5" name="Straight Connector 174"/>
              <p:cNvSpPr/>
              <p:nvPr/>
            </p:nvSpPr>
            <p:spPr>
              <a:xfrm>
                <a:off x="8536672" y="4536140"/>
                <a:ext cx="0" cy="9777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6" name="Straight Connector 175"/>
              <p:cNvSpPr/>
              <p:nvPr/>
            </p:nvSpPr>
            <p:spPr>
              <a:xfrm>
                <a:off x="8576665" y="4556826"/>
                <a:ext cx="0" cy="7708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7" name="Straight Connector 176"/>
              <p:cNvSpPr/>
              <p:nvPr/>
            </p:nvSpPr>
            <p:spPr>
              <a:xfrm>
                <a:off x="8616381" y="4571168"/>
                <a:ext cx="0" cy="62747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8" name="Straight Connector 177"/>
              <p:cNvSpPr/>
              <p:nvPr/>
            </p:nvSpPr>
            <p:spPr>
              <a:xfrm>
                <a:off x="8655684" y="4580545"/>
                <a:ext cx="0" cy="5336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9" name="Straight Connector 178"/>
              <p:cNvSpPr/>
              <p:nvPr/>
            </p:nvSpPr>
            <p:spPr>
              <a:xfrm>
                <a:off x="8694987" y="4589095"/>
                <a:ext cx="0" cy="4481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0" name="Straight Connector 179"/>
              <p:cNvSpPr/>
              <p:nvPr/>
            </p:nvSpPr>
            <p:spPr>
              <a:xfrm>
                <a:off x="8734290" y="4592543"/>
                <a:ext cx="0" cy="4137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1" name="Freeform: Shape 174"/>
              <p:cNvSpPr/>
              <p:nvPr/>
            </p:nvSpPr>
            <p:spPr>
              <a:xfrm>
                <a:off x="8276721" y="4468842"/>
                <a:ext cx="167141" cy="9874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213" h="717">
                    <a:moveTo>
                      <a:pt x="1213" y="0"/>
                    </a:moveTo>
                    <a:cubicBezTo>
                      <a:pt x="883" y="310"/>
                      <a:pt x="468" y="559"/>
                      <a:pt x="0" y="717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2" name="Straight Connector 181"/>
              <p:cNvSpPr/>
              <p:nvPr/>
            </p:nvSpPr>
            <p:spPr>
              <a:xfrm>
                <a:off x="8388424" y="4512834"/>
                <a:ext cx="0" cy="119012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3" name="Straight Connector 182"/>
              <p:cNvSpPr/>
              <p:nvPr/>
            </p:nvSpPr>
            <p:spPr>
              <a:xfrm>
                <a:off x="8349397" y="4536140"/>
                <a:ext cx="0" cy="9777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4" name="Straight Connector 183"/>
              <p:cNvSpPr/>
              <p:nvPr/>
            </p:nvSpPr>
            <p:spPr>
              <a:xfrm>
                <a:off x="8308991" y="4556826"/>
                <a:ext cx="0" cy="7708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15120" tIns="15120" rIns="15120" bIns="1512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170" name="Straight Connector 169"/>
            <p:cNvSpPr/>
            <p:nvPr/>
          </p:nvSpPr>
          <p:spPr>
            <a:xfrm flipH="1">
              <a:off x="9105838" y="4788777"/>
              <a:ext cx="3816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978665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4134364" y="4122634"/>
            <a:ext cx="4673335" cy="791286"/>
            <a:chOff x="3771899" y="4122634"/>
            <a:chExt cx="4673335" cy="791286"/>
          </a:xfrm>
        </p:grpSpPr>
        <p:grpSp>
          <p:nvGrpSpPr>
            <p:cNvPr id="5" name="Group 4"/>
            <p:cNvGrpSpPr/>
            <p:nvPr/>
          </p:nvGrpSpPr>
          <p:grpSpPr>
            <a:xfrm>
              <a:off x="3771899" y="4190843"/>
              <a:ext cx="3246421" cy="723077"/>
              <a:chOff x="1311103" y="3883820"/>
              <a:chExt cx="3778880" cy="841674"/>
            </a:xfrm>
          </p:grpSpPr>
          <p:sp>
            <p:nvSpPr>
              <p:cNvPr id="103" name="Straight Connector 102"/>
              <p:cNvSpPr/>
              <p:nvPr/>
            </p:nvSpPr>
            <p:spPr>
              <a:xfrm flipH="1">
                <a:off x="1311103" y="4646810"/>
                <a:ext cx="2994216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4" name="Freeform: Shape 625"/>
              <p:cNvSpPr/>
              <p:nvPr/>
            </p:nvSpPr>
            <p:spPr>
              <a:xfrm>
                <a:off x="4144384" y="4337102"/>
                <a:ext cx="35134" cy="66254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6" h="102">
                    <a:moveTo>
                      <a:pt x="28" y="102"/>
                    </a:moveTo>
                    <a:lnTo>
                      <a:pt x="0" y="102"/>
                    </a:lnTo>
                    <a:lnTo>
                      <a:pt x="0" y="0"/>
                    </a:lnTo>
                    <a:lnTo>
                      <a:pt x="56" y="0"/>
                    </a:lnTo>
                    <a:lnTo>
                      <a:pt x="56" y="102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5" name="Freeform: Shape 626"/>
              <p:cNvSpPr/>
              <p:nvPr/>
            </p:nvSpPr>
            <p:spPr>
              <a:xfrm>
                <a:off x="4198044" y="4451245"/>
                <a:ext cx="61325" cy="23615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97" h="37">
                    <a:moveTo>
                      <a:pt x="48" y="37"/>
                    </a:moveTo>
                    <a:lnTo>
                      <a:pt x="0" y="37"/>
                    </a:lnTo>
                    <a:lnTo>
                      <a:pt x="0" y="0"/>
                    </a:lnTo>
                    <a:lnTo>
                      <a:pt x="97" y="0"/>
                    </a:lnTo>
                    <a:lnTo>
                      <a:pt x="97" y="37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6" name="Freeform: Shape 629"/>
              <p:cNvSpPr/>
              <p:nvPr/>
            </p:nvSpPr>
            <p:spPr>
              <a:xfrm>
                <a:off x="4313029" y="4377774"/>
                <a:ext cx="166089" cy="53135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61" h="82">
                    <a:moveTo>
                      <a:pt x="131" y="82"/>
                    </a:moveTo>
                    <a:lnTo>
                      <a:pt x="0" y="82"/>
                    </a:lnTo>
                    <a:lnTo>
                      <a:pt x="0" y="0"/>
                    </a:lnTo>
                    <a:lnTo>
                      <a:pt x="261" y="0"/>
                    </a:lnTo>
                    <a:lnTo>
                      <a:pt x="261" y="82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7" name="Straight Connector 106"/>
              <p:cNvSpPr/>
              <p:nvPr/>
            </p:nvSpPr>
            <p:spPr>
              <a:xfrm>
                <a:off x="3934857" y="3986809"/>
                <a:ext cx="0" cy="51822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8" name="Straight Connector 107"/>
              <p:cNvSpPr/>
              <p:nvPr/>
            </p:nvSpPr>
            <p:spPr>
              <a:xfrm>
                <a:off x="4106057" y="3986809"/>
                <a:ext cx="0" cy="51822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09" name="Straight Connector 108"/>
              <p:cNvSpPr/>
              <p:nvPr/>
            </p:nvSpPr>
            <p:spPr>
              <a:xfrm>
                <a:off x="3801986" y="4320705"/>
                <a:ext cx="120093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0" name="Straight Connector 109"/>
              <p:cNvSpPr/>
              <p:nvPr/>
            </p:nvSpPr>
            <p:spPr>
              <a:xfrm>
                <a:off x="3848619" y="4516187"/>
                <a:ext cx="0" cy="9052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1" name="Straight Connector 110"/>
              <p:cNvSpPr/>
              <p:nvPr/>
            </p:nvSpPr>
            <p:spPr>
              <a:xfrm>
                <a:off x="3961048" y="4573913"/>
                <a:ext cx="192280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2" name="Straight Connector 111"/>
              <p:cNvSpPr/>
              <p:nvPr/>
            </p:nvSpPr>
            <p:spPr>
              <a:xfrm>
                <a:off x="3952744" y="4475516"/>
                <a:ext cx="136065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3" name="Straight Connector 112"/>
              <p:cNvSpPr/>
              <p:nvPr/>
            </p:nvSpPr>
            <p:spPr>
              <a:xfrm>
                <a:off x="3952744" y="4306272"/>
                <a:ext cx="136065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4" name="Straight Connector 113"/>
              <p:cNvSpPr/>
              <p:nvPr/>
            </p:nvSpPr>
            <p:spPr>
              <a:xfrm>
                <a:off x="3952744" y="4140965"/>
                <a:ext cx="136065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5" name="Straight Connector 114"/>
              <p:cNvSpPr/>
              <p:nvPr/>
            </p:nvSpPr>
            <p:spPr>
              <a:xfrm>
                <a:off x="3973824" y="4329232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6" name="Straight Connector 115"/>
              <p:cNvSpPr/>
              <p:nvPr/>
            </p:nvSpPr>
            <p:spPr>
              <a:xfrm>
                <a:off x="4004487" y="4329232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7" name="Straight Connector 116"/>
              <p:cNvSpPr/>
              <p:nvPr/>
            </p:nvSpPr>
            <p:spPr>
              <a:xfrm>
                <a:off x="4036426" y="4329232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8" name="Straight Connector 117"/>
              <p:cNvSpPr/>
              <p:nvPr/>
            </p:nvSpPr>
            <p:spPr>
              <a:xfrm>
                <a:off x="4067728" y="4329232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19" name="Straight Connector 118"/>
              <p:cNvSpPr/>
              <p:nvPr/>
            </p:nvSpPr>
            <p:spPr>
              <a:xfrm>
                <a:off x="3973824" y="4161301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0" name="Straight Connector 119"/>
              <p:cNvSpPr/>
              <p:nvPr/>
            </p:nvSpPr>
            <p:spPr>
              <a:xfrm>
                <a:off x="4004487" y="4161301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1" name="Straight Connector 120"/>
              <p:cNvSpPr/>
              <p:nvPr/>
            </p:nvSpPr>
            <p:spPr>
              <a:xfrm>
                <a:off x="4036426" y="4161301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2" name="Straight Connector 121"/>
              <p:cNvSpPr/>
              <p:nvPr/>
            </p:nvSpPr>
            <p:spPr>
              <a:xfrm>
                <a:off x="4067728" y="4161301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3" name="Straight Connector 122"/>
              <p:cNvSpPr/>
              <p:nvPr/>
            </p:nvSpPr>
            <p:spPr>
              <a:xfrm>
                <a:off x="3973824" y="3998617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4" name="Straight Connector 123"/>
              <p:cNvSpPr/>
              <p:nvPr/>
            </p:nvSpPr>
            <p:spPr>
              <a:xfrm>
                <a:off x="4004487" y="3998617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5" name="Straight Connector 124"/>
              <p:cNvSpPr/>
              <p:nvPr/>
            </p:nvSpPr>
            <p:spPr>
              <a:xfrm>
                <a:off x="4036426" y="3998617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6" name="Straight Connector 125"/>
              <p:cNvSpPr/>
              <p:nvPr/>
            </p:nvSpPr>
            <p:spPr>
              <a:xfrm>
                <a:off x="4067728" y="3998617"/>
                <a:ext cx="0" cy="122013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7" name="Freeform: Shape 650"/>
              <p:cNvSpPr/>
              <p:nvPr/>
            </p:nvSpPr>
            <p:spPr>
              <a:xfrm>
                <a:off x="3945716" y="3883820"/>
                <a:ext cx="148841" cy="87902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34" h="135">
                    <a:moveTo>
                      <a:pt x="0" y="135"/>
                    </a:moveTo>
                    <a:lnTo>
                      <a:pt x="35" y="0"/>
                    </a:lnTo>
                    <a:lnTo>
                      <a:pt x="191" y="0"/>
                    </a:lnTo>
                    <a:lnTo>
                      <a:pt x="234" y="135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8" name="Freeform: Shape 653"/>
              <p:cNvSpPr/>
              <p:nvPr/>
            </p:nvSpPr>
            <p:spPr>
              <a:xfrm>
                <a:off x="3791124" y="4417133"/>
                <a:ext cx="105402" cy="4395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66" h="68" fill="none">
                    <a:moveTo>
                      <a:pt x="166" y="0"/>
                    </a:moveTo>
                    <a:lnTo>
                      <a:pt x="0" y="0"/>
                    </a:lnTo>
                    <a:lnTo>
                      <a:pt x="0" y="68"/>
                    </a:lnTo>
                    <a:lnTo>
                      <a:pt x="166" y="68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9" name="Freeform: Shape 654"/>
              <p:cNvSpPr/>
              <p:nvPr/>
            </p:nvSpPr>
            <p:spPr>
              <a:xfrm>
                <a:off x="4218486" y="3967785"/>
                <a:ext cx="275963" cy="41458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433" h="633">
                    <a:moveTo>
                      <a:pt x="0" y="633"/>
                    </a:moveTo>
                    <a:lnTo>
                      <a:pt x="0" y="57"/>
                    </a:lnTo>
                    <a:cubicBezTo>
                      <a:pt x="0" y="57"/>
                      <a:pt x="-8" y="0"/>
                      <a:pt x="210" y="0"/>
                    </a:cubicBezTo>
                    <a:cubicBezTo>
                      <a:pt x="443" y="0"/>
                      <a:pt x="433" y="60"/>
                      <a:pt x="433" y="60"/>
                    </a:cubicBezTo>
                    <a:lnTo>
                      <a:pt x="433" y="619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0" name="Freeform: Shape 658"/>
              <p:cNvSpPr/>
              <p:nvPr/>
            </p:nvSpPr>
            <p:spPr>
              <a:xfrm>
                <a:off x="4585797" y="4182539"/>
                <a:ext cx="456744" cy="192203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716" h="294" fill="none">
                    <a:moveTo>
                      <a:pt x="519" y="174"/>
                    </a:moveTo>
                    <a:lnTo>
                      <a:pt x="519" y="294"/>
                    </a:lnTo>
                    <a:lnTo>
                      <a:pt x="716" y="294"/>
                    </a:lnTo>
                    <a:lnTo>
                      <a:pt x="716" y="192"/>
                    </a:lnTo>
                    <a:lnTo>
                      <a:pt x="630" y="192"/>
                    </a:lnTo>
                    <a:lnTo>
                      <a:pt x="630" y="108"/>
                    </a:lnTo>
                    <a:lnTo>
                      <a:pt x="178" y="108"/>
                    </a:lnTo>
                    <a:lnTo>
                      <a:pt x="178" y="0"/>
                    </a:lnTo>
                    <a:lnTo>
                      <a:pt x="0" y="0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1" name="Straight Connector 130"/>
              <p:cNvSpPr/>
              <p:nvPr/>
            </p:nvSpPr>
            <p:spPr>
              <a:xfrm>
                <a:off x="4138635" y="4268226"/>
                <a:ext cx="0" cy="2952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2" name="Freeform: Shape 665"/>
              <p:cNvSpPr/>
              <p:nvPr/>
            </p:nvSpPr>
            <p:spPr>
              <a:xfrm>
                <a:off x="4523195" y="4025512"/>
                <a:ext cx="35773" cy="379158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7" h="579">
                    <a:moveTo>
                      <a:pt x="28" y="579"/>
                    </a:moveTo>
                    <a:lnTo>
                      <a:pt x="0" y="579"/>
                    </a:lnTo>
                    <a:lnTo>
                      <a:pt x="0" y="0"/>
                    </a:lnTo>
                    <a:lnTo>
                      <a:pt x="57" y="0"/>
                    </a:lnTo>
                    <a:lnTo>
                      <a:pt x="57" y="579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3" name="Straight Connector 132"/>
              <p:cNvSpPr/>
              <p:nvPr/>
            </p:nvSpPr>
            <p:spPr>
              <a:xfrm>
                <a:off x="3479388" y="4677606"/>
                <a:ext cx="0" cy="47888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4" name="Straight Connector 133"/>
              <p:cNvSpPr/>
              <p:nvPr/>
            </p:nvSpPr>
            <p:spPr>
              <a:xfrm>
                <a:off x="1347461" y="4695926"/>
                <a:ext cx="3543579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5" name="Freeform: Shape 628"/>
              <p:cNvSpPr/>
              <p:nvPr/>
            </p:nvSpPr>
            <p:spPr>
              <a:xfrm>
                <a:off x="4420786" y="4265857"/>
                <a:ext cx="31302" cy="74782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0" h="115">
                    <a:moveTo>
                      <a:pt x="25" y="115"/>
                    </a:moveTo>
                    <a:lnTo>
                      <a:pt x="0" y="115"/>
                    </a:lnTo>
                    <a:lnTo>
                      <a:pt x="0" y="0"/>
                    </a:lnTo>
                    <a:lnTo>
                      <a:pt x="50" y="0"/>
                    </a:lnTo>
                    <a:lnTo>
                      <a:pt x="50" y="115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6" name="Freeform: Shape 626"/>
              <p:cNvSpPr/>
              <p:nvPr/>
            </p:nvSpPr>
            <p:spPr>
              <a:xfrm>
                <a:off x="4814718" y="4301560"/>
                <a:ext cx="61325" cy="23616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97" h="37">
                    <a:moveTo>
                      <a:pt x="48" y="37"/>
                    </a:moveTo>
                    <a:lnTo>
                      <a:pt x="0" y="37"/>
                    </a:lnTo>
                    <a:lnTo>
                      <a:pt x="0" y="0"/>
                    </a:lnTo>
                    <a:lnTo>
                      <a:pt x="97" y="0"/>
                    </a:lnTo>
                    <a:lnTo>
                      <a:pt x="97" y="37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7" name="Straight Connector 136"/>
              <p:cNvSpPr/>
              <p:nvPr/>
            </p:nvSpPr>
            <p:spPr>
              <a:xfrm>
                <a:off x="5089983" y="4339921"/>
                <a:ext cx="0" cy="29521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8" name="Freeform: Shape 627"/>
              <p:cNvSpPr/>
              <p:nvPr/>
            </p:nvSpPr>
            <p:spPr>
              <a:xfrm>
                <a:off x="4270870" y="4023784"/>
                <a:ext cx="31352" cy="31352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3" h="53">
                    <a:moveTo>
                      <a:pt x="27" y="53"/>
                    </a:moveTo>
                    <a:lnTo>
                      <a:pt x="0" y="53"/>
                    </a:lnTo>
                    <a:lnTo>
                      <a:pt x="0" y="0"/>
                    </a:lnTo>
                    <a:lnTo>
                      <a:pt x="53" y="0"/>
                    </a:lnTo>
                    <a:lnTo>
                      <a:pt x="53" y="53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9" name="Straight Connector 138"/>
              <p:cNvSpPr/>
              <p:nvPr/>
            </p:nvSpPr>
            <p:spPr>
              <a:xfrm>
                <a:off x="4332848" y="4022843"/>
                <a:ext cx="0" cy="36779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6320110" y="4645833"/>
              <a:ext cx="2125124" cy="219149"/>
              <a:chOff x="6320110" y="4645833"/>
              <a:chExt cx="2125124" cy="219149"/>
            </a:xfrm>
          </p:grpSpPr>
          <p:sp>
            <p:nvSpPr>
              <p:cNvPr id="69" name="Freeform 14"/>
              <p:cNvSpPr>
                <a:spLocks noChangeArrowheads="1"/>
              </p:cNvSpPr>
              <p:nvPr/>
            </p:nvSpPr>
            <p:spPr bwMode="auto">
              <a:xfrm>
                <a:off x="7802055" y="4645833"/>
                <a:ext cx="615740" cy="174880"/>
              </a:xfrm>
              <a:custGeom>
                <a:avLst/>
                <a:gdLst>
                  <a:gd name="T0" fmla="*/ 0 w 7420"/>
                  <a:gd name="T1" fmla="*/ 1393 h 2108"/>
                  <a:gd name="T2" fmla="*/ 841 w 7420"/>
                  <a:gd name="T3" fmla="*/ 110 h 2108"/>
                  <a:gd name="T4" fmla="*/ 3717 w 7420"/>
                  <a:gd name="T5" fmla="*/ 110 h 2108"/>
                  <a:gd name="T6" fmla="*/ 7047 w 7420"/>
                  <a:gd name="T7" fmla="*/ 1429 h 2108"/>
                  <a:gd name="T8" fmla="*/ 6883 w 7420"/>
                  <a:gd name="T9" fmla="*/ 2107 h 2108"/>
                  <a:gd name="T10" fmla="*/ 4792 w 7420"/>
                  <a:gd name="T11" fmla="*/ 2107 h 2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420" h="2108">
                    <a:moveTo>
                      <a:pt x="0" y="1393"/>
                    </a:moveTo>
                    <a:cubicBezTo>
                      <a:pt x="0" y="1393"/>
                      <a:pt x="384" y="287"/>
                      <a:pt x="841" y="110"/>
                    </a:cubicBezTo>
                    <a:cubicBezTo>
                      <a:pt x="841" y="110"/>
                      <a:pt x="3248" y="110"/>
                      <a:pt x="3717" y="110"/>
                    </a:cubicBezTo>
                    <a:cubicBezTo>
                      <a:pt x="4070" y="110"/>
                      <a:pt x="5619" y="0"/>
                      <a:pt x="7047" y="1429"/>
                    </a:cubicBezTo>
                    <a:cubicBezTo>
                      <a:pt x="7419" y="1802"/>
                      <a:pt x="7064" y="2107"/>
                      <a:pt x="6883" y="2107"/>
                    </a:cubicBezTo>
                    <a:cubicBezTo>
                      <a:pt x="6703" y="2107"/>
                      <a:pt x="4792" y="2107"/>
                      <a:pt x="4792" y="2107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0" name="Freeform 15"/>
              <p:cNvSpPr>
                <a:spLocks noChangeArrowheads="1"/>
              </p:cNvSpPr>
              <p:nvPr/>
            </p:nvSpPr>
            <p:spPr bwMode="auto">
              <a:xfrm>
                <a:off x="7963399" y="4780103"/>
                <a:ext cx="313541" cy="38415"/>
              </a:xfrm>
              <a:custGeom>
                <a:avLst/>
                <a:gdLst>
                  <a:gd name="T0" fmla="*/ 0 w 3779"/>
                  <a:gd name="T1" fmla="*/ 455 h 464"/>
                  <a:gd name="T2" fmla="*/ 1349 w 3779"/>
                  <a:gd name="T3" fmla="*/ 455 h 464"/>
                  <a:gd name="T4" fmla="*/ 1981 w 3779"/>
                  <a:gd name="T5" fmla="*/ 223 h 464"/>
                  <a:gd name="T6" fmla="*/ 3316 w 3779"/>
                  <a:gd name="T7" fmla="*/ 54 h 464"/>
                  <a:gd name="T8" fmla="*/ 3550 w 3779"/>
                  <a:gd name="T9" fmla="*/ 463 h 4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79" h="464">
                    <a:moveTo>
                      <a:pt x="0" y="455"/>
                    </a:moveTo>
                    <a:cubicBezTo>
                      <a:pt x="0" y="455"/>
                      <a:pt x="1138" y="455"/>
                      <a:pt x="1349" y="455"/>
                    </a:cubicBezTo>
                    <a:cubicBezTo>
                      <a:pt x="1561" y="455"/>
                      <a:pt x="1755" y="452"/>
                      <a:pt x="1981" y="223"/>
                    </a:cubicBezTo>
                    <a:cubicBezTo>
                      <a:pt x="2204" y="0"/>
                      <a:pt x="2429" y="54"/>
                      <a:pt x="3316" y="54"/>
                    </a:cubicBezTo>
                    <a:cubicBezTo>
                      <a:pt x="3778" y="54"/>
                      <a:pt x="3634" y="438"/>
                      <a:pt x="3550" y="463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1" name="Line 16"/>
              <p:cNvSpPr>
                <a:spLocks noChangeShapeType="1"/>
              </p:cNvSpPr>
              <p:nvPr/>
            </p:nvSpPr>
            <p:spPr bwMode="auto">
              <a:xfrm>
                <a:off x="7893154" y="4739127"/>
                <a:ext cx="223539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2" name="Freeform 17"/>
              <p:cNvSpPr>
                <a:spLocks noChangeArrowheads="1"/>
              </p:cNvSpPr>
              <p:nvPr/>
            </p:nvSpPr>
            <p:spPr bwMode="auto">
              <a:xfrm>
                <a:off x="7410221" y="4654980"/>
                <a:ext cx="406469" cy="106465"/>
              </a:xfrm>
              <a:custGeom>
                <a:avLst/>
                <a:gdLst>
                  <a:gd name="T0" fmla="*/ 0 w 4899"/>
                  <a:gd name="T1" fmla="*/ 1283 h 1284"/>
                  <a:gd name="T2" fmla="*/ 841 w 4899"/>
                  <a:gd name="T3" fmla="*/ 0 h 1284"/>
                  <a:gd name="T4" fmla="*/ 4898 w 4899"/>
                  <a:gd name="T5" fmla="*/ 0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99" h="1284">
                    <a:moveTo>
                      <a:pt x="0" y="1283"/>
                    </a:moveTo>
                    <a:cubicBezTo>
                      <a:pt x="0" y="1283"/>
                      <a:pt x="384" y="177"/>
                      <a:pt x="841" y="0"/>
                    </a:cubicBezTo>
                    <a:cubicBezTo>
                      <a:pt x="841" y="0"/>
                      <a:pt x="4430" y="0"/>
                      <a:pt x="4898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7473514" y="4739127"/>
                <a:ext cx="282809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4" name="Freeform 19"/>
              <p:cNvSpPr>
                <a:spLocks noChangeArrowheads="1"/>
              </p:cNvSpPr>
              <p:nvPr/>
            </p:nvSpPr>
            <p:spPr bwMode="auto">
              <a:xfrm>
                <a:off x="6614500" y="4654980"/>
                <a:ext cx="406469" cy="106465"/>
              </a:xfrm>
              <a:custGeom>
                <a:avLst/>
                <a:gdLst>
                  <a:gd name="T0" fmla="*/ 0 w 4900"/>
                  <a:gd name="T1" fmla="*/ 1283 h 1284"/>
                  <a:gd name="T2" fmla="*/ 841 w 4900"/>
                  <a:gd name="T3" fmla="*/ 0 h 1284"/>
                  <a:gd name="T4" fmla="*/ 4899 w 4900"/>
                  <a:gd name="T5" fmla="*/ 0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900" h="1284">
                    <a:moveTo>
                      <a:pt x="0" y="1283"/>
                    </a:moveTo>
                    <a:cubicBezTo>
                      <a:pt x="0" y="1283"/>
                      <a:pt x="384" y="177"/>
                      <a:pt x="841" y="0"/>
                    </a:cubicBezTo>
                    <a:cubicBezTo>
                      <a:pt x="841" y="0"/>
                      <a:pt x="4431" y="0"/>
                      <a:pt x="4899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5" name="Line 20"/>
              <p:cNvSpPr>
                <a:spLocks noChangeShapeType="1"/>
              </p:cNvSpPr>
              <p:nvPr/>
            </p:nvSpPr>
            <p:spPr bwMode="auto">
              <a:xfrm>
                <a:off x="6723526" y="4739127"/>
                <a:ext cx="127319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6" name="Line 21"/>
              <p:cNvSpPr>
                <a:spLocks noChangeShapeType="1"/>
              </p:cNvSpPr>
              <p:nvPr/>
            </p:nvSpPr>
            <p:spPr bwMode="auto">
              <a:xfrm>
                <a:off x="6585175" y="4654980"/>
                <a:ext cx="34445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7" name="Line 22"/>
              <p:cNvSpPr>
                <a:spLocks noChangeShapeType="1"/>
              </p:cNvSpPr>
              <p:nvPr/>
            </p:nvSpPr>
            <p:spPr bwMode="auto">
              <a:xfrm>
                <a:off x="6457360" y="4690468"/>
                <a:ext cx="108481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8" name="Freeform 23"/>
              <p:cNvSpPr>
                <a:spLocks noChangeArrowheads="1"/>
              </p:cNvSpPr>
              <p:nvPr/>
            </p:nvSpPr>
            <p:spPr bwMode="auto">
              <a:xfrm>
                <a:off x="7526564" y="4679126"/>
                <a:ext cx="238905" cy="40976"/>
              </a:xfrm>
              <a:custGeom>
                <a:avLst/>
                <a:gdLst>
                  <a:gd name="T0" fmla="*/ 0 w 2878"/>
                  <a:gd name="T1" fmla="*/ 480 h 494"/>
                  <a:gd name="T2" fmla="*/ 440 w 2878"/>
                  <a:gd name="T3" fmla="*/ 0 h 494"/>
                  <a:gd name="T4" fmla="*/ 2877 w 2878"/>
                  <a:gd name="T5" fmla="*/ 0 h 494"/>
                  <a:gd name="T6" fmla="*/ 2589 w 2878"/>
                  <a:gd name="T7" fmla="*/ 493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78" h="494">
                    <a:moveTo>
                      <a:pt x="0" y="480"/>
                    </a:moveTo>
                    <a:cubicBezTo>
                      <a:pt x="0" y="480"/>
                      <a:pt x="240" y="99"/>
                      <a:pt x="440" y="0"/>
                    </a:cubicBezTo>
                    <a:lnTo>
                      <a:pt x="2877" y="0"/>
                    </a:lnTo>
                    <a:cubicBezTo>
                      <a:pt x="2877" y="0"/>
                      <a:pt x="2705" y="274"/>
                      <a:pt x="2589" y="493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79" name="Freeform 24"/>
              <p:cNvSpPr>
                <a:spLocks noChangeArrowheads="1"/>
              </p:cNvSpPr>
              <p:nvPr/>
            </p:nvSpPr>
            <p:spPr bwMode="auto">
              <a:xfrm>
                <a:off x="7912910" y="4757054"/>
                <a:ext cx="177441" cy="23049"/>
              </a:xfrm>
              <a:custGeom>
                <a:avLst/>
                <a:gdLst>
                  <a:gd name="T0" fmla="*/ 2139 w 2140"/>
                  <a:gd name="T1" fmla="*/ 0 h 278"/>
                  <a:gd name="T2" fmla="*/ 2040 w 2140"/>
                  <a:gd name="T3" fmla="*/ 277 h 278"/>
                  <a:gd name="T4" fmla="*/ 0 w 2140"/>
                  <a:gd name="T5" fmla="*/ 277 h 278"/>
                  <a:gd name="T6" fmla="*/ 88 w 2140"/>
                  <a:gd name="T7" fmla="*/ 17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40" h="278">
                    <a:moveTo>
                      <a:pt x="2139" y="0"/>
                    </a:moveTo>
                    <a:cubicBezTo>
                      <a:pt x="2074" y="169"/>
                      <a:pt x="2040" y="277"/>
                      <a:pt x="2040" y="277"/>
                    </a:cubicBezTo>
                    <a:lnTo>
                      <a:pt x="0" y="277"/>
                    </a:lnTo>
                    <a:cubicBezTo>
                      <a:pt x="0" y="277"/>
                      <a:pt x="34" y="158"/>
                      <a:pt x="88" y="17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80" name="Freeform 25"/>
              <p:cNvSpPr>
                <a:spLocks noChangeArrowheads="1"/>
              </p:cNvSpPr>
              <p:nvPr/>
            </p:nvSpPr>
            <p:spPr bwMode="auto">
              <a:xfrm>
                <a:off x="7935227" y="4679126"/>
                <a:ext cx="185124" cy="42805"/>
              </a:xfrm>
              <a:custGeom>
                <a:avLst/>
                <a:gdLst>
                  <a:gd name="T0" fmla="*/ 0 w 2233"/>
                  <a:gd name="T1" fmla="*/ 480 h 517"/>
                  <a:gd name="T2" fmla="*/ 421 w 2233"/>
                  <a:gd name="T3" fmla="*/ 0 h 517"/>
                  <a:gd name="T4" fmla="*/ 2015 w 2233"/>
                  <a:gd name="T5" fmla="*/ 0 h 517"/>
                  <a:gd name="T6" fmla="*/ 2207 w 2233"/>
                  <a:gd name="T7" fmla="*/ 167 h 517"/>
                  <a:gd name="T8" fmla="*/ 2043 w 2233"/>
                  <a:gd name="T9" fmla="*/ 516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33" h="517">
                    <a:moveTo>
                      <a:pt x="0" y="480"/>
                    </a:moveTo>
                    <a:cubicBezTo>
                      <a:pt x="0" y="480"/>
                      <a:pt x="220" y="99"/>
                      <a:pt x="421" y="0"/>
                    </a:cubicBezTo>
                    <a:lnTo>
                      <a:pt x="2015" y="0"/>
                    </a:lnTo>
                    <a:cubicBezTo>
                      <a:pt x="2230" y="0"/>
                      <a:pt x="2232" y="116"/>
                      <a:pt x="2207" y="167"/>
                    </a:cubicBezTo>
                    <a:cubicBezTo>
                      <a:pt x="2145" y="288"/>
                      <a:pt x="2091" y="404"/>
                      <a:pt x="2043" y="516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81" name="Freeform 26"/>
              <p:cNvSpPr>
                <a:spLocks noChangeArrowheads="1"/>
              </p:cNvSpPr>
              <p:nvPr/>
            </p:nvSpPr>
            <p:spPr bwMode="auto">
              <a:xfrm>
                <a:off x="7504612" y="4755956"/>
                <a:ext cx="223174" cy="18293"/>
              </a:xfrm>
              <a:custGeom>
                <a:avLst/>
                <a:gdLst>
                  <a:gd name="T0" fmla="*/ 59 w 2692"/>
                  <a:gd name="T1" fmla="*/ 20 h 221"/>
                  <a:gd name="T2" fmla="*/ 0 w 2692"/>
                  <a:gd name="T3" fmla="*/ 220 h 221"/>
                  <a:gd name="T4" fmla="*/ 2606 w 2692"/>
                  <a:gd name="T5" fmla="*/ 220 h 221"/>
                  <a:gd name="T6" fmla="*/ 2691 w 2692"/>
                  <a:gd name="T7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2" h="221">
                    <a:moveTo>
                      <a:pt x="59" y="20"/>
                    </a:moveTo>
                    <a:cubicBezTo>
                      <a:pt x="59" y="20"/>
                      <a:pt x="8" y="178"/>
                      <a:pt x="0" y="220"/>
                    </a:cubicBezTo>
                    <a:lnTo>
                      <a:pt x="2606" y="220"/>
                    </a:lnTo>
                    <a:cubicBezTo>
                      <a:pt x="2606" y="220"/>
                      <a:pt x="2657" y="76"/>
                      <a:pt x="2691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82" name="Freeform 27"/>
              <p:cNvSpPr>
                <a:spLocks noChangeArrowheads="1"/>
              </p:cNvSpPr>
              <p:nvPr/>
            </p:nvSpPr>
            <p:spPr bwMode="auto">
              <a:xfrm>
                <a:off x="6800356" y="4679492"/>
                <a:ext cx="188051" cy="93294"/>
              </a:xfrm>
              <a:custGeom>
                <a:avLst/>
                <a:gdLst>
                  <a:gd name="T0" fmla="*/ 265 w 2267"/>
                  <a:gd name="T1" fmla="*/ 487 h 1126"/>
                  <a:gd name="T2" fmla="*/ 708 w 2267"/>
                  <a:gd name="T3" fmla="*/ 0 h 1126"/>
                  <a:gd name="T4" fmla="*/ 2266 w 2267"/>
                  <a:gd name="T5" fmla="*/ 0 h 1126"/>
                  <a:gd name="T6" fmla="*/ 1733 w 2267"/>
                  <a:gd name="T7" fmla="*/ 1125 h 1126"/>
                  <a:gd name="T8" fmla="*/ 0 w 2267"/>
                  <a:gd name="T9" fmla="*/ 1125 h 1126"/>
                  <a:gd name="T10" fmla="*/ 68 w 2267"/>
                  <a:gd name="T11" fmla="*/ 902 h 1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67" h="1126">
                    <a:moveTo>
                      <a:pt x="265" y="487"/>
                    </a:moveTo>
                    <a:cubicBezTo>
                      <a:pt x="265" y="487"/>
                      <a:pt x="516" y="93"/>
                      <a:pt x="708" y="0"/>
                    </a:cubicBezTo>
                    <a:lnTo>
                      <a:pt x="2266" y="0"/>
                    </a:lnTo>
                    <a:cubicBezTo>
                      <a:pt x="2266" y="0"/>
                      <a:pt x="1899" y="558"/>
                      <a:pt x="1733" y="1125"/>
                    </a:cubicBezTo>
                    <a:lnTo>
                      <a:pt x="0" y="1125"/>
                    </a:lnTo>
                    <a:cubicBezTo>
                      <a:pt x="0" y="1125"/>
                      <a:pt x="14" y="1009"/>
                      <a:pt x="68" y="902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83" name="Line 28"/>
              <p:cNvSpPr>
                <a:spLocks noChangeShapeType="1"/>
              </p:cNvSpPr>
              <p:nvPr/>
            </p:nvSpPr>
            <p:spPr bwMode="auto">
              <a:xfrm>
                <a:off x="7192169" y="4818884"/>
                <a:ext cx="728424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84" name="Line 29"/>
              <p:cNvSpPr>
                <a:spLocks noChangeShapeType="1"/>
              </p:cNvSpPr>
              <p:nvPr/>
            </p:nvSpPr>
            <p:spPr bwMode="auto">
              <a:xfrm>
                <a:off x="6462480" y="4846323"/>
                <a:ext cx="1982754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85" name="Line 30"/>
              <p:cNvSpPr>
                <a:spLocks noChangeShapeType="1"/>
              </p:cNvSpPr>
              <p:nvPr/>
            </p:nvSpPr>
            <p:spPr bwMode="auto">
              <a:xfrm>
                <a:off x="6935337" y="4818884"/>
                <a:ext cx="201222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86" name="Line 31"/>
              <p:cNvSpPr>
                <a:spLocks noChangeShapeType="1"/>
              </p:cNvSpPr>
              <p:nvPr/>
            </p:nvSpPr>
            <p:spPr bwMode="auto">
              <a:xfrm>
                <a:off x="6854116" y="4818884"/>
                <a:ext cx="42074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87" name="Freeform 34"/>
              <p:cNvSpPr>
                <a:spLocks noChangeArrowheads="1"/>
              </p:cNvSpPr>
              <p:nvPr/>
            </p:nvSpPr>
            <p:spPr bwMode="auto">
              <a:xfrm>
                <a:off x="6871302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grpSp>
            <p:nvGrpSpPr>
              <p:cNvPr id="88" name="Group 87"/>
              <p:cNvGrpSpPr/>
              <p:nvPr/>
            </p:nvGrpSpPr>
            <p:grpSpPr>
              <a:xfrm>
                <a:off x="7237901" y="4847055"/>
                <a:ext cx="578056" cy="17927"/>
                <a:chOff x="7237901" y="4847055"/>
                <a:chExt cx="578056" cy="17927"/>
              </a:xfrm>
            </p:grpSpPr>
            <p:sp>
              <p:nvSpPr>
                <p:cNvPr id="99" name="Freeform 32"/>
                <p:cNvSpPr>
                  <a:spLocks noChangeArrowheads="1"/>
                </p:cNvSpPr>
                <p:nvPr/>
              </p:nvSpPr>
              <p:spPr bwMode="auto">
                <a:xfrm>
                  <a:off x="7237901" y="4847055"/>
                  <a:ext cx="44635" cy="17927"/>
                </a:xfrm>
                <a:custGeom>
                  <a:avLst/>
                  <a:gdLst>
                    <a:gd name="T0" fmla="*/ 426 w 540"/>
                    <a:gd name="T1" fmla="*/ 217 h 218"/>
                    <a:gd name="T2" fmla="*/ 0 w 540"/>
                    <a:gd name="T3" fmla="*/ 217 h 218"/>
                    <a:gd name="T4" fmla="*/ 113 w 540"/>
                    <a:gd name="T5" fmla="*/ 0 h 218"/>
                    <a:gd name="T6" fmla="*/ 539 w 540"/>
                    <a:gd name="T7" fmla="*/ 0 h 218"/>
                    <a:gd name="T8" fmla="*/ 426 w 540"/>
                    <a:gd name="T9" fmla="*/ 21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0" h="218">
                      <a:moveTo>
                        <a:pt x="426" y="217"/>
                      </a:moveTo>
                      <a:lnTo>
                        <a:pt x="0" y="217"/>
                      </a:lnTo>
                      <a:lnTo>
                        <a:pt x="113" y="0"/>
                      </a:lnTo>
                      <a:lnTo>
                        <a:pt x="539" y="0"/>
                      </a:lnTo>
                      <a:lnTo>
                        <a:pt x="426" y="217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solidFill>
                      <a:srgbClr val="282828"/>
                    </a:solidFill>
                  </a:endParaRPr>
                </a:p>
              </p:txBody>
            </p:sp>
            <p:sp>
              <p:nvSpPr>
                <p:cNvPr id="100" name="Freeform 33"/>
                <p:cNvSpPr>
                  <a:spLocks noChangeArrowheads="1"/>
                </p:cNvSpPr>
                <p:nvPr/>
              </p:nvSpPr>
              <p:spPr bwMode="auto">
                <a:xfrm>
                  <a:off x="7490710" y="4847055"/>
                  <a:ext cx="44635" cy="17927"/>
                </a:xfrm>
                <a:custGeom>
                  <a:avLst/>
                  <a:gdLst>
                    <a:gd name="T0" fmla="*/ 426 w 540"/>
                    <a:gd name="T1" fmla="*/ 217 h 218"/>
                    <a:gd name="T2" fmla="*/ 0 w 540"/>
                    <a:gd name="T3" fmla="*/ 217 h 218"/>
                    <a:gd name="T4" fmla="*/ 113 w 540"/>
                    <a:gd name="T5" fmla="*/ 0 h 218"/>
                    <a:gd name="T6" fmla="*/ 539 w 540"/>
                    <a:gd name="T7" fmla="*/ 0 h 218"/>
                    <a:gd name="T8" fmla="*/ 426 w 540"/>
                    <a:gd name="T9" fmla="*/ 21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0" h="218">
                      <a:moveTo>
                        <a:pt x="426" y="217"/>
                      </a:moveTo>
                      <a:lnTo>
                        <a:pt x="0" y="217"/>
                      </a:lnTo>
                      <a:lnTo>
                        <a:pt x="113" y="0"/>
                      </a:lnTo>
                      <a:lnTo>
                        <a:pt x="539" y="0"/>
                      </a:lnTo>
                      <a:lnTo>
                        <a:pt x="426" y="217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solidFill>
                      <a:srgbClr val="282828"/>
                    </a:solidFill>
                  </a:endParaRPr>
                </a:p>
              </p:txBody>
            </p:sp>
            <p:sp>
              <p:nvSpPr>
                <p:cNvPr id="101" name="Freeform 35"/>
                <p:cNvSpPr>
                  <a:spLocks noChangeArrowheads="1"/>
                </p:cNvSpPr>
                <p:nvPr/>
              </p:nvSpPr>
              <p:spPr bwMode="auto">
                <a:xfrm>
                  <a:off x="7630833" y="4847055"/>
                  <a:ext cx="45001" cy="17927"/>
                </a:xfrm>
                <a:custGeom>
                  <a:avLst/>
                  <a:gdLst>
                    <a:gd name="T0" fmla="*/ 429 w 543"/>
                    <a:gd name="T1" fmla="*/ 217 h 218"/>
                    <a:gd name="T2" fmla="*/ 0 w 543"/>
                    <a:gd name="T3" fmla="*/ 217 h 218"/>
                    <a:gd name="T4" fmla="*/ 113 w 543"/>
                    <a:gd name="T5" fmla="*/ 0 h 218"/>
                    <a:gd name="T6" fmla="*/ 542 w 543"/>
                    <a:gd name="T7" fmla="*/ 0 h 218"/>
                    <a:gd name="T8" fmla="*/ 429 w 543"/>
                    <a:gd name="T9" fmla="*/ 21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3" h="218">
                      <a:moveTo>
                        <a:pt x="429" y="217"/>
                      </a:moveTo>
                      <a:lnTo>
                        <a:pt x="0" y="217"/>
                      </a:lnTo>
                      <a:lnTo>
                        <a:pt x="113" y="0"/>
                      </a:lnTo>
                      <a:lnTo>
                        <a:pt x="542" y="0"/>
                      </a:lnTo>
                      <a:lnTo>
                        <a:pt x="429" y="217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solidFill>
                      <a:srgbClr val="282828"/>
                    </a:solidFill>
                  </a:endParaRPr>
                </a:p>
              </p:txBody>
            </p:sp>
            <p:sp>
              <p:nvSpPr>
                <p:cNvPr id="102" name="Freeform 36"/>
                <p:cNvSpPr>
                  <a:spLocks noChangeArrowheads="1"/>
                </p:cNvSpPr>
                <p:nvPr/>
              </p:nvSpPr>
              <p:spPr bwMode="auto">
                <a:xfrm>
                  <a:off x="7770957" y="4847055"/>
                  <a:ext cx="45000" cy="17927"/>
                </a:xfrm>
                <a:custGeom>
                  <a:avLst/>
                  <a:gdLst>
                    <a:gd name="T0" fmla="*/ 429 w 543"/>
                    <a:gd name="T1" fmla="*/ 217 h 218"/>
                    <a:gd name="T2" fmla="*/ 0 w 543"/>
                    <a:gd name="T3" fmla="*/ 217 h 218"/>
                    <a:gd name="T4" fmla="*/ 113 w 543"/>
                    <a:gd name="T5" fmla="*/ 0 h 218"/>
                    <a:gd name="T6" fmla="*/ 542 w 543"/>
                    <a:gd name="T7" fmla="*/ 0 h 218"/>
                    <a:gd name="T8" fmla="*/ 429 w 543"/>
                    <a:gd name="T9" fmla="*/ 217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3" h="218">
                      <a:moveTo>
                        <a:pt x="429" y="217"/>
                      </a:moveTo>
                      <a:lnTo>
                        <a:pt x="0" y="217"/>
                      </a:lnTo>
                      <a:lnTo>
                        <a:pt x="113" y="0"/>
                      </a:lnTo>
                      <a:lnTo>
                        <a:pt x="542" y="0"/>
                      </a:lnTo>
                      <a:lnTo>
                        <a:pt x="429" y="217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>
                    <a:solidFill>
                      <a:srgbClr val="282828"/>
                    </a:solidFill>
                  </a:endParaRPr>
                </a:p>
              </p:txBody>
            </p:sp>
          </p:grpSp>
          <p:sp>
            <p:nvSpPr>
              <p:cNvPr id="89" name="Freeform 37"/>
              <p:cNvSpPr>
                <a:spLocks noChangeArrowheads="1"/>
              </p:cNvSpPr>
              <p:nvPr/>
            </p:nvSpPr>
            <p:spPr bwMode="auto">
              <a:xfrm>
                <a:off x="7911447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0" name="Freeform 38"/>
              <p:cNvSpPr>
                <a:spLocks noChangeArrowheads="1"/>
              </p:cNvSpPr>
              <p:nvPr/>
            </p:nvSpPr>
            <p:spPr bwMode="auto">
              <a:xfrm>
                <a:off x="8051936" y="4847055"/>
                <a:ext cx="45000" cy="17927"/>
              </a:xfrm>
              <a:custGeom>
                <a:avLst/>
                <a:gdLst>
                  <a:gd name="T0" fmla="*/ 428 w 542"/>
                  <a:gd name="T1" fmla="*/ 217 h 218"/>
                  <a:gd name="T2" fmla="*/ 0 w 542"/>
                  <a:gd name="T3" fmla="*/ 217 h 218"/>
                  <a:gd name="T4" fmla="*/ 112 w 542"/>
                  <a:gd name="T5" fmla="*/ 0 h 218"/>
                  <a:gd name="T6" fmla="*/ 541 w 542"/>
                  <a:gd name="T7" fmla="*/ 0 h 218"/>
                  <a:gd name="T8" fmla="*/ 428 w 542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2" h="218">
                    <a:moveTo>
                      <a:pt x="428" y="217"/>
                    </a:moveTo>
                    <a:lnTo>
                      <a:pt x="0" y="217"/>
                    </a:lnTo>
                    <a:lnTo>
                      <a:pt x="112" y="0"/>
                    </a:lnTo>
                    <a:lnTo>
                      <a:pt x="541" y="0"/>
                    </a:lnTo>
                    <a:lnTo>
                      <a:pt x="428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1" name="Freeform 39"/>
              <p:cNvSpPr>
                <a:spLocks noChangeArrowheads="1"/>
              </p:cNvSpPr>
              <p:nvPr/>
            </p:nvSpPr>
            <p:spPr bwMode="auto">
              <a:xfrm>
                <a:off x="8286086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2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2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2" name="Freeform 40"/>
              <p:cNvSpPr>
                <a:spLocks noChangeArrowheads="1"/>
              </p:cNvSpPr>
              <p:nvPr/>
            </p:nvSpPr>
            <p:spPr bwMode="auto">
              <a:xfrm>
                <a:off x="8209987" y="4693761"/>
                <a:ext cx="151099" cy="49025"/>
              </a:xfrm>
              <a:custGeom>
                <a:avLst/>
                <a:gdLst>
                  <a:gd name="T0" fmla="*/ 1820 w 1821"/>
                  <a:gd name="T1" fmla="*/ 592 h 593"/>
                  <a:gd name="T2" fmla="*/ 297 w 1821"/>
                  <a:gd name="T3" fmla="*/ 592 h 593"/>
                  <a:gd name="T4" fmla="*/ 0 w 1821"/>
                  <a:gd name="T5" fmla="*/ 297 h 593"/>
                  <a:gd name="T6" fmla="*/ 0 w 1821"/>
                  <a:gd name="T7" fmla="*/ 297 h 593"/>
                  <a:gd name="T8" fmla="*/ 297 w 1821"/>
                  <a:gd name="T9" fmla="*/ 0 h 593"/>
                  <a:gd name="T10" fmla="*/ 948 w 1821"/>
                  <a:gd name="T11" fmla="*/ 0 h 5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21" h="593">
                    <a:moveTo>
                      <a:pt x="1820" y="592"/>
                    </a:moveTo>
                    <a:lnTo>
                      <a:pt x="297" y="592"/>
                    </a:lnTo>
                    <a:cubicBezTo>
                      <a:pt x="133" y="592"/>
                      <a:pt x="0" y="459"/>
                      <a:pt x="0" y="297"/>
                    </a:cubicBezTo>
                    <a:lnTo>
                      <a:pt x="0" y="297"/>
                    </a:lnTo>
                    <a:cubicBezTo>
                      <a:pt x="0" y="133"/>
                      <a:pt x="133" y="0"/>
                      <a:pt x="297" y="0"/>
                    </a:cubicBezTo>
                    <a:lnTo>
                      <a:pt x="948" y="0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3" name="Freeform 17"/>
              <p:cNvSpPr>
                <a:spLocks noChangeArrowheads="1"/>
              </p:cNvSpPr>
              <p:nvPr/>
            </p:nvSpPr>
            <p:spPr bwMode="auto">
              <a:xfrm>
                <a:off x="7009617" y="4654980"/>
                <a:ext cx="406469" cy="106465"/>
              </a:xfrm>
              <a:custGeom>
                <a:avLst/>
                <a:gdLst>
                  <a:gd name="T0" fmla="*/ 0 w 4899"/>
                  <a:gd name="T1" fmla="*/ 1283 h 1284"/>
                  <a:gd name="T2" fmla="*/ 841 w 4899"/>
                  <a:gd name="T3" fmla="*/ 0 h 1284"/>
                  <a:gd name="T4" fmla="*/ 4898 w 4899"/>
                  <a:gd name="T5" fmla="*/ 0 h 1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899" h="1284">
                    <a:moveTo>
                      <a:pt x="0" y="1283"/>
                    </a:moveTo>
                    <a:cubicBezTo>
                      <a:pt x="0" y="1283"/>
                      <a:pt x="384" y="177"/>
                      <a:pt x="841" y="0"/>
                    </a:cubicBezTo>
                    <a:cubicBezTo>
                      <a:pt x="841" y="0"/>
                      <a:pt x="4430" y="0"/>
                      <a:pt x="4898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4" name="Line 18"/>
              <p:cNvSpPr>
                <a:spLocks noChangeShapeType="1"/>
              </p:cNvSpPr>
              <p:nvPr/>
            </p:nvSpPr>
            <p:spPr bwMode="auto">
              <a:xfrm>
                <a:off x="7072910" y="4739127"/>
                <a:ext cx="282809" cy="366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5" name="Freeform 23"/>
              <p:cNvSpPr>
                <a:spLocks noChangeArrowheads="1"/>
              </p:cNvSpPr>
              <p:nvPr/>
            </p:nvSpPr>
            <p:spPr bwMode="auto">
              <a:xfrm>
                <a:off x="7125960" y="4679126"/>
                <a:ext cx="238905" cy="40976"/>
              </a:xfrm>
              <a:custGeom>
                <a:avLst/>
                <a:gdLst>
                  <a:gd name="T0" fmla="*/ 0 w 2878"/>
                  <a:gd name="T1" fmla="*/ 480 h 494"/>
                  <a:gd name="T2" fmla="*/ 440 w 2878"/>
                  <a:gd name="T3" fmla="*/ 0 h 494"/>
                  <a:gd name="T4" fmla="*/ 2877 w 2878"/>
                  <a:gd name="T5" fmla="*/ 0 h 494"/>
                  <a:gd name="T6" fmla="*/ 2589 w 2878"/>
                  <a:gd name="T7" fmla="*/ 493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878" h="494">
                    <a:moveTo>
                      <a:pt x="0" y="480"/>
                    </a:moveTo>
                    <a:cubicBezTo>
                      <a:pt x="0" y="480"/>
                      <a:pt x="240" y="99"/>
                      <a:pt x="440" y="0"/>
                    </a:cubicBezTo>
                    <a:lnTo>
                      <a:pt x="2877" y="0"/>
                    </a:lnTo>
                    <a:cubicBezTo>
                      <a:pt x="2877" y="0"/>
                      <a:pt x="2705" y="274"/>
                      <a:pt x="2589" y="493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6" name="Freeform 26"/>
              <p:cNvSpPr>
                <a:spLocks noChangeArrowheads="1"/>
              </p:cNvSpPr>
              <p:nvPr/>
            </p:nvSpPr>
            <p:spPr bwMode="auto">
              <a:xfrm>
                <a:off x="7104008" y="4755956"/>
                <a:ext cx="223174" cy="18293"/>
              </a:xfrm>
              <a:custGeom>
                <a:avLst/>
                <a:gdLst>
                  <a:gd name="T0" fmla="*/ 59 w 2692"/>
                  <a:gd name="T1" fmla="*/ 20 h 221"/>
                  <a:gd name="T2" fmla="*/ 0 w 2692"/>
                  <a:gd name="T3" fmla="*/ 220 h 221"/>
                  <a:gd name="T4" fmla="*/ 2606 w 2692"/>
                  <a:gd name="T5" fmla="*/ 220 h 221"/>
                  <a:gd name="T6" fmla="*/ 2691 w 2692"/>
                  <a:gd name="T7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92" h="221">
                    <a:moveTo>
                      <a:pt x="59" y="20"/>
                    </a:moveTo>
                    <a:cubicBezTo>
                      <a:pt x="59" y="20"/>
                      <a:pt x="8" y="178"/>
                      <a:pt x="0" y="220"/>
                    </a:cubicBezTo>
                    <a:lnTo>
                      <a:pt x="2606" y="220"/>
                    </a:lnTo>
                    <a:cubicBezTo>
                      <a:pt x="2606" y="220"/>
                      <a:pt x="2657" y="76"/>
                      <a:pt x="2691" y="0"/>
                    </a:cubicBez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7" name="Freeform 32"/>
              <p:cNvSpPr>
                <a:spLocks noChangeArrowheads="1"/>
              </p:cNvSpPr>
              <p:nvPr/>
            </p:nvSpPr>
            <p:spPr bwMode="auto">
              <a:xfrm>
                <a:off x="6685813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98" name="Line 21"/>
              <p:cNvSpPr>
                <a:spLocks noChangeShapeType="1"/>
              </p:cNvSpPr>
              <p:nvPr/>
            </p:nvSpPr>
            <p:spPr bwMode="auto">
              <a:xfrm>
                <a:off x="6320110" y="4782771"/>
                <a:ext cx="215369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4078887" y="4122634"/>
              <a:ext cx="1805262" cy="693901"/>
              <a:chOff x="1985118" y="3930402"/>
              <a:chExt cx="1805262" cy="693901"/>
            </a:xfrm>
          </p:grpSpPr>
          <p:sp>
            <p:nvSpPr>
              <p:cNvPr id="13" name="Freeform: Shape 628"/>
              <p:cNvSpPr/>
              <p:nvPr/>
            </p:nvSpPr>
            <p:spPr>
              <a:xfrm>
                <a:off x="2174843" y="4416477"/>
                <a:ext cx="31302" cy="74782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0" h="115">
                    <a:moveTo>
                      <a:pt x="25" y="115"/>
                    </a:moveTo>
                    <a:lnTo>
                      <a:pt x="0" y="115"/>
                    </a:lnTo>
                    <a:lnTo>
                      <a:pt x="0" y="0"/>
                    </a:lnTo>
                    <a:lnTo>
                      <a:pt x="50" y="0"/>
                    </a:lnTo>
                    <a:lnTo>
                      <a:pt x="50" y="115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4" name="Freeform: Shape 651"/>
              <p:cNvSpPr/>
              <p:nvPr/>
            </p:nvSpPr>
            <p:spPr>
              <a:xfrm>
                <a:off x="2112877" y="4404670"/>
                <a:ext cx="400530" cy="123981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628" h="190" fill="none">
                    <a:moveTo>
                      <a:pt x="0" y="190"/>
                    </a:moveTo>
                    <a:lnTo>
                      <a:pt x="323" y="190"/>
                    </a:lnTo>
                    <a:lnTo>
                      <a:pt x="323" y="55"/>
                    </a:lnTo>
                    <a:lnTo>
                      <a:pt x="517" y="55"/>
                    </a:lnTo>
                    <a:lnTo>
                      <a:pt x="517" y="0"/>
                    </a:lnTo>
                    <a:lnTo>
                      <a:pt x="628" y="0"/>
                    </a:lnTo>
                    <a:lnTo>
                      <a:pt x="628" y="146"/>
                    </a:lnTo>
                    <a:lnTo>
                      <a:pt x="494" y="146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5" name="Freeform: Shape 652"/>
              <p:cNvSpPr/>
              <p:nvPr/>
            </p:nvSpPr>
            <p:spPr>
              <a:xfrm>
                <a:off x="2543432" y="4350879"/>
                <a:ext cx="60686" cy="42639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96" h="66" fill="none">
                    <a:moveTo>
                      <a:pt x="0" y="58"/>
                    </a:moveTo>
                    <a:lnTo>
                      <a:pt x="0" y="0"/>
                    </a:lnTo>
                    <a:lnTo>
                      <a:pt x="96" y="0"/>
                    </a:lnTo>
                    <a:lnTo>
                      <a:pt x="96" y="66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6" name="Straight Connector 15"/>
              <p:cNvSpPr/>
              <p:nvPr/>
            </p:nvSpPr>
            <p:spPr>
              <a:xfrm>
                <a:off x="2406726" y="4367935"/>
                <a:ext cx="0" cy="2952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" name="Straight Connector 16"/>
              <p:cNvSpPr/>
              <p:nvPr/>
            </p:nvSpPr>
            <p:spPr>
              <a:xfrm>
                <a:off x="2084133" y="4497820"/>
                <a:ext cx="0" cy="33455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" name="Straight Connector 17"/>
              <p:cNvSpPr/>
              <p:nvPr/>
            </p:nvSpPr>
            <p:spPr>
              <a:xfrm>
                <a:off x="1985118" y="4585065"/>
                <a:ext cx="611972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2160" tIns="2160" rIns="2160" bIns="216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2494039" y="3930402"/>
                <a:ext cx="1296341" cy="693901"/>
                <a:chOff x="2126663" y="4070527"/>
                <a:chExt cx="1052717" cy="563495"/>
              </a:xfrm>
            </p:grpSpPr>
            <p:sp>
              <p:nvSpPr>
                <p:cNvPr id="20" name="Straight Connector 19"/>
                <p:cNvSpPr/>
                <p:nvPr/>
              </p:nvSpPr>
              <p:spPr>
                <a:xfrm>
                  <a:off x="2461323" y="4610819"/>
                  <a:ext cx="215454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1" name="Straight Connector 20"/>
                <p:cNvSpPr/>
                <p:nvPr/>
              </p:nvSpPr>
              <p:spPr>
                <a:xfrm>
                  <a:off x="2858347" y="4623710"/>
                  <a:ext cx="136516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2" name="Straight Connector 21"/>
                <p:cNvSpPr/>
                <p:nvPr/>
              </p:nvSpPr>
              <p:spPr>
                <a:xfrm>
                  <a:off x="2644980" y="4634022"/>
                  <a:ext cx="66539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3" name="Freeform: Shape 20"/>
                <p:cNvSpPr/>
                <p:nvPr/>
              </p:nvSpPr>
              <p:spPr>
                <a:xfrm>
                  <a:off x="3012541" y="4612170"/>
                  <a:ext cx="52912" cy="15837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432" h="130">
                      <a:moveTo>
                        <a:pt x="216" y="130"/>
                      </a:moveTo>
                      <a:lnTo>
                        <a:pt x="0" y="130"/>
                      </a:lnTo>
                      <a:lnTo>
                        <a:pt x="0" y="0"/>
                      </a:lnTo>
                      <a:lnTo>
                        <a:pt x="432" y="0"/>
                      </a:lnTo>
                      <a:lnTo>
                        <a:pt x="432" y="130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4" name="Freeform: Shape 29"/>
                <p:cNvSpPr/>
                <p:nvPr/>
              </p:nvSpPr>
              <p:spPr>
                <a:xfrm>
                  <a:off x="2889162" y="4523533"/>
                  <a:ext cx="21730" cy="41495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78" h="339">
                      <a:moveTo>
                        <a:pt x="89" y="339"/>
                      </a:moveTo>
                      <a:lnTo>
                        <a:pt x="0" y="339"/>
                      </a:lnTo>
                      <a:lnTo>
                        <a:pt x="0" y="0"/>
                      </a:lnTo>
                      <a:lnTo>
                        <a:pt x="178" y="0"/>
                      </a:lnTo>
                      <a:lnTo>
                        <a:pt x="178" y="339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5" name="Freeform: Shape 30"/>
                <p:cNvSpPr/>
                <p:nvPr/>
              </p:nvSpPr>
              <p:spPr>
                <a:xfrm>
                  <a:off x="3161579" y="4573140"/>
                  <a:ext cx="17801" cy="41372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46" h="338">
                      <a:moveTo>
                        <a:pt x="73" y="338"/>
                      </a:moveTo>
                      <a:lnTo>
                        <a:pt x="0" y="338"/>
                      </a:lnTo>
                      <a:lnTo>
                        <a:pt x="0" y="0"/>
                      </a:lnTo>
                      <a:lnTo>
                        <a:pt x="146" y="0"/>
                      </a:lnTo>
                      <a:lnTo>
                        <a:pt x="146" y="338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6" name="Freeform: Shape 91"/>
                <p:cNvSpPr/>
                <p:nvPr/>
              </p:nvSpPr>
              <p:spPr>
                <a:xfrm>
                  <a:off x="2623128" y="4357922"/>
                  <a:ext cx="175923" cy="217050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434" h="1769">
                      <a:moveTo>
                        <a:pt x="717" y="1769"/>
                      </a:moveTo>
                      <a:lnTo>
                        <a:pt x="0" y="1769"/>
                      </a:lnTo>
                      <a:lnTo>
                        <a:pt x="0" y="0"/>
                      </a:lnTo>
                      <a:lnTo>
                        <a:pt x="1434" y="0"/>
                      </a:lnTo>
                      <a:lnTo>
                        <a:pt x="1434" y="1769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7" name="Freeform: Shape 92"/>
                <p:cNvSpPr/>
                <p:nvPr/>
              </p:nvSpPr>
              <p:spPr>
                <a:xfrm>
                  <a:off x="2822009" y="4351047"/>
                  <a:ext cx="45914" cy="226748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375" h="1848">
                      <a:moveTo>
                        <a:pt x="188" y="1848"/>
                      </a:moveTo>
                      <a:lnTo>
                        <a:pt x="0" y="1848"/>
                      </a:lnTo>
                      <a:lnTo>
                        <a:pt x="0" y="0"/>
                      </a:lnTo>
                      <a:lnTo>
                        <a:pt x="375" y="0"/>
                      </a:lnTo>
                      <a:lnTo>
                        <a:pt x="375" y="1848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8" name="Freeform: Shape 93"/>
                <p:cNvSpPr/>
                <p:nvPr/>
              </p:nvSpPr>
              <p:spPr>
                <a:xfrm>
                  <a:off x="2447082" y="4561590"/>
                  <a:ext cx="22834" cy="31428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87" h="257">
                      <a:moveTo>
                        <a:pt x="94" y="257"/>
                      </a:moveTo>
                      <a:cubicBezTo>
                        <a:pt x="43" y="257"/>
                        <a:pt x="0" y="215"/>
                        <a:pt x="0" y="164"/>
                      </a:cubicBezTo>
                      <a:lnTo>
                        <a:pt x="0" y="94"/>
                      </a:lnTo>
                      <a:cubicBezTo>
                        <a:pt x="0" y="43"/>
                        <a:pt x="43" y="0"/>
                        <a:pt x="94" y="0"/>
                      </a:cubicBezTo>
                      <a:cubicBezTo>
                        <a:pt x="144" y="0"/>
                        <a:pt x="187" y="43"/>
                        <a:pt x="187" y="94"/>
                      </a:cubicBezTo>
                      <a:lnTo>
                        <a:pt x="187" y="164"/>
                      </a:lnTo>
                      <a:cubicBezTo>
                        <a:pt x="187" y="215"/>
                        <a:pt x="144" y="257"/>
                        <a:pt x="94" y="257"/>
                      </a:cubicBez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29" name="Freeform: Shape 95"/>
                <p:cNvSpPr/>
                <p:nvPr/>
              </p:nvSpPr>
              <p:spPr>
                <a:xfrm>
                  <a:off x="2126663" y="4070527"/>
                  <a:ext cx="298812" cy="532681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2435" h="4340" fill="none">
                      <a:moveTo>
                        <a:pt x="1245" y="4340"/>
                      </a:moveTo>
                      <a:lnTo>
                        <a:pt x="1245" y="4080"/>
                      </a:lnTo>
                      <a:lnTo>
                        <a:pt x="0" y="4080"/>
                      </a:lnTo>
                      <a:lnTo>
                        <a:pt x="308" y="3877"/>
                      </a:lnTo>
                      <a:lnTo>
                        <a:pt x="1002" y="3877"/>
                      </a:lnTo>
                      <a:lnTo>
                        <a:pt x="1002" y="367"/>
                      </a:lnTo>
                      <a:lnTo>
                        <a:pt x="1357" y="0"/>
                      </a:lnTo>
                      <a:lnTo>
                        <a:pt x="2054" y="0"/>
                      </a:lnTo>
                      <a:lnTo>
                        <a:pt x="2435" y="243"/>
                      </a:lnTo>
                      <a:lnTo>
                        <a:pt x="2435" y="3262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0" name="Straight Connector 29"/>
                <p:cNvSpPr/>
                <p:nvPr/>
              </p:nvSpPr>
              <p:spPr>
                <a:xfrm>
                  <a:off x="2297430" y="4097535"/>
                  <a:ext cx="0" cy="345708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1" name="Straight Connector 30"/>
                <p:cNvSpPr/>
                <p:nvPr/>
              </p:nvSpPr>
              <p:spPr>
                <a:xfrm>
                  <a:off x="2323089" y="4094098"/>
                  <a:ext cx="30446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2" name="Freeform: Shape 98"/>
                <p:cNvSpPr/>
                <p:nvPr/>
              </p:nvSpPr>
              <p:spPr>
                <a:xfrm>
                  <a:off x="2378824" y="4070527"/>
                  <a:ext cx="112822" cy="400339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920" h="3262" fill="none">
                      <a:moveTo>
                        <a:pt x="0" y="0"/>
                      </a:moveTo>
                      <a:lnTo>
                        <a:pt x="0" y="3262"/>
                      </a:lnTo>
                      <a:lnTo>
                        <a:pt x="920" y="3262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3" name="Straight Connector 32"/>
                <p:cNvSpPr/>
                <p:nvPr/>
              </p:nvSpPr>
              <p:spPr>
                <a:xfrm>
                  <a:off x="2447450" y="4403713"/>
                  <a:ext cx="0" cy="64697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4" name="Freeform: Shape 100"/>
                <p:cNvSpPr/>
                <p:nvPr/>
              </p:nvSpPr>
              <p:spPr>
                <a:xfrm>
                  <a:off x="2264898" y="4461168"/>
                  <a:ext cx="47019" cy="110735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384" h="903">
                      <a:moveTo>
                        <a:pt x="0" y="48"/>
                      </a:moveTo>
                      <a:lnTo>
                        <a:pt x="0" y="612"/>
                      </a:lnTo>
                      <a:lnTo>
                        <a:pt x="384" y="903"/>
                      </a:lnTo>
                      <a:lnTo>
                        <a:pt x="384" y="0"/>
                      </a:ln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5" name="Straight Connector 34"/>
                <p:cNvSpPr/>
                <p:nvPr/>
              </p:nvSpPr>
              <p:spPr>
                <a:xfrm>
                  <a:off x="2331068" y="4559626"/>
                  <a:ext cx="102509" cy="52912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6" name="Freeform: Shape 102"/>
                <p:cNvSpPr/>
                <p:nvPr/>
              </p:nvSpPr>
              <p:spPr>
                <a:xfrm>
                  <a:off x="2293993" y="4598420"/>
                  <a:ext cx="90601" cy="23694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739" h="194">
                      <a:moveTo>
                        <a:pt x="0" y="194"/>
                      </a:moveTo>
                      <a:cubicBezTo>
                        <a:pt x="0" y="87"/>
                        <a:pt x="88" y="0"/>
                        <a:pt x="195" y="0"/>
                      </a:cubicBezTo>
                      <a:lnTo>
                        <a:pt x="545" y="0"/>
                      </a:lnTo>
                      <a:cubicBezTo>
                        <a:pt x="652" y="0"/>
                        <a:pt x="739" y="87"/>
                        <a:pt x="739" y="194"/>
                      </a:cubicBez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7" name="Freeform: Shape 103"/>
                <p:cNvSpPr/>
                <p:nvPr/>
              </p:nvSpPr>
              <p:spPr>
                <a:xfrm>
                  <a:off x="2397976" y="4521814"/>
                  <a:ext cx="222943" cy="23817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817" h="195" fill="none">
                      <a:moveTo>
                        <a:pt x="194" y="0"/>
                      </a:moveTo>
                      <a:lnTo>
                        <a:pt x="0" y="195"/>
                      </a:lnTo>
                      <a:lnTo>
                        <a:pt x="1817" y="195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8" name="Freeform: Shape 104"/>
                <p:cNvSpPr/>
                <p:nvPr/>
              </p:nvSpPr>
              <p:spPr>
                <a:xfrm>
                  <a:off x="2495329" y="4426180"/>
                  <a:ext cx="127308" cy="98213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038" h="801" fill="none">
                      <a:moveTo>
                        <a:pt x="714" y="0"/>
                      </a:moveTo>
                      <a:lnTo>
                        <a:pt x="0" y="0"/>
                      </a:lnTo>
                      <a:lnTo>
                        <a:pt x="0" y="801"/>
                      </a:lnTo>
                      <a:lnTo>
                        <a:pt x="1038" y="801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39" name="Freeform: Shape 105"/>
                <p:cNvSpPr/>
                <p:nvPr/>
              </p:nvSpPr>
              <p:spPr>
                <a:xfrm>
                  <a:off x="2583597" y="4390823"/>
                  <a:ext cx="38057" cy="131237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311" h="1070" fill="none">
                      <a:moveTo>
                        <a:pt x="0" y="1070"/>
                      </a:moveTo>
                      <a:lnTo>
                        <a:pt x="0" y="0"/>
                      </a:lnTo>
                      <a:lnTo>
                        <a:pt x="311" y="0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0" name="Freeform: Shape 106"/>
                <p:cNvSpPr/>
                <p:nvPr/>
              </p:nvSpPr>
              <p:spPr>
                <a:xfrm>
                  <a:off x="2661554" y="4330913"/>
                  <a:ext cx="96862" cy="26149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790" h="214" fill="none">
                      <a:moveTo>
                        <a:pt x="0" y="209"/>
                      </a:moveTo>
                      <a:lnTo>
                        <a:pt x="0" y="0"/>
                      </a:lnTo>
                      <a:lnTo>
                        <a:pt x="790" y="0"/>
                      </a:lnTo>
                      <a:lnTo>
                        <a:pt x="790" y="214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1" name="Freeform: Shape 107"/>
                <p:cNvSpPr/>
                <p:nvPr/>
              </p:nvSpPr>
              <p:spPr>
                <a:xfrm>
                  <a:off x="2720113" y="4313603"/>
                  <a:ext cx="16819" cy="16205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38" h="133" fill="none">
                      <a:moveTo>
                        <a:pt x="0" y="133"/>
                      </a:moveTo>
                      <a:lnTo>
                        <a:pt x="0" y="0"/>
                      </a:lnTo>
                      <a:lnTo>
                        <a:pt x="138" y="0"/>
                      </a:lnTo>
                      <a:lnTo>
                        <a:pt x="138" y="124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2" name="Straight Connector 41"/>
                <p:cNvSpPr/>
                <p:nvPr/>
              </p:nvSpPr>
              <p:spPr>
                <a:xfrm>
                  <a:off x="2777936" y="4390455"/>
                  <a:ext cx="0" cy="14069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3" name="Straight Connector 42"/>
                <p:cNvSpPr/>
                <p:nvPr/>
              </p:nvSpPr>
              <p:spPr>
                <a:xfrm>
                  <a:off x="2803962" y="4495174"/>
                  <a:ext cx="14855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4" name="Straight Connector 43"/>
                <p:cNvSpPr/>
                <p:nvPr/>
              </p:nvSpPr>
              <p:spPr>
                <a:xfrm>
                  <a:off x="2940109" y="4552628"/>
                  <a:ext cx="0" cy="3020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5" name="Straight Connector 44"/>
                <p:cNvSpPr/>
                <p:nvPr/>
              </p:nvSpPr>
              <p:spPr>
                <a:xfrm>
                  <a:off x="3133466" y="4573140"/>
                  <a:ext cx="0" cy="30078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6" name="Freeform: Shape 112"/>
                <p:cNvSpPr/>
                <p:nvPr/>
              </p:nvSpPr>
              <p:spPr>
                <a:xfrm>
                  <a:off x="2883023" y="4585161"/>
                  <a:ext cx="78447" cy="38057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640" h="311" fill="none">
                      <a:moveTo>
                        <a:pt x="0" y="311"/>
                      </a:moveTo>
                      <a:lnTo>
                        <a:pt x="0" y="0"/>
                      </a:lnTo>
                      <a:lnTo>
                        <a:pt x="640" y="0"/>
                      </a:lnTo>
                      <a:lnTo>
                        <a:pt x="640" y="302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7" name="Freeform: Shape 113"/>
                <p:cNvSpPr/>
                <p:nvPr/>
              </p:nvSpPr>
              <p:spPr>
                <a:xfrm>
                  <a:off x="2728829" y="4599402"/>
                  <a:ext cx="93056" cy="28604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759" h="234">
                      <a:moveTo>
                        <a:pt x="0" y="217"/>
                      </a:moveTo>
                      <a:cubicBezTo>
                        <a:pt x="0" y="99"/>
                        <a:pt x="96" y="0"/>
                        <a:pt x="217" y="0"/>
                      </a:cubicBezTo>
                      <a:lnTo>
                        <a:pt x="525" y="0"/>
                      </a:lnTo>
                      <a:cubicBezTo>
                        <a:pt x="654" y="0"/>
                        <a:pt x="759" y="104"/>
                        <a:pt x="759" y="234"/>
                      </a:cubicBez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8" name="Straight Connector 47"/>
                <p:cNvSpPr/>
                <p:nvPr/>
              </p:nvSpPr>
              <p:spPr>
                <a:xfrm>
                  <a:off x="2551801" y="4564782"/>
                  <a:ext cx="0" cy="2835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49" name="Straight Connector 48"/>
                <p:cNvSpPr/>
                <p:nvPr/>
              </p:nvSpPr>
              <p:spPr>
                <a:xfrm>
                  <a:off x="2575618" y="4562327"/>
                  <a:ext cx="0" cy="39162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0" name="Straight Connector 49"/>
                <p:cNvSpPr/>
                <p:nvPr/>
              </p:nvSpPr>
              <p:spPr>
                <a:xfrm>
                  <a:off x="2522951" y="4403345"/>
                  <a:ext cx="0" cy="22466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1" name="Freeform: Shape 117"/>
                <p:cNvSpPr/>
                <p:nvPr/>
              </p:nvSpPr>
              <p:spPr>
                <a:xfrm>
                  <a:off x="2924518" y="4282052"/>
                  <a:ext cx="236938" cy="236815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1931" h="1930">
                      <a:moveTo>
                        <a:pt x="1931" y="965"/>
                      </a:moveTo>
                      <a:cubicBezTo>
                        <a:pt x="1931" y="1143"/>
                        <a:pt x="1890" y="1294"/>
                        <a:pt x="1801" y="1448"/>
                      </a:cubicBezTo>
                      <a:cubicBezTo>
                        <a:pt x="1712" y="1602"/>
                        <a:pt x="1602" y="1712"/>
                        <a:pt x="1448" y="1801"/>
                      </a:cubicBezTo>
                      <a:cubicBezTo>
                        <a:pt x="1294" y="1890"/>
                        <a:pt x="1142" y="1930"/>
                        <a:pt x="965" y="1930"/>
                      </a:cubicBezTo>
                      <a:cubicBezTo>
                        <a:pt x="787" y="1930"/>
                        <a:pt x="637" y="1890"/>
                        <a:pt x="483" y="1801"/>
                      </a:cubicBezTo>
                      <a:cubicBezTo>
                        <a:pt x="329" y="1712"/>
                        <a:pt x="218" y="1602"/>
                        <a:pt x="130" y="1448"/>
                      </a:cubicBezTo>
                      <a:cubicBezTo>
                        <a:pt x="41" y="1294"/>
                        <a:pt x="0" y="1142"/>
                        <a:pt x="0" y="965"/>
                      </a:cubicBezTo>
                      <a:cubicBezTo>
                        <a:pt x="0" y="787"/>
                        <a:pt x="41" y="637"/>
                        <a:pt x="130" y="483"/>
                      </a:cubicBezTo>
                      <a:cubicBezTo>
                        <a:pt x="218" y="329"/>
                        <a:pt x="329" y="217"/>
                        <a:pt x="483" y="129"/>
                      </a:cubicBezTo>
                      <a:cubicBezTo>
                        <a:pt x="637" y="40"/>
                        <a:pt x="788" y="0"/>
                        <a:pt x="965" y="0"/>
                      </a:cubicBezTo>
                      <a:cubicBezTo>
                        <a:pt x="1143" y="0"/>
                        <a:pt x="1294" y="40"/>
                        <a:pt x="1448" y="129"/>
                      </a:cubicBezTo>
                      <a:cubicBezTo>
                        <a:pt x="1602" y="217"/>
                        <a:pt x="1712" y="329"/>
                        <a:pt x="1801" y="483"/>
                      </a:cubicBezTo>
                      <a:cubicBezTo>
                        <a:pt x="1890" y="637"/>
                        <a:pt x="1931" y="788"/>
                        <a:pt x="1931" y="965"/>
                      </a:cubicBezTo>
                      <a:close/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2" name="Straight Connector 51"/>
                <p:cNvSpPr/>
                <p:nvPr/>
              </p:nvSpPr>
              <p:spPr>
                <a:xfrm>
                  <a:off x="3042987" y="4276896"/>
                  <a:ext cx="0" cy="15591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3" name="Straight Connector 52"/>
                <p:cNvSpPr/>
                <p:nvPr/>
              </p:nvSpPr>
              <p:spPr>
                <a:xfrm>
                  <a:off x="3042987" y="4513466"/>
                  <a:ext cx="0" cy="15591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4" name="Straight Connector 53"/>
                <p:cNvSpPr/>
                <p:nvPr/>
              </p:nvSpPr>
              <p:spPr>
                <a:xfrm>
                  <a:off x="2995231" y="4286226"/>
                  <a:ext cx="5893" cy="14487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5" name="Straight Connector 54"/>
                <p:cNvSpPr/>
                <p:nvPr/>
              </p:nvSpPr>
              <p:spPr>
                <a:xfrm>
                  <a:off x="3084973" y="4505118"/>
                  <a:ext cx="5893" cy="1460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6" name="Straight Connector 55"/>
                <p:cNvSpPr/>
                <p:nvPr/>
              </p:nvSpPr>
              <p:spPr>
                <a:xfrm>
                  <a:off x="2953245" y="4314340"/>
                  <a:ext cx="11172" cy="1104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7" name="Straight Connector 56"/>
                <p:cNvSpPr/>
                <p:nvPr/>
              </p:nvSpPr>
              <p:spPr>
                <a:xfrm>
                  <a:off x="3121680" y="4480565"/>
                  <a:ext cx="11049" cy="10803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8" name="Straight Connector 57"/>
                <p:cNvSpPr/>
                <p:nvPr/>
              </p:nvSpPr>
              <p:spPr>
                <a:xfrm>
                  <a:off x="2926237" y="4355466"/>
                  <a:ext cx="14241" cy="5524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59" name="Straight Connector 58"/>
                <p:cNvSpPr/>
                <p:nvPr/>
              </p:nvSpPr>
              <p:spPr>
                <a:xfrm>
                  <a:off x="3145619" y="4444594"/>
                  <a:ext cx="14486" cy="5893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0" name="Straight Connector 59"/>
                <p:cNvSpPr/>
                <p:nvPr/>
              </p:nvSpPr>
              <p:spPr>
                <a:xfrm>
                  <a:off x="3153599" y="4403345"/>
                  <a:ext cx="15591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1" name="Straight Connector 60"/>
                <p:cNvSpPr/>
                <p:nvPr/>
              </p:nvSpPr>
              <p:spPr>
                <a:xfrm>
                  <a:off x="2916907" y="4403345"/>
                  <a:ext cx="15223" cy="0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2" name="Straight Connector 61"/>
                <p:cNvSpPr/>
                <p:nvPr/>
              </p:nvSpPr>
              <p:spPr>
                <a:xfrm flipV="1">
                  <a:off x="2925991" y="4444594"/>
                  <a:ext cx="14486" cy="5524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3" name="Straight Connector 62"/>
                <p:cNvSpPr/>
                <p:nvPr/>
              </p:nvSpPr>
              <p:spPr>
                <a:xfrm flipV="1">
                  <a:off x="3145619" y="4355466"/>
                  <a:ext cx="14486" cy="5893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4" name="Straight Connector 63"/>
                <p:cNvSpPr/>
                <p:nvPr/>
              </p:nvSpPr>
              <p:spPr>
                <a:xfrm flipH="1">
                  <a:off x="3120943" y="4313235"/>
                  <a:ext cx="10803" cy="1104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5" name="Straight Connector 64"/>
                <p:cNvSpPr/>
                <p:nvPr/>
              </p:nvSpPr>
              <p:spPr>
                <a:xfrm flipH="1">
                  <a:off x="2954350" y="4481670"/>
                  <a:ext cx="11049" cy="11049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6" name="Straight Connector 65"/>
                <p:cNvSpPr/>
                <p:nvPr/>
              </p:nvSpPr>
              <p:spPr>
                <a:xfrm flipH="1">
                  <a:off x="3087428" y="4287209"/>
                  <a:ext cx="6138" cy="14241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7" name="Straight Connector 66"/>
                <p:cNvSpPr/>
                <p:nvPr/>
              </p:nvSpPr>
              <p:spPr>
                <a:xfrm flipH="1">
                  <a:off x="2992408" y="4504136"/>
                  <a:ext cx="6261" cy="14241"/>
                </a:xfrm>
                <a:prstGeom prst="line">
                  <a:avLst/>
                </a:pr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  <p:sp>
              <p:nvSpPr>
                <p:cNvPr id="68" name="Freeform: Shape 134"/>
                <p:cNvSpPr/>
                <p:nvPr/>
              </p:nvSpPr>
              <p:spPr>
                <a:xfrm>
                  <a:off x="3011559" y="4398434"/>
                  <a:ext cx="74273" cy="220978"/>
                </a:xfrm>
                <a:custGeom>
                  <a:avLst/>
                  <a:gdLst/>
                  <a:ahLst/>
                  <a:cxnLst>
                    <a:cxn ang="3cd4">
                      <a:pos x="hc" y="t"/>
                    </a:cxn>
                    <a:cxn ang="cd2">
                      <a:pos x="l" y="vc"/>
                    </a:cxn>
                    <a:cxn ang="cd4">
                      <a:pos x="hc" y="b"/>
                    </a:cxn>
                    <a:cxn ang="0">
                      <a:pos x="r" y="vc"/>
                    </a:cxn>
                  </a:cxnLst>
                  <a:rect l="l" t="t" r="r" b="b"/>
                  <a:pathLst>
                    <a:path w="606" h="1801" fill="none">
                      <a:moveTo>
                        <a:pt x="606" y="1801"/>
                      </a:moveTo>
                      <a:lnTo>
                        <a:pt x="262" y="0"/>
                      </a:lnTo>
                      <a:lnTo>
                        <a:pt x="0" y="1403"/>
                      </a:lnTo>
                    </a:path>
                  </a:pathLst>
                </a:custGeom>
                <a:noFill/>
                <a:ln w="10160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vert="horz" wrap="none" lIns="15120" tIns="15120" rIns="15120" bIns="15120" anchor="ctr" anchorCtr="1" compatLnSpc="0"/>
                <a:lstStyle/>
                <a:p>
                  <a:pPr hangingPunct="0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Arial" pitchFamily="18"/>
                    <a:ea typeface="Arial Unicode MS" pitchFamily="2"/>
                    <a:cs typeface="Arial Unicode MS" pitchFamily="2"/>
                  </a:endParaRPr>
                </a:p>
              </p:txBody>
            </p:sp>
          </p:grpSp>
        </p:grpSp>
        <p:grpSp>
          <p:nvGrpSpPr>
            <p:cNvPr id="8" name="Group 7"/>
            <p:cNvGrpSpPr/>
            <p:nvPr/>
          </p:nvGrpSpPr>
          <p:grpSpPr>
            <a:xfrm>
              <a:off x="3888874" y="4847055"/>
              <a:ext cx="578056" cy="17927"/>
              <a:chOff x="7237901" y="4847055"/>
              <a:chExt cx="578056" cy="17927"/>
            </a:xfrm>
          </p:grpSpPr>
          <p:sp>
            <p:nvSpPr>
              <p:cNvPr id="9" name="Freeform 32"/>
              <p:cNvSpPr>
                <a:spLocks noChangeArrowheads="1"/>
              </p:cNvSpPr>
              <p:nvPr/>
            </p:nvSpPr>
            <p:spPr bwMode="auto">
              <a:xfrm>
                <a:off x="7237901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10" name="Freeform 33"/>
              <p:cNvSpPr>
                <a:spLocks noChangeArrowheads="1"/>
              </p:cNvSpPr>
              <p:nvPr/>
            </p:nvSpPr>
            <p:spPr bwMode="auto">
              <a:xfrm>
                <a:off x="7490710" y="4847055"/>
                <a:ext cx="44635" cy="17927"/>
              </a:xfrm>
              <a:custGeom>
                <a:avLst/>
                <a:gdLst>
                  <a:gd name="T0" fmla="*/ 426 w 540"/>
                  <a:gd name="T1" fmla="*/ 217 h 218"/>
                  <a:gd name="T2" fmla="*/ 0 w 540"/>
                  <a:gd name="T3" fmla="*/ 217 h 218"/>
                  <a:gd name="T4" fmla="*/ 113 w 540"/>
                  <a:gd name="T5" fmla="*/ 0 h 218"/>
                  <a:gd name="T6" fmla="*/ 539 w 540"/>
                  <a:gd name="T7" fmla="*/ 0 h 218"/>
                  <a:gd name="T8" fmla="*/ 426 w 540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0" h="218">
                    <a:moveTo>
                      <a:pt x="426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39" y="0"/>
                    </a:lnTo>
                    <a:lnTo>
                      <a:pt x="426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11" name="Freeform 35"/>
              <p:cNvSpPr>
                <a:spLocks noChangeArrowheads="1"/>
              </p:cNvSpPr>
              <p:nvPr/>
            </p:nvSpPr>
            <p:spPr bwMode="auto">
              <a:xfrm>
                <a:off x="7630833" y="4847055"/>
                <a:ext cx="45001" cy="17927"/>
              </a:xfrm>
              <a:custGeom>
                <a:avLst/>
                <a:gdLst>
                  <a:gd name="T0" fmla="*/ 429 w 543"/>
                  <a:gd name="T1" fmla="*/ 217 h 218"/>
                  <a:gd name="T2" fmla="*/ 0 w 543"/>
                  <a:gd name="T3" fmla="*/ 217 h 218"/>
                  <a:gd name="T4" fmla="*/ 113 w 543"/>
                  <a:gd name="T5" fmla="*/ 0 h 218"/>
                  <a:gd name="T6" fmla="*/ 542 w 543"/>
                  <a:gd name="T7" fmla="*/ 0 h 218"/>
                  <a:gd name="T8" fmla="*/ 429 w 543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18">
                    <a:moveTo>
                      <a:pt x="429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42" y="0"/>
                    </a:lnTo>
                    <a:lnTo>
                      <a:pt x="429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  <p:sp>
            <p:nvSpPr>
              <p:cNvPr id="12" name="Freeform 36"/>
              <p:cNvSpPr>
                <a:spLocks noChangeArrowheads="1"/>
              </p:cNvSpPr>
              <p:nvPr/>
            </p:nvSpPr>
            <p:spPr bwMode="auto">
              <a:xfrm>
                <a:off x="7770957" y="4847055"/>
                <a:ext cx="45000" cy="17927"/>
              </a:xfrm>
              <a:custGeom>
                <a:avLst/>
                <a:gdLst>
                  <a:gd name="T0" fmla="*/ 429 w 543"/>
                  <a:gd name="T1" fmla="*/ 217 h 218"/>
                  <a:gd name="T2" fmla="*/ 0 w 543"/>
                  <a:gd name="T3" fmla="*/ 217 h 218"/>
                  <a:gd name="T4" fmla="*/ 113 w 543"/>
                  <a:gd name="T5" fmla="*/ 0 h 218"/>
                  <a:gd name="T6" fmla="*/ 542 w 543"/>
                  <a:gd name="T7" fmla="*/ 0 h 218"/>
                  <a:gd name="T8" fmla="*/ 429 w 543"/>
                  <a:gd name="T9" fmla="*/ 217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18">
                    <a:moveTo>
                      <a:pt x="429" y="217"/>
                    </a:moveTo>
                    <a:lnTo>
                      <a:pt x="0" y="217"/>
                    </a:lnTo>
                    <a:lnTo>
                      <a:pt x="113" y="0"/>
                    </a:lnTo>
                    <a:lnTo>
                      <a:pt x="542" y="0"/>
                    </a:lnTo>
                    <a:lnTo>
                      <a:pt x="429" y="217"/>
                    </a:lnTo>
                  </a:path>
                </a:pathLst>
              </a:custGeom>
              <a:noFill/>
              <a:ln w="10160" cap="rnd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282828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2024707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3528056" y="3793461"/>
            <a:ext cx="5615944" cy="1148528"/>
            <a:chOff x="3528056" y="3793461"/>
            <a:chExt cx="5615944" cy="1148528"/>
          </a:xfrm>
        </p:grpSpPr>
        <p:sp>
          <p:nvSpPr>
            <p:cNvPr id="5" name="Freeform: Shape 2"/>
            <p:cNvSpPr/>
            <p:nvPr/>
          </p:nvSpPr>
          <p:spPr>
            <a:xfrm>
              <a:off x="3719546" y="4335812"/>
              <a:ext cx="278337" cy="2783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3858714" y="4329897"/>
              <a:ext cx="0" cy="1836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3858714" y="4607611"/>
              <a:ext cx="0" cy="1836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3908217" y="4341106"/>
              <a:ext cx="6849" cy="168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3802673" y="4597960"/>
              <a:ext cx="6849" cy="168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3951182" y="4374108"/>
              <a:ext cx="12764" cy="1276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3753482" y="4569317"/>
              <a:ext cx="13076" cy="124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3978891" y="4422053"/>
              <a:ext cx="16812" cy="68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3721414" y="4526664"/>
              <a:ext cx="17123" cy="68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3988231" y="4477472"/>
              <a:ext cx="1837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3710828" y="4478094"/>
              <a:ext cx="18057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3978891" y="4526664"/>
              <a:ext cx="17124" cy="653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3721414" y="4422365"/>
              <a:ext cx="17123" cy="68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3754728" y="4372862"/>
              <a:ext cx="12764" cy="1276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3949937" y="4570251"/>
              <a:ext cx="12764" cy="1276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3799249" y="4342350"/>
              <a:ext cx="7471" cy="168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3911019" y="4596714"/>
              <a:ext cx="7160" cy="1681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9"/>
            <p:cNvSpPr/>
            <p:nvPr/>
          </p:nvSpPr>
          <p:spPr>
            <a:xfrm>
              <a:off x="3814815" y="4472491"/>
              <a:ext cx="87175" cy="2593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1"/>
            <p:cNvSpPr/>
            <p:nvPr/>
          </p:nvSpPr>
          <p:spPr>
            <a:xfrm>
              <a:off x="4067000" y="4508605"/>
              <a:ext cx="129206" cy="2904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2"/>
            <p:cNvSpPr/>
            <p:nvPr/>
          </p:nvSpPr>
          <p:spPr>
            <a:xfrm>
              <a:off x="4094086" y="4680464"/>
              <a:ext cx="75344" cy="1239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4085680" y="4586752"/>
              <a:ext cx="924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4"/>
            <p:cNvSpPr/>
            <p:nvPr/>
          </p:nvSpPr>
          <p:spPr>
            <a:xfrm>
              <a:off x="3754104" y="4508605"/>
              <a:ext cx="307291" cy="26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3904481" y="4738374"/>
              <a:ext cx="1475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6"/>
            <p:cNvSpPr/>
            <p:nvPr/>
          </p:nvSpPr>
          <p:spPr>
            <a:xfrm>
              <a:off x="4663524" y="4508605"/>
              <a:ext cx="306980" cy="26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 flipH="1">
              <a:off x="4672864" y="4738374"/>
              <a:ext cx="1478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3765625" y="4814029"/>
              <a:ext cx="17435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4196517" y="4517012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4196517" y="4538806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4196517" y="4580214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4196517" y="4727788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4196517" y="4770130"/>
              <a:ext cx="3290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4"/>
            <p:cNvSpPr/>
            <p:nvPr/>
          </p:nvSpPr>
          <p:spPr>
            <a:xfrm>
              <a:off x="4064197" y="4426412"/>
              <a:ext cx="31757" cy="5666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5"/>
            <p:cNvSpPr/>
            <p:nvPr/>
          </p:nvSpPr>
          <p:spPr>
            <a:xfrm>
              <a:off x="4168807" y="4426412"/>
              <a:ext cx="31445" cy="5666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6"/>
            <p:cNvSpPr/>
            <p:nvPr/>
          </p:nvSpPr>
          <p:spPr>
            <a:xfrm>
              <a:off x="4085057" y="4364768"/>
              <a:ext cx="93090" cy="1186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7"/>
            <p:cNvSpPr/>
            <p:nvPr/>
          </p:nvSpPr>
          <p:spPr>
            <a:xfrm>
              <a:off x="4119616" y="4530088"/>
              <a:ext cx="23973" cy="2864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8"/>
            <p:cNvSpPr/>
            <p:nvPr/>
          </p:nvSpPr>
          <p:spPr>
            <a:xfrm>
              <a:off x="4528403" y="4508605"/>
              <a:ext cx="129206" cy="2904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9"/>
            <p:cNvSpPr/>
            <p:nvPr/>
          </p:nvSpPr>
          <p:spPr>
            <a:xfrm>
              <a:off x="4555490" y="4680464"/>
              <a:ext cx="75344" cy="1239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4546772" y="4586752"/>
              <a:ext cx="927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41"/>
            <p:cNvSpPr/>
            <p:nvPr/>
          </p:nvSpPr>
          <p:spPr>
            <a:xfrm>
              <a:off x="4525601" y="4426412"/>
              <a:ext cx="31445" cy="5666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2"/>
            <p:cNvSpPr/>
            <p:nvPr/>
          </p:nvSpPr>
          <p:spPr>
            <a:xfrm>
              <a:off x="4629900" y="4426412"/>
              <a:ext cx="31757" cy="5666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3"/>
            <p:cNvSpPr/>
            <p:nvPr/>
          </p:nvSpPr>
          <p:spPr>
            <a:xfrm>
              <a:off x="4546150" y="4364768"/>
              <a:ext cx="93090" cy="1186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4"/>
            <p:cNvSpPr/>
            <p:nvPr/>
          </p:nvSpPr>
          <p:spPr>
            <a:xfrm>
              <a:off x="6109713" y="4653378"/>
              <a:ext cx="221984" cy="3300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4581020" y="4530088"/>
              <a:ext cx="23973" cy="2864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4028705" y="4814029"/>
              <a:ext cx="6472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4123663" y="4841427"/>
              <a:ext cx="0" cy="4421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4173789" y="4839248"/>
              <a:ext cx="3714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4285870" y="4875363"/>
              <a:ext cx="13574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4323854" y="4898402"/>
              <a:ext cx="653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5936297" y="4918639"/>
              <a:ext cx="1357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5974281" y="4941989"/>
              <a:ext cx="653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6137423" y="4894354"/>
              <a:ext cx="3269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4669751" y="4834889"/>
              <a:ext cx="0" cy="656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 flipH="1">
              <a:off x="4689988" y="4843295"/>
              <a:ext cx="29639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 flipV="1">
              <a:off x="4689988" y="4743977"/>
              <a:ext cx="0" cy="37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57"/>
            <p:cNvSpPr/>
            <p:nvPr/>
          </p:nvSpPr>
          <p:spPr>
            <a:xfrm>
              <a:off x="4722678" y="4791924"/>
              <a:ext cx="247826" cy="34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8"/>
            <p:cNvSpPr/>
            <p:nvPr/>
          </p:nvSpPr>
          <p:spPr>
            <a:xfrm>
              <a:off x="4801447" y="4262337"/>
              <a:ext cx="68495" cy="4816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59"/>
            <p:cNvSpPr/>
            <p:nvPr/>
          </p:nvSpPr>
          <p:spPr>
            <a:xfrm>
              <a:off x="4844100" y="4161463"/>
              <a:ext cx="233192" cy="598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60"/>
            <p:cNvSpPr/>
            <p:nvPr/>
          </p:nvSpPr>
          <p:spPr>
            <a:xfrm>
              <a:off x="4870252" y="4203806"/>
              <a:ext cx="85618" cy="54017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4974240" y="4549080"/>
              <a:ext cx="2490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4985137" y="4583327"/>
              <a:ext cx="0" cy="174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3"/>
            <p:cNvSpPr/>
            <p:nvPr/>
          </p:nvSpPr>
          <p:spPr>
            <a:xfrm>
              <a:off x="5015337" y="4135311"/>
              <a:ext cx="62268" cy="59590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4"/>
            <p:cNvSpPr/>
            <p:nvPr/>
          </p:nvSpPr>
          <p:spPr>
            <a:xfrm>
              <a:off x="5077916" y="3856974"/>
              <a:ext cx="91533" cy="94086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5095662" y="4021361"/>
              <a:ext cx="0" cy="77741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6"/>
            <p:cNvSpPr/>
            <p:nvPr/>
          </p:nvSpPr>
          <p:spPr>
            <a:xfrm>
              <a:off x="5077916" y="4087988"/>
              <a:ext cx="132008" cy="7104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7"/>
            <p:cNvSpPr/>
            <p:nvPr/>
          </p:nvSpPr>
          <p:spPr>
            <a:xfrm>
              <a:off x="5169759" y="4066194"/>
              <a:ext cx="92467" cy="5962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5204008" y="4168935"/>
              <a:ext cx="0" cy="4772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9"/>
            <p:cNvSpPr/>
            <p:nvPr/>
          </p:nvSpPr>
          <p:spPr>
            <a:xfrm>
              <a:off x="5167581" y="4677040"/>
              <a:ext cx="326282" cy="1195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5066085" y="4824615"/>
              <a:ext cx="1603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5051141" y="4834889"/>
              <a:ext cx="0" cy="48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5275304" y="4520436"/>
              <a:ext cx="647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5293673" y="4473736"/>
              <a:ext cx="0" cy="467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5313288" y="4473736"/>
              <a:ext cx="0" cy="467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Freeform: Shape 75"/>
            <p:cNvSpPr/>
            <p:nvPr/>
          </p:nvSpPr>
          <p:spPr>
            <a:xfrm>
              <a:off x="5293673" y="4583327"/>
              <a:ext cx="33002" cy="744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6"/>
            <p:cNvSpPr/>
            <p:nvPr/>
          </p:nvSpPr>
          <p:spPr>
            <a:xfrm>
              <a:off x="5199648" y="4774178"/>
              <a:ext cx="62890" cy="258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77"/>
            <p:cNvSpPr/>
            <p:nvPr/>
          </p:nvSpPr>
          <p:spPr>
            <a:xfrm>
              <a:off x="5321071" y="4796906"/>
              <a:ext cx="146017" cy="361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8"/>
            <p:cNvSpPr/>
            <p:nvPr/>
          </p:nvSpPr>
          <p:spPr>
            <a:xfrm>
              <a:off x="5033083" y="4652444"/>
              <a:ext cx="44522" cy="737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5028413" y="4333323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5028413" y="4358229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5028413" y="4383136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5028413" y="4407732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5028413" y="4432639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5028413" y="4457546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5028413" y="4482454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5028413" y="4507360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5028413" y="4532267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5028413" y="4557486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5028413" y="4582082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5028413" y="4606989"/>
              <a:ext cx="491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5234207" y="4269810"/>
              <a:ext cx="2833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5403265" y="4854192"/>
              <a:ext cx="179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5520328" y="4793792"/>
              <a:ext cx="2166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94"/>
            <p:cNvSpPr/>
            <p:nvPr/>
          </p:nvSpPr>
          <p:spPr>
            <a:xfrm>
              <a:off x="5340062" y="4114140"/>
              <a:ext cx="246892" cy="6404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5"/>
            <p:cNvSpPr/>
            <p:nvPr/>
          </p:nvSpPr>
          <p:spPr>
            <a:xfrm>
              <a:off x="5558311" y="4574921"/>
              <a:ext cx="273666" cy="18400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5646261" y="4841427"/>
              <a:ext cx="44708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7"/>
            <p:cNvSpPr/>
            <p:nvPr/>
          </p:nvSpPr>
          <p:spPr>
            <a:xfrm>
              <a:off x="5561425" y="4620065"/>
              <a:ext cx="46701" cy="1522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8"/>
            <p:cNvSpPr/>
            <p:nvPr/>
          </p:nvSpPr>
          <p:spPr>
            <a:xfrm>
              <a:off x="5626547" y="4724675"/>
              <a:ext cx="90600" cy="211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5595876" y="4469999"/>
              <a:ext cx="0" cy="2708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100"/>
            <p:cNvSpPr/>
            <p:nvPr/>
          </p:nvSpPr>
          <p:spPr>
            <a:xfrm>
              <a:off x="5618862" y="4107602"/>
              <a:ext cx="207975" cy="6002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101"/>
            <p:cNvSpPr/>
            <p:nvPr/>
          </p:nvSpPr>
          <p:spPr>
            <a:xfrm>
              <a:off x="5695762" y="4170181"/>
              <a:ext cx="85929" cy="993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2"/>
            <p:cNvSpPr/>
            <p:nvPr/>
          </p:nvSpPr>
          <p:spPr>
            <a:xfrm>
              <a:off x="5681441" y="4237742"/>
              <a:ext cx="109903" cy="1245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3"/>
            <p:cNvSpPr/>
            <p:nvPr/>
          </p:nvSpPr>
          <p:spPr>
            <a:xfrm>
              <a:off x="5667120" y="4305924"/>
              <a:ext cx="129206" cy="14570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4"/>
            <p:cNvSpPr/>
            <p:nvPr/>
          </p:nvSpPr>
          <p:spPr>
            <a:xfrm>
              <a:off x="5652487" y="4372862"/>
              <a:ext cx="151622" cy="1687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5"/>
            <p:cNvSpPr/>
            <p:nvPr/>
          </p:nvSpPr>
          <p:spPr>
            <a:xfrm>
              <a:off x="5638165" y="4441668"/>
              <a:ext cx="168123" cy="188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6"/>
            <p:cNvSpPr/>
            <p:nvPr/>
          </p:nvSpPr>
          <p:spPr>
            <a:xfrm>
              <a:off x="5664940" y="4176407"/>
              <a:ext cx="86241" cy="996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7"/>
            <p:cNvSpPr/>
            <p:nvPr/>
          </p:nvSpPr>
          <p:spPr>
            <a:xfrm>
              <a:off x="5655289" y="4243968"/>
              <a:ext cx="109903" cy="1245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8"/>
            <p:cNvSpPr/>
            <p:nvPr/>
          </p:nvSpPr>
          <p:spPr>
            <a:xfrm>
              <a:off x="5650308" y="4312462"/>
              <a:ext cx="129206" cy="14570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9"/>
            <p:cNvSpPr/>
            <p:nvPr/>
          </p:nvSpPr>
          <p:spPr>
            <a:xfrm>
              <a:off x="5642835" y="4379089"/>
              <a:ext cx="151311" cy="1687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10"/>
            <p:cNvSpPr/>
            <p:nvPr/>
          </p:nvSpPr>
          <p:spPr>
            <a:xfrm>
              <a:off x="5717245" y="4448206"/>
              <a:ext cx="91222" cy="1270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11"/>
            <p:cNvSpPr/>
            <p:nvPr/>
          </p:nvSpPr>
          <p:spPr>
            <a:xfrm>
              <a:off x="5898936" y="4270121"/>
              <a:ext cx="201747" cy="4819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12"/>
            <p:cNvSpPr/>
            <p:nvPr/>
          </p:nvSpPr>
          <p:spPr>
            <a:xfrm>
              <a:off x="5867803" y="4240854"/>
              <a:ext cx="46701" cy="50592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3"/>
            <p:cNvSpPr/>
            <p:nvPr/>
          </p:nvSpPr>
          <p:spPr>
            <a:xfrm>
              <a:off x="5897692" y="4218749"/>
              <a:ext cx="218249" cy="4424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 flipV="1">
              <a:off x="5919796" y="4311529"/>
              <a:ext cx="163143" cy="93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 flipV="1">
              <a:off x="5921042" y="4335502"/>
              <a:ext cx="160651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 flipV="1">
              <a:off x="5922599" y="4359474"/>
              <a:ext cx="157848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5924156" y="4383448"/>
              <a:ext cx="155046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5925713" y="4407110"/>
              <a:ext cx="152556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5927270" y="4431083"/>
              <a:ext cx="149754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5928827" y="4455055"/>
              <a:ext cx="147263" cy="6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5930382" y="4479029"/>
              <a:ext cx="144150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5931627" y="4503001"/>
              <a:ext cx="141659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5933184" y="4526975"/>
              <a:ext cx="139168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5934741" y="4550947"/>
              <a:ext cx="136367" cy="31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5936297" y="4574921"/>
              <a:ext cx="1338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5937854" y="4598893"/>
              <a:ext cx="131075" cy="31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5939411" y="4622867"/>
              <a:ext cx="1282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5940656" y="4646840"/>
              <a:ext cx="1257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5942213" y="4670813"/>
              <a:ext cx="12329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5943770" y="4694786"/>
              <a:ext cx="120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5945327" y="4718760"/>
              <a:ext cx="1176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5946572" y="4742733"/>
              <a:ext cx="11519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5826837" y="4629405"/>
              <a:ext cx="524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5851118" y="4674861"/>
              <a:ext cx="0" cy="4981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5910457" y="4772621"/>
              <a:ext cx="1329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6086052" y="4790990"/>
              <a:ext cx="40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6205918" y="4798150"/>
              <a:ext cx="0" cy="7129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6262892" y="4828974"/>
              <a:ext cx="566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6267251" y="4858239"/>
              <a:ext cx="485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6094146" y="4663030"/>
              <a:ext cx="7596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6284063" y="4659915"/>
              <a:ext cx="4421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6311461" y="4626602"/>
              <a:ext cx="0" cy="3331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6322047" y="4724675"/>
              <a:ext cx="0" cy="6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6157659" y="4598893"/>
              <a:ext cx="0" cy="4203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6178519" y="4599205"/>
              <a:ext cx="0" cy="41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6199689" y="4599205"/>
              <a:ext cx="0" cy="41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6220861" y="4599205"/>
              <a:ext cx="0" cy="41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6242032" y="4599517"/>
              <a:ext cx="0" cy="4140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6262892" y="4599517"/>
              <a:ext cx="0" cy="4140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6284063" y="4599828"/>
              <a:ext cx="0" cy="410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6141471" y="4686692"/>
              <a:ext cx="0" cy="815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6301810" y="4686692"/>
              <a:ext cx="0" cy="8157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6148631" y="4577723"/>
              <a:ext cx="146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Freeform: Shape 154"/>
            <p:cNvSpPr/>
            <p:nvPr/>
          </p:nvSpPr>
          <p:spPr>
            <a:xfrm>
              <a:off x="6150811" y="4472802"/>
              <a:ext cx="139168" cy="8312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6205918" y="4452877"/>
              <a:ext cx="30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6211210" y="4433262"/>
              <a:ext cx="208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6221795" y="4369437"/>
              <a:ext cx="0" cy="3798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6193464" y="4755808"/>
              <a:ext cx="5572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6359407" y="4621621"/>
              <a:ext cx="622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6347887" y="4538495"/>
              <a:ext cx="0" cy="734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6430081" y="4538495"/>
              <a:ext cx="0" cy="7347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6351934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6371238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6390229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6409222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6428213" y="4630962"/>
              <a:ext cx="0" cy="1868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Freeform: Shape 167"/>
            <p:cNvSpPr/>
            <p:nvPr/>
          </p:nvSpPr>
          <p:spPr>
            <a:xfrm>
              <a:off x="6344775" y="4450386"/>
              <a:ext cx="86241" cy="740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Freeform: Shape 168"/>
            <p:cNvSpPr/>
            <p:nvPr/>
          </p:nvSpPr>
          <p:spPr>
            <a:xfrm>
              <a:off x="6370304" y="4558109"/>
              <a:ext cx="37983" cy="379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6366568" y="4517635"/>
              <a:ext cx="438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6366568" y="4532579"/>
              <a:ext cx="438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6367191" y="4488680"/>
              <a:ext cx="414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Freeform: Shape 172"/>
            <p:cNvSpPr/>
            <p:nvPr/>
          </p:nvSpPr>
          <p:spPr>
            <a:xfrm>
              <a:off x="6367191" y="4417695"/>
              <a:ext cx="40785" cy="323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6388674" y="4462528"/>
              <a:ext cx="0" cy="1774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 flipV="1">
              <a:off x="6388051" y="4386561"/>
              <a:ext cx="0" cy="3144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6464638" y="4668322"/>
              <a:ext cx="0" cy="7036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6442224" y="4738685"/>
              <a:ext cx="438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6380267" y="4858239"/>
              <a:ext cx="35834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Freeform: Shape 178"/>
            <p:cNvSpPr/>
            <p:nvPr/>
          </p:nvSpPr>
          <p:spPr>
            <a:xfrm>
              <a:off x="6475225" y="3793461"/>
              <a:ext cx="263081" cy="10495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6606299" y="3870983"/>
              <a:ext cx="106444" cy="96515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6723673" y="4707863"/>
              <a:ext cx="104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6766015" y="4768573"/>
              <a:ext cx="0" cy="962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7352888" y="4768573"/>
              <a:ext cx="0" cy="962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6907363" y="4858239"/>
              <a:ext cx="21700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6949394" y="4883769"/>
              <a:ext cx="6289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6735193" y="4578034"/>
              <a:ext cx="5541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6866578" y="4578034"/>
              <a:ext cx="12204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6792791" y="4499577"/>
              <a:ext cx="0" cy="1634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88"/>
            <p:cNvSpPr/>
            <p:nvPr/>
          </p:nvSpPr>
          <p:spPr>
            <a:xfrm>
              <a:off x="6866578" y="4499577"/>
              <a:ext cx="288611" cy="26588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6828594" y="4499577"/>
              <a:ext cx="0" cy="3642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6828594" y="4575232"/>
              <a:ext cx="0" cy="1556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6771620" y="4484633"/>
              <a:ext cx="11581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Freeform: Shape 192"/>
            <p:cNvSpPr/>
            <p:nvPr/>
          </p:nvSpPr>
          <p:spPr>
            <a:xfrm>
              <a:off x="6780960" y="4434196"/>
              <a:ext cx="92467" cy="382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6829528" y="4362588"/>
              <a:ext cx="0" cy="719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Freeform: Shape 194"/>
            <p:cNvSpPr/>
            <p:nvPr/>
          </p:nvSpPr>
          <p:spPr>
            <a:xfrm>
              <a:off x="7064900" y="4578034"/>
              <a:ext cx="355860" cy="5417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6991113" y="4499577"/>
              <a:ext cx="0" cy="1634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7064900" y="4499577"/>
              <a:ext cx="0" cy="16345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7027229" y="4499577"/>
              <a:ext cx="0" cy="3642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7027229" y="4575232"/>
              <a:ext cx="0" cy="1556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6970252" y="4484633"/>
              <a:ext cx="1158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Freeform: Shape 200"/>
            <p:cNvSpPr/>
            <p:nvPr/>
          </p:nvSpPr>
          <p:spPr>
            <a:xfrm>
              <a:off x="6979592" y="4434196"/>
              <a:ext cx="92467" cy="3829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7028163" y="4362588"/>
              <a:ext cx="0" cy="719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202"/>
            <p:cNvSpPr/>
            <p:nvPr/>
          </p:nvSpPr>
          <p:spPr>
            <a:xfrm>
              <a:off x="7086694" y="4677352"/>
              <a:ext cx="37361" cy="320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3"/>
            <p:cNvSpPr/>
            <p:nvPr/>
          </p:nvSpPr>
          <p:spPr>
            <a:xfrm>
              <a:off x="7162038" y="4677352"/>
              <a:ext cx="37361" cy="320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204"/>
            <p:cNvSpPr/>
            <p:nvPr/>
          </p:nvSpPr>
          <p:spPr>
            <a:xfrm>
              <a:off x="7237382" y="4677352"/>
              <a:ext cx="37361" cy="320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5"/>
            <p:cNvSpPr/>
            <p:nvPr/>
          </p:nvSpPr>
          <p:spPr>
            <a:xfrm>
              <a:off x="7312725" y="4677352"/>
              <a:ext cx="37361" cy="3206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6"/>
            <p:cNvSpPr/>
            <p:nvPr/>
          </p:nvSpPr>
          <p:spPr>
            <a:xfrm>
              <a:off x="6783762" y="4800330"/>
              <a:ext cx="163453" cy="407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7"/>
            <p:cNvSpPr/>
            <p:nvPr/>
          </p:nvSpPr>
          <p:spPr>
            <a:xfrm>
              <a:off x="6979282" y="4800330"/>
              <a:ext cx="163142" cy="407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8"/>
            <p:cNvSpPr/>
            <p:nvPr/>
          </p:nvSpPr>
          <p:spPr>
            <a:xfrm>
              <a:off x="7174803" y="4800330"/>
              <a:ext cx="163453" cy="4078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7468705" y="4614461"/>
              <a:ext cx="4508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7575184" y="4650265"/>
              <a:ext cx="2375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7646792" y="4685446"/>
              <a:ext cx="9495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212"/>
            <p:cNvSpPr/>
            <p:nvPr/>
          </p:nvSpPr>
          <p:spPr>
            <a:xfrm>
              <a:off x="7966848" y="4602631"/>
              <a:ext cx="47324" cy="11830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7966848" y="4733081"/>
              <a:ext cx="3580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Freeform: Shape 214"/>
            <p:cNvSpPr/>
            <p:nvPr/>
          </p:nvSpPr>
          <p:spPr>
            <a:xfrm>
              <a:off x="7753581" y="4721251"/>
              <a:ext cx="82504" cy="16563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>
              <a:off x="7753581" y="4899025"/>
              <a:ext cx="473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7468705" y="4744912"/>
              <a:ext cx="946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7385579" y="4530711"/>
              <a:ext cx="0" cy="47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8073950" y="4614461"/>
              <a:ext cx="5382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Freeform: Shape 527"/>
            <p:cNvSpPr/>
            <p:nvPr/>
          </p:nvSpPr>
          <p:spPr>
            <a:xfrm>
              <a:off x="3939662" y="4785385"/>
              <a:ext cx="47013" cy="11114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940285" y="4905603"/>
              <a:ext cx="264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Freeform: Shape 566"/>
            <p:cNvSpPr/>
            <p:nvPr/>
          </p:nvSpPr>
          <p:spPr>
            <a:xfrm>
              <a:off x="7108176" y="3956291"/>
              <a:ext cx="241598" cy="60711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Freeform: Shape 567"/>
            <p:cNvSpPr/>
            <p:nvPr/>
          </p:nvSpPr>
          <p:spPr>
            <a:xfrm>
              <a:off x="7166396" y="4077402"/>
              <a:ext cx="130140" cy="16999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7221192" y="4105734"/>
              <a:ext cx="1899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7215899" y="4133131"/>
              <a:ext cx="292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7211230" y="4160529"/>
              <a:ext cx="3860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7206248" y="4187615"/>
              <a:ext cx="482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7201266" y="4215014"/>
              <a:ext cx="582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7196285" y="4242411"/>
              <a:ext cx="6787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7191303" y="4269810"/>
              <a:ext cx="7783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7186634" y="4297207"/>
              <a:ext cx="8748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7181652" y="4324605"/>
              <a:ext cx="9713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7176671" y="4352003"/>
              <a:ext cx="1067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7171689" y="4379089"/>
              <a:ext cx="1167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7166708" y="4406176"/>
              <a:ext cx="12640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7161726" y="4433573"/>
              <a:ext cx="1363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7157056" y="4460971"/>
              <a:ext cx="14570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7151763" y="4488369"/>
              <a:ext cx="1559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7147094" y="4515767"/>
              <a:ext cx="1656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7142112" y="4543164"/>
              <a:ext cx="17528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3729777" y="4722891"/>
              <a:ext cx="0" cy="950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 flipH="1">
              <a:off x="3603849" y="4814212"/>
              <a:ext cx="9579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H="1">
              <a:off x="3528056" y="4785657"/>
              <a:ext cx="1734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grpSp>
          <p:nvGrpSpPr>
            <p:cNvPr id="245" name="Group 244"/>
            <p:cNvGrpSpPr/>
            <p:nvPr/>
          </p:nvGrpSpPr>
          <p:grpSpPr>
            <a:xfrm>
              <a:off x="8670783" y="4540580"/>
              <a:ext cx="88441" cy="190566"/>
              <a:chOff x="8659336" y="4698473"/>
              <a:chExt cx="82504" cy="177774"/>
            </a:xfrm>
          </p:grpSpPr>
          <p:sp>
            <p:nvSpPr>
              <p:cNvPr id="251" name="Freeform: Shape 214"/>
              <p:cNvSpPr/>
              <p:nvPr/>
            </p:nvSpPr>
            <p:spPr>
              <a:xfrm>
                <a:off x="8659336" y="4698473"/>
                <a:ext cx="82504" cy="165633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66" h="533">
                    <a:moveTo>
                      <a:pt x="266" y="0"/>
                    </a:moveTo>
                    <a:lnTo>
                      <a:pt x="266" y="533"/>
                    </a:lnTo>
                    <a:lnTo>
                      <a:pt x="0" y="356"/>
                    </a:lnTo>
                    <a:close/>
                  </a:path>
                </a:pathLst>
              </a:cu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3600" tIns="3600" rIns="3600" bIns="360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252" name="Straight Connector 251"/>
              <p:cNvSpPr/>
              <p:nvPr/>
            </p:nvSpPr>
            <p:spPr>
              <a:xfrm>
                <a:off x="8659336" y="4876247"/>
                <a:ext cx="47324" cy="0"/>
              </a:xfrm>
              <a:prstGeom prst="line">
                <a:avLst/>
              </a:prstGeom>
              <a:noFill/>
              <a:ln w="10160" cap="rnd">
                <a:solidFill>
                  <a:schemeClr val="tx2"/>
                </a:solidFill>
                <a:prstDash val="solid"/>
                <a:round/>
              </a:ln>
            </p:spPr>
            <p:txBody>
              <a:bodyPr vert="horz" wrap="none" lIns="3600" tIns="3600" rIns="3600" bIns="3600" anchor="ctr" anchorCtr="1" compatLnSpc="0"/>
              <a:lstStyle/>
              <a:p>
                <a:pPr hangingPunct="0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  <p:sp>
          <p:nvSpPr>
            <p:cNvPr id="246" name="Straight Connector 245"/>
            <p:cNvSpPr/>
            <p:nvPr/>
          </p:nvSpPr>
          <p:spPr>
            <a:xfrm>
              <a:off x="8175979" y="4650265"/>
              <a:ext cx="36879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8616390" y="4804376"/>
              <a:ext cx="29221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8233948" y="4841115"/>
              <a:ext cx="9464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8826670" y="4614461"/>
              <a:ext cx="31733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8525760" y="4804376"/>
              <a:ext cx="324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90639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3672756" y="3834353"/>
            <a:ext cx="5471244" cy="1110489"/>
            <a:chOff x="667320" y="1340267"/>
            <a:chExt cx="5737304" cy="1164491"/>
          </a:xfrm>
        </p:grpSpPr>
        <p:sp>
          <p:nvSpPr>
            <p:cNvPr id="5" name="Freeform: Shape 2"/>
            <p:cNvSpPr/>
            <p:nvPr/>
          </p:nvSpPr>
          <p:spPr>
            <a:xfrm>
              <a:off x="4672025" y="1719776"/>
              <a:ext cx="341330" cy="3413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4842689" y="1712522"/>
              <a:ext cx="0" cy="225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4842689" y="2053088"/>
              <a:ext cx="0" cy="2252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4903395" y="1726267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4773965" y="2041252"/>
              <a:ext cx="840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4956085" y="1766738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4713641" y="2006127"/>
              <a:ext cx="16035" cy="1527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4990064" y="1825535"/>
              <a:ext cx="20617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4674315" y="1953820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5001518" y="1893496"/>
              <a:ext cx="2252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4661334" y="1894259"/>
              <a:ext cx="22144" cy="38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4990064" y="1953820"/>
              <a:ext cx="21000" cy="80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4674315" y="1825917"/>
              <a:ext cx="20999" cy="8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4715169" y="1765211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4954558" y="2007272"/>
              <a:ext cx="15653" cy="1565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4769766" y="1727793"/>
              <a:ext cx="9162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4906831" y="2039724"/>
              <a:ext cx="8781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9"/>
            <p:cNvSpPr/>
            <p:nvPr/>
          </p:nvSpPr>
          <p:spPr>
            <a:xfrm>
              <a:off x="4788855" y="1887387"/>
              <a:ext cx="106904" cy="31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4685005" y="2184427"/>
              <a:ext cx="0" cy="11644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1"/>
            <p:cNvSpPr/>
            <p:nvPr/>
          </p:nvSpPr>
          <p:spPr>
            <a:xfrm>
              <a:off x="5098113" y="1931676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2"/>
            <p:cNvSpPr/>
            <p:nvPr/>
          </p:nvSpPr>
          <p:spPr>
            <a:xfrm>
              <a:off x="5131330" y="2142429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5121021" y="2027507"/>
              <a:ext cx="11339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4"/>
            <p:cNvSpPr/>
            <p:nvPr/>
          </p:nvSpPr>
          <p:spPr>
            <a:xfrm>
              <a:off x="4714404" y="1931676"/>
              <a:ext cx="376837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4898814" y="2213444"/>
              <a:ext cx="18097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6"/>
            <p:cNvSpPr/>
            <p:nvPr/>
          </p:nvSpPr>
          <p:spPr>
            <a:xfrm>
              <a:off x="5829643" y="1931676"/>
              <a:ext cx="376455" cy="3279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 flipH="1">
              <a:off x="5841097" y="2213444"/>
              <a:ext cx="18135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4728532" y="2306222"/>
              <a:ext cx="21380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5256942" y="1941984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5256942" y="1968710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5256942" y="2019490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5256942" y="2200463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5256942" y="2252388"/>
              <a:ext cx="4035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4"/>
            <p:cNvSpPr/>
            <p:nvPr/>
          </p:nvSpPr>
          <p:spPr>
            <a:xfrm>
              <a:off x="5094677" y="1831262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5"/>
            <p:cNvSpPr/>
            <p:nvPr/>
          </p:nvSpPr>
          <p:spPr>
            <a:xfrm>
              <a:off x="5222962" y="1831262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6"/>
            <p:cNvSpPr/>
            <p:nvPr/>
          </p:nvSpPr>
          <p:spPr>
            <a:xfrm>
              <a:off x="5120258" y="1755284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5162638" y="1958020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8"/>
            <p:cNvSpPr/>
            <p:nvPr/>
          </p:nvSpPr>
          <p:spPr>
            <a:xfrm>
              <a:off x="5663942" y="1931676"/>
              <a:ext cx="158447" cy="3562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9"/>
            <p:cNvSpPr/>
            <p:nvPr/>
          </p:nvSpPr>
          <p:spPr>
            <a:xfrm>
              <a:off x="5697158" y="2142429"/>
              <a:ext cx="92396" cy="15195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5686468" y="2027507"/>
              <a:ext cx="11377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5660505" y="1831262"/>
              <a:ext cx="38562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5788409" y="1831262"/>
              <a:ext cx="38944" cy="6948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5685704" y="1755284"/>
              <a:ext cx="114158" cy="14546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5728466" y="1958020"/>
              <a:ext cx="29399" cy="351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5051152" y="2306222"/>
              <a:ext cx="79376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5167601" y="2339820"/>
              <a:ext cx="0" cy="5421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5229071" y="2337148"/>
              <a:ext cx="45548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5366519" y="2381436"/>
              <a:ext cx="16646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413099" y="2409690"/>
              <a:ext cx="801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5837279" y="2331802"/>
              <a:ext cx="0" cy="80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 flipH="1">
              <a:off x="5862096" y="2342111"/>
              <a:ext cx="3634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 flipV="1">
              <a:off x="5862096" y="2220317"/>
              <a:ext cx="0" cy="4581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7"/>
            <p:cNvSpPr/>
            <p:nvPr/>
          </p:nvSpPr>
          <p:spPr>
            <a:xfrm>
              <a:off x="5902185" y="2279114"/>
              <a:ext cx="303913" cy="423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6323311" y="2319203"/>
              <a:ext cx="8131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6304985" y="2331802"/>
              <a:ext cx="0" cy="5994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76"/>
            <p:cNvSpPr/>
            <p:nvPr/>
          </p:nvSpPr>
          <p:spPr>
            <a:xfrm>
              <a:off x="6266423" y="2257351"/>
              <a:ext cx="77124" cy="316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871201" y="2152738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226"/>
            <p:cNvSpPr/>
            <p:nvPr/>
          </p:nvSpPr>
          <p:spPr>
            <a:xfrm>
              <a:off x="918926" y="1784301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227"/>
            <p:cNvSpPr/>
            <p:nvPr/>
          </p:nvSpPr>
          <p:spPr>
            <a:xfrm>
              <a:off x="1501935" y="1461297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228"/>
            <p:cNvSpPr/>
            <p:nvPr/>
          </p:nvSpPr>
          <p:spPr>
            <a:xfrm>
              <a:off x="1702380" y="2030944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1879918" y="1985128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1905880" y="1933966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1651219" y="1340267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1620675" y="1377301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233"/>
            <p:cNvSpPr/>
            <p:nvPr/>
          </p:nvSpPr>
          <p:spPr>
            <a:xfrm>
              <a:off x="1597768" y="1405936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1588604" y="2265369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 flipV="1">
              <a:off x="1895190" y="2074086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 flipV="1">
              <a:off x="2037983" y="1522767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 flipV="1">
              <a:off x="2169323" y="1522767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Freeform: Shape 238"/>
            <p:cNvSpPr/>
            <p:nvPr/>
          </p:nvSpPr>
          <p:spPr>
            <a:xfrm>
              <a:off x="2044475" y="1498713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 flipV="1">
              <a:off x="2103653" y="1384174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240"/>
            <p:cNvSpPr/>
            <p:nvPr/>
          </p:nvSpPr>
          <p:spPr>
            <a:xfrm>
              <a:off x="2074254" y="1559038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241"/>
            <p:cNvSpPr/>
            <p:nvPr/>
          </p:nvSpPr>
          <p:spPr>
            <a:xfrm>
              <a:off x="2058982" y="1621654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Freeform: Shape 242"/>
            <p:cNvSpPr/>
            <p:nvPr/>
          </p:nvSpPr>
          <p:spPr>
            <a:xfrm>
              <a:off x="2055546" y="1661743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243"/>
            <p:cNvSpPr/>
            <p:nvPr/>
          </p:nvSpPr>
          <p:spPr>
            <a:xfrm>
              <a:off x="2055546" y="169343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244"/>
            <p:cNvSpPr/>
            <p:nvPr/>
          </p:nvSpPr>
          <p:spPr>
            <a:xfrm>
              <a:off x="2055546" y="172474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245"/>
            <p:cNvSpPr/>
            <p:nvPr/>
          </p:nvSpPr>
          <p:spPr>
            <a:xfrm>
              <a:off x="2055546" y="175604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246"/>
            <p:cNvSpPr/>
            <p:nvPr/>
          </p:nvSpPr>
          <p:spPr>
            <a:xfrm>
              <a:off x="2055546" y="17873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247"/>
            <p:cNvSpPr/>
            <p:nvPr/>
          </p:nvSpPr>
          <p:spPr>
            <a:xfrm>
              <a:off x="2055546" y="1818663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248"/>
            <p:cNvSpPr/>
            <p:nvPr/>
          </p:nvSpPr>
          <p:spPr>
            <a:xfrm>
              <a:off x="2055546" y="184997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Freeform: Shape 249"/>
            <p:cNvSpPr/>
            <p:nvPr/>
          </p:nvSpPr>
          <p:spPr>
            <a:xfrm>
              <a:off x="2055546" y="1881660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Freeform: Shape 250"/>
            <p:cNvSpPr/>
            <p:nvPr/>
          </p:nvSpPr>
          <p:spPr>
            <a:xfrm>
              <a:off x="2055546" y="1912967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Freeform: Shape 251"/>
            <p:cNvSpPr/>
            <p:nvPr/>
          </p:nvSpPr>
          <p:spPr>
            <a:xfrm>
              <a:off x="2055546" y="1944274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Freeform: Shape 252"/>
            <p:cNvSpPr/>
            <p:nvPr/>
          </p:nvSpPr>
          <p:spPr>
            <a:xfrm>
              <a:off x="2055546" y="1975964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Freeform: Shape 253"/>
            <p:cNvSpPr/>
            <p:nvPr/>
          </p:nvSpPr>
          <p:spPr>
            <a:xfrm>
              <a:off x="2055546" y="2007654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Freeform: Shape 254"/>
            <p:cNvSpPr/>
            <p:nvPr/>
          </p:nvSpPr>
          <p:spPr>
            <a:xfrm>
              <a:off x="2055546" y="2038961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Freeform: Shape 255"/>
            <p:cNvSpPr/>
            <p:nvPr/>
          </p:nvSpPr>
          <p:spPr>
            <a:xfrm>
              <a:off x="2186122" y="174039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Freeform: Shape 256"/>
            <p:cNvSpPr/>
            <p:nvPr/>
          </p:nvSpPr>
          <p:spPr>
            <a:xfrm>
              <a:off x="2186122" y="176177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Freeform: Shape 257"/>
            <p:cNvSpPr/>
            <p:nvPr/>
          </p:nvSpPr>
          <p:spPr>
            <a:xfrm>
              <a:off x="2186122" y="178277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Freeform: Shape 258"/>
            <p:cNvSpPr/>
            <p:nvPr/>
          </p:nvSpPr>
          <p:spPr>
            <a:xfrm>
              <a:off x="2186122" y="18041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Freeform: Shape 259"/>
            <p:cNvSpPr/>
            <p:nvPr/>
          </p:nvSpPr>
          <p:spPr>
            <a:xfrm>
              <a:off x="2186122" y="182553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Freeform: Shape 260"/>
            <p:cNvSpPr/>
            <p:nvPr/>
          </p:nvSpPr>
          <p:spPr>
            <a:xfrm>
              <a:off x="2186122" y="184691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261"/>
            <p:cNvSpPr/>
            <p:nvPr/>
          </p:nvSpPr>
          <p:spPr>
            <a:xfrm>
              <a:off x="2186122" y="186829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262"/>
            <p:cNvSpPr/>
            <p:nvPr/>
          </p:nvSpPr>
          <p:spPr>
            <a:xfrm>
              <a:off x="2186122" y="189005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263"/>
            <p:cNvSpPr/>
            <p:nvPr/>
          </p:nvSpPr>
          <p:spPr>
            <a:xfrm>
              <a:off x="2186122" y="191105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264"/>
            <p:cNvSpPr/>
            <p:nvPr/>
          </p:nvSpPr>
          <p:spPr>
            <a:xfrm>
              <a:off x="2186122" y="193243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265"/>
            <p:cNvSpPr/>
            <p:nvPr/>
          </p:nvSpPr>
          <p:spPr>
            <a:xfrm>
              <a:off x="2186122" y="195382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266"/>
            <p:cNvSpPr/>
            <p:nvPr/>
          </p:nvSpPr>
          <p:spPr>
            <a:xfrm>
              <a:off x="2186122" y="197520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267"/>
            <p:cNvSpPr/>
            <p:nvPr/>
          </p:nvSpPr>
          <p:spPr>
            <a:xfrm>
              <a:off x="2186122" y="199658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268"/>
            <p:cNvSpPr/>
            <p:nvPr/>
          </p:nvSpPr>
          <p:spPr>
            <a:xfrm>
              <a:off x="2186122" y="201796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269"/>
            <p:cNvSpPr/>
            <p:nvPr/>
          </p:nvSpPr>
          <p:spPr>
            <a:xfrm>
              <a:off x="2186122" y="203972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2348770" y="1735812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271"/>
            <p:cNvSpPr/>
            <p:nvPr/>
          </p:nvSpPr>
          <p:spPr>
            <a:xfrm>
              <a:off x="2077308" y="2061870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272"/>
            <p:cNvSpPr/>
            <p:nvPr/>
          </p:nvSpPr>
          <p:spPr>
            <a:xfrm>
              <a:off x="2465599" y="2179082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2000185" y="1909913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2018129" y="1909913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275"/>
            <p:cNvSpPr/>
            <p:nvPr/>
          </p:nvSpPr>
          <p:spPr>
            <a:xfrm>
              <a:off x="2025765" y="2115322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276"/>
            <p:cNvSpPr/>
            <p:nvPr/>
          </p:nvSpPr>
          <p:spPr>
            <a:xfrm>
              <a:off x="2055546" y="2142048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277"/>
            <p:cNvSpPr/>
            <p:nvPr/>
          </p:nvSpPr>
          <p:spPr>
            <a:xfrm>
              <a:off x="2300280" y="2080577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278"/>
            <p:cNvSpPr/>
            <p:nvPr/>
          </p:nvSpPr>
          <p:spPr>
            <a:xfrm>
              <a:off x="2519433" y="2068360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279"/>
            <p:cNvSpPr/>
            <p:nvPr/>
          </p:nvSpPr>
          <p:spPr>
            <a:xfrm>
              <a:off x="2746986" y="2062251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280"/>
            <p:cNvSpPr/>
            <p:nvPr/>
          </p:nvSpPr>
          <p:spPr>
            <a:xfrm>
              <a:off x="2763022" y="2149302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281"/>
            <p:cNvSpPr/>
            <p:nvPr/>
          </p:nvSpPr>
          <p:spPr>
            <a:xfrm>
              <a:off x="2415965" y="1899986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282"/>
            <p:cNvSpPr/>
            <p:nvPr/>
          </p:nvSpPr>
          <p:spPr>
            <a:xfrm>
              <a:off x="2396876" y="1881660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283"/>
            <p:cNvSpPr/>
            <p:nvPr/>
          </p:nvSpPr>
          <p:spPr>
            <a:xfrm>
              <a:off x="1424430" y="1973292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Freeform: Shape 284"/>
            <p:cNvSpPr/>
            <p:nvPr/>
          </p:nvSpPr>
          <p:spPr>
            <a:xfrm>
              <a:off x="1396177" y="2177173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285"/>
            <p:cNvSpPr/>
            <p:nvPr/>
          </p:nvSpPr>
          <p:spPr>
            <a:xfrm>
              <a:off x="3682016" y="2014526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286"/>
            <p:cNvSpPr/>
            <p:nvPr/>
          </p:nvSpPr>
          <p:spPr>
            <a:xfrm>
              <a:off x="3733942" y="2122194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Freeform: Shape 287"/>
            <p:cNvSpPr/>
            <p:nvPr/>
          </p:nvSpPr>
          <p:spPr>
            <a:xfrm>
              <a:off x="3845809" y="2053088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2187267" y="1659452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2187267" y="168541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2187267" y="1711759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2202158" y="1610963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2591976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2614120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2636264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2658409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2680553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2702699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2725224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2746986" y="1554839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3479661" y="1683887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3644981" y="1683887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Freeform: Shape 302"/>
            <p:cNvSpPr/>
            <p:nvPr/>
          </p:nvSpPr>
          <p:spPr>
            <a:xfrm>
              <a:off x="2571358" y="1525440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2559141" y="1496422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2816856" y="1933966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2785930" y="1993909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3149786" y="2006890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3242945" y="1973292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3350995" y="1999254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3410556" y="1937784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3396047" y="2183664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3504860" y="2238261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3496461" y="2145102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3496461" y="1985509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3496461" y="1829735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3516697" y="2006890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3547241" y="2006890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3577785" y="2006890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3607946" y="2006890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3516697" y="1849207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3547241" y="1849207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3577785" y="1849207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3607946" y="1849207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3516697" y="1695341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3547241" y="1695341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3577785" y="1695341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3607946" y="1695341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Freeform: Shape 327"/>
            <p:cNvSpPr/>
            <p:nvPr/>
          </p:nvSpPr>
          <p:spPr>
            <a:xfrm>
              <a:off x="3489970" y="1586910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Freeform: Shape 328"/>
            <p:cNvSpPr/>
            <p:nvPr/>
          </p:nvSpPr>
          <p:spPr>
            <a:xfrm>
              <a:off x="2304861" y="2235589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Freeform: Shape 329"/>
            <p:cNvSpPr/>
            <p:nvPr/>
          </p:nvSpPr>
          <p:spPr>
            <a:xfrm>
              <a:off x="2818001" y="2078669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Freeform: Shape 330"/>
            <p:cNvSpPr/>
            <p:nvPr/>
          </p:nvSpPr>
          <p:spPr>
            <a:xfrm>
              <a:off x="3286089" y="2027507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331"/>
            <p:cNvSpPr/>
            <p:nvPr/>
          </p:nvSpPr>
          <p:spPr>
            <a:xfrm>
              <a:off x="3340686" y="2090123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Freeform: Shape 332"/>
            <p:cNvSpPr/>
            <p:nvPr/>
          </p:nvSpPr>
          <p:spPr>
            <a:xfrm>
              <a:off x="3753795" y="1665942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3811064" y="2196645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4035945" y="2169537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4386437" y="2145102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Freeform: Shape 336"/>
            <p:cNvSpPr/>
            <p:nvPr/>
          </p:nvSpPr>
          <p:spPr>
            <a:xfrm>
              <a:off x="4109633" y="2014526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4306259" y="2038961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3677052" y="1949620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Freeform: Shape 339"/>
            <p:cNvSpPr/>
            <p:nvPr/>
          </p:nvSpPr>
          <p:spPr>
            <a:xfrm>
              <a:off x="4048926" y="1720540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1571805" y="2361965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744696" y="2375328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342"/>
            <p:cNvSpPr/>
            <p:nvPr/>
          </p:nvSpPr>
          <p:spPr>
            <a:xfrm>
              <a:off x="667320" y="2191300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Freeform: Shape 343"/>
            <p:cNvSpPr/>
            <p:nvPr/>
          </p:nvSpPr>
          <p:spPr>
            <a:xfrm>
              <a:off x="848293" y="2217262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1028503" y="2341347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1158315" y="2389454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1654655" y="2340202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3315869" y="2355856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3481570" y="2398236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3950803" y="2341347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187267" y="2238261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Freeform: Shape 351"/>
            <p:cNvSpPr/>
            <p:nvPr/>
          </p:nvSpPr>
          <p:spPr>
            <a:xfrm>
              <a:off x="2866872" y="1564002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2866872" y="165563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66872" y="169801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866872" y="1730084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866872" y="176215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66872" y="179384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866872" y="1825535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2866872" y="185760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866872" y="188967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866872" y="192136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866872" y="195343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2866872" y="198512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866872" y="2017199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2866872" y="204927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866872" y="208134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2866872" y="2109213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866872" y="2141284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866872" y="2173355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369"/>
            <p:cNvSpPr/>
            <p:nvPr/>
          </p:nvSpPr>
          <p:spPr>
            <a:xfrm>
              <a:off x="2916124" y="1524295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3018446" y="1591873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1532861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1532861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1532861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1532861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1532861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1532861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1532861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1532861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1532861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1532861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1532861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>
              <a:off x="1532861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1532861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1532861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1532861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1532861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1532861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1563023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1563023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1563023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1563023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1563023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1563023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1563023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1563023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1563023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1563023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1563023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1563023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1563023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1563023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1563023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1563023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1563023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1593567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1593567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1593567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>
              <a:off x="1593567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>
              <a:off x="1593567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1593567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1593567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1593567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1593567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1593567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1593567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1593567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1593567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1593567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Straight Connector 253"/>
            <p:cNvSpPr/>
            <p:nvPr/>
          </p:nvSpPr>
          <p:spPr>
            <a:xfrm>
              <a:off x="1593567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1593567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1593567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Straight Connector 256"/>
            <p:cNvSpPr/>
            <p:nvPr/>
          </p:nvSpPr>
          <p:spPr>
            <a:xfrm>
              <a:off x="1624111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1624111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1624111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1624111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1624111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1624111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1624111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1624111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>
              <a:off x="1624111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>
              <a:off x="1624111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>
              <a:off x="1624111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>
              <a:off x="1624111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>
              <a:off x="1624111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Straight Connector 269"/>
            <p:cNvSpPr/>
            <p:nvPr/>
          </p:nvSpPr>
          <p:spPr>
            <a:xfrm>
              <a:off x="1624111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Straight Connector 270"/>
            <p:cNvSpPr/>
            <p:nvPr/>
          </p:nvSpPr>
          <p:spPr>
            <a:xfrm>
              <a:off x="1624111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Straight Connector 271"/>
            <p:cNvSpPr/>
            <p:nvPr/>
          </p:nvSpPr>
          <p:spPr>
            <a:xfrm>
              <a:off x="1624111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1624111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Straight Connector 273"/>
            <p:cNvSpPr/>
            <p:nvPr/>
          </p:nvSpPr>
          <p:spPr>
            <a:xfrm>
              <a:off x="1654655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1654655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1654655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1654655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1654655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1654655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Straight Connector 279"/>
            <p:cNvSpPr/>
            <p:nvPr/>
          </p:nvSpPr>
          <p:spPr>
            <a:xfrm>
              <a:off x="1654655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Straight Connector 280"/>
            <p:cNvSpPr/>
            <p:nvPr/>
          </p:nvSpPr>
          <p:spPr>
            <a:xfrm>
              <a:off x="1654655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Straight Connector 281"/>
            <p:cNvSpPr/>
            <p:nvPr/>
          </p:nvSpPr>
          <p:spPr>
            <a:xfrm>
              <a:off x="1654655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Straight Connector 282"/>
            <p:cNvSpPr/>
            <p:nvPr/>
          </p:nvSpPr>
          <p:spPr>
            <a:xfrm>
              <a:off x="1654655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Straight Connector 283"/>
            <p:cNvSpPr/>
            <p:nvPr/>
          </p:nvSpPr>
          <p:spPr>
            <a:xfrm>
              <a:off x="1654655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Straight Connector 284"/>
            <p:cNvSpPr/>
            <p:nvPr/>
          </p:nvSpPr>
          <p:spPr>
            <a:xfrm>
              <a:off x="1654655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Straight Connector 285"/>
            <p:cNvSpPr/>
            <p:nvPr/>
          </p:nvSpPr>
          <p:spPr>
            <a:xfrm>
              <a:off x="1654655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Straight Connector 286"/>
            <p:cNvSpPr/>
            <p:nvPr/>
          </p:nvSpPr>
          <p:spPr>
            <a:xfrm>
              <a:off x="1654655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Straight Connector 287"/>
            <p:cNvSpPr/>
            <p:nvPr/>
          </p:nvSpPr>
          <p:spPr>
            <a:xfrm>
              <a:off x="1654655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Straight Connector 288"/>
            <p:cNvSpPr/>
            <p:nvPr/>
          </p:nvSpPr>
          <p:spPr>
            <a:xfrm>
              <a:off x="1654655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Straight Connector 289"/>
            <p:cNvSpPr/>
            <p:nvPr/>
          </p:nvSpPr>
          <p:spPr>
            <a:xfrm>
              <a:off x="1654655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1685199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1685199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1685199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1685199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1685199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1685199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1685199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1685199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1685199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1685199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1685199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1685199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1685199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1685199" y="203323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1685199" y="207485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1685199" y="2116084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1685199" y="2157320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1806994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1806994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1806994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1806994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1806994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1806994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1806994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1806994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1806994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1806994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1806994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1806994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1806994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1776451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1776451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1776451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1776451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1776451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1776451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1776451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1776451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1776451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1776451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1776451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Straight Connector 331"/>
            <p:cNvSpPr/>
            <p:nvPr/>
          </p:nvSpPr>
          <p:spPr>
            <a:xfrm>
              <a:off x="1776451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Straight Connector 332"/>
            <p:cNvSpPr/>
            <p:nvPr/>
          </p:nvSpPr>
          <p:spPr>
            <a:xfrm>
              <a:off x="1776451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Straight Connector 333"/>
            <p:cNvSpPr/>
            <p:nvPr/>
          </p:nvSpPr>
          <p:spPr>
            <a:xfrm>
              <a:off x="1745906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Straight Connector 334"/>
            <p:cNvSpPr/>
            <p:nvPr/>
          </p:nvSpPr>
          <p:spPr>
            <a:xfrm>
              <a:off x="1745906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1745906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1745906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1745906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1745906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1745906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1745906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1745906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1745906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1745906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1745906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1745906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1715743" y="1496040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1715743" y="1537276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1715743" y="15788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1715743" y="16201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1715743" y="166136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1715743" y="170297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1715743" y="174421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1715743" y="178506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1715743" y="182668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1715743" y="1867915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1715743" y="190914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1715743" y="195076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1715743" y="1992000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Freeform: Shape 527"/>
            <p:cNvSpPr/>
            <p:nvPr/>
          </p:nvSpPr>
          <p:spPr>
            <a:xfrm>
              <a:off x="4941957" y="2271095"/>
              <a:ext cx="57652" cy="13630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4942721" y="2411599"/>
              <a:ext cx="3245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Freeform: Shape 531"/>
            <p:cNvSpPr/>
            <p:nvPr/>
          </p:nvSpPr>
          <p:spPr>
            <a:xfrm>
              <a:off x="4536486" y="2220317"/>
              <a:ext cx="116831" cy="27604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4538394" y="2504758"/>
              <a:ext cx="656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4908101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151952" y="3415811"/>
            <a:ext cx="8840097" cy="1216152"/>
            <a:chOff x="-5539320" y="3765960"/>
            <a:chExt cx="9964800" cy="1370880"/>
          </a:xfrm>
        </p:grpSpPr>
        <p:sp>
          <p:nvSpPr>
            <p:cNvPr id="5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4065399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151952" y="3415811"/>
            <a:ext cx="8840097" cy="1216152"/>
            <a:chOff x="-5539320" y="3765960"/>
            <a:chExt cx="9964800" cy="1370880"/>
          </a:xfrm>
        </p:grpSpPr>
        <p:sp>
          <p:nvSpPr>
            <p:cNvPr id="5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Straight Connector 306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Straight Connector 343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1">
                  <a:lumMod val="25000"/>
                  <a:lumOff val="75000"/>
                </a:schemeClr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64341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0" name="think-cell Slide" r:id="rId4" imgW="381" imgH="286" progId="TCLayout.ActiveDocument.1">
                  <p:embed/>
                </p:oleObj>
              </mc:Choice>
              <mc:Fallback>
                <p:oleObj name="think-cell Slide" r:id="rId4" imgW="381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089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1342392" y="341313"/>
            <a:ext cx="7440862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6377760" y="4048722"/>
            <a:ext cx="2766240" cy="795784"/>
            <a:chOff x="-319680" y="4767120"/>
            <a:chExt cx="1624320" cy="467280"/>
          </a:xfrm>
        </p:grpSpPr>
        <p:sp>
          <p:nvSpPr>
            <p:cNvPr id="6" name="Straight Connector 5"/>
            <p:cNvSpPr/>
            <p:nvPr/>
          </p:nvSpPr>
          <p:spPr>
            <a:xfrm>
              <a:off x="17280" y="4994640"/>
              <a:ext cx="96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87120" y="476712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897839" y="476712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Freeform: Shape 5"/>
            <p:cNvSpPr/>
            <p:nvPr/>
          </p:nvSpPr>
          <p:spPr>
            <a:xfrm>
              <a:off x="88920" y="479268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15264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200160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24984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29808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>
              <a:off x="3463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>
              <a:off x="39456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>
              <a:off x="443159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>
              <a:off x="829799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781919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732599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684359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6361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58788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539280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491400" y="494604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319680" y="499464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2"/>
            <p:cNvSpPr/>
            <p:nvPr/>
          </p:nvSpPr>
          <p:spPr>
            <a:xfrm>
              <a:off x="-319680" y="479268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1908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28800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-7848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12672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-17532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-22356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271800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 flipH="1">
              <a:off x="810719" y="4994640"/>
              <a:ext cx="49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1"/>
            <p:cNvSpPr/>
            <p:nvPr/>
          </p:nvSpPr>
          <p:spPr>
            <a:xfrm>
              <a:off x="898199" y="479268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0" y="0"/>
                  </a:moveTo>
                  <a:cubicBezTo>
                    <a:pt x="276" y="261"/>
                    <a:pt x="680" y="426"/>
                    <a:pt x="1129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966240" y="484668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1013759" y="487512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1063440" y="490032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1111680" y="491796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1160280" y="492948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1208520" y="493992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1256759" y="4944239"/>
              <a:ext cx="0" cy="50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314280" y="5066640"/>
              <a:ext cx="535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433440" y="510948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380160" y="5149800"/>
              <a:ext cx="106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40680" y="5195160"/>
              <a:ext cx="75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-7560" y="5195160"/>
              <a:ext cx="15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335520" y="5149800"/>
              <a:ext cx="15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5"/>
            <p:cNvSpPr/>
            <p:nvPr/>
          </p:nvSpPr>
          <p:spPr>
            <a:xfrm>
              <a:off x="188280" y="5110560"/>
              <a:ext cx="50760" cy="11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2" h="334">
                  <a:moveTo>
                    <a:pt x="142" y="0"/>
                  </a:moveTo>
                  <a:lnTo>
                    <a:pt x="142" y="334"/>
                  </a:lnTo>
                  <a:lnTo>
                    <a:pt x="0" y="22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189000" y="523440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47"/>
            <p:cNvSpPr/>
            <p:nvPr/>
          </p:nvSpPr>
          <p:spPr>
            <a:xfrm>
              <a:off x="1010520" y="5052240"/>
              <a:ext cx="33840" cy="80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5" h="225">
                  <a:moveTo>
                    <a:pt x="95" y="0"/>
                  </a:moveTo>
                  <a:lnTo>
                    <a:pt x="95" y="225"/>
                  </a:lnTo>
                  <a:lnTo>
                    <a:pt x="0" y="15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1010879" y="5135400"/>
              <a:ext cx="1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6022322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8667595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741548" y="1778202"/>
            <a:ext cx="5660904" cy="1622975"/>
            <a:chOff x="-198360" y="2843280"/>
            <a:chExt cx="7830359" cy="2244959"/>
          </a:xfrm>
        </p:grpSpPr>
        <p:sp>
          <p:nvSpPr>
            <p:cNvPr id="3" name="Straight Connector 2"/>
            <p:cNvSpPr/>
            <p:nvPr/>
          </p:nvSpPr>
          <p:spPr>
            <a:xfrm>
              <a:off x="284472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" name="Straight Connector 3"/>
            <p:cNvSpPr/>
            <p:nvPr/>
          </p:nvSpPr>
          <p:spPr>
            <a:xfrm>
              <a:off x="2928959" y="4534560"/>
              <a:ext cx="790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" name="Freeform: Shape 3"/>
            <p:cNvSpPr/>
            <p:nvPr/>
          </p:nvSpPr>
          <p:spPr>
            <a:xfrm>
              <a:off x="3028320" y="3767400"/>
              <a:ext cx="1139760" cy="729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67" h="2027" fill="none">
                  <a:moveTo>
                    <a:pt x="0" y="2027"/>
                  </a:moveTo>
                  <a:lnTo>
                    <a:pt x="1583" y="0"/>
                  </a:lnTo>
                  <a:lnTo>
                    <a:pt x="3167" y="2027"/>
                  </a:lnTo>
                  <a:lnTo>
                    <a:pt x="3167" y="167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Freeform: Shape 4"/>
            <p:cNvSpPr/>
            <p:nvPr/>
          </p:nvSpPr>
          <p:spPr>
            <a:xfrm>
              <a:off x="4240079" y="3094200"/>
              <a:ext cx="706680" cy="14882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64" h="4135" fill="none">
                  <a:moveTo>
                    <a:pt x="0" y="4135"/>
                  </a:moveTo>
                  <a:lnTo>
                    <a:pt x="0" y="0"/>
                  </a:lnTo>
                  <a:lnTo>
                    <a:pt x="1964" y="0"/>
                  </a:lnTo>
                  <a:lnTo>
                    <a:pt x="1964" y="31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5"/>
            <p:cNvSpPr/>
            <p:nvPr/>
          </p:nvSpPr>
          <p:spPr>
            <a:xfrm>
              <a:off x="4657680" y="4280760"/>
              <a:ext cx="578520" cy="453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08" h="1261" fill="none">
                  <a:moveTo>
                    <a:pt x="0" y="1261"/>
                  </a:moveTo>
                  <a:lnTo>
                    <a:pt x="0" y="0"/>
                  </a:lnTo>
                  <a:lnTo>
                    <a:pt x="1608" y="0"/>
                  </a:lnTo>
                  <a:lnTo>
                    <a:pt x="1608" y="125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5026320" y="4186079"/>
              <a:ext cx="17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5081400" y="4079520"/>
              <a:ext cx="0" cy="58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4551120" y="2843280"/>
              <a:ext cx="8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4488120" y="2919600"/>
              <a:ext cx="21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Freeform: Shape 10"/>
            <p:cNvSpPr/>
            <p:nvPr/>
          </p:nvSpPr>
          <p:spPr>
            <a:xfrm>
              <a:off x="4440240" y="2980440"/>
              <a:ext cx="315720" cy="113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78" h="316" fill="none">
                  <a:moveTo>
                    <a:pt x="0" y="316"/>
                  </a:moveTo>
                  <a:lnTo>
                    <a:pt x="0" y="0"/>
                  </a:lnTo>
                  <a:lnTo>
                    <a:pt x="878" y="0"/>
                  </a:lnTo>
                  <a:lnTo>
                    <a:pt x="878" y="31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>
              <a:off x="4420800" y="4768200"/>
              <a:ext cx="411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V="1">
              <a:off x="5059080" y="4371120"/>
              <a:ext cx="0" cy="349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V="1">
              <a:off x="5356440" y="3223440"/>
              <a:ext cx="0" cy="109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V="1">
              <a:off x="5630040" y="3223440"/>
              <a:ext cx="0" cy="109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15"/>
            <p:cNvSpPr/>
            <p:nvPr/>
          </p:nvSpPr>
          <p:spPr>
            <a:xfrm>
              <a:off x="5369760" y="3173760"/>
              <a:ext cx="243360" cy="73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7" h="206" fill="none">
                  <a:moveTo>
                    <a:pt x="0" y="206"/>
                  </a:moveTo>
                  <a:lnTo>
                    <a:pt x="342" y="0"/>
                  </a:lnTo>
                  <a:lnTo>
                    <a:pt x="677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V="1">
              <a:off x="5492880" y="2977559"/>
              <a:ext cx="0" cy="196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7"/>
            <p:cNvSpPr/>
            <p:nvPr/>
          </p:nvSpPr>
          <p:spPr>
            <a:xfrm>
              <a:off x="5431680" y="3298680"/>
              <a:ext cx="120600" cy="6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36" h="189">
                  <a:moveTo>
                    <a:pt x="168" y="189"/>
                  </a:moveTo>
                  <a:lnTo>
                    <a:pt x="0" y="189"/>
                  </a:lnTo>
                  <a:lnTo>
                    <a:pt x="0" y="0"/>
                  </a:lnTo>
                  <a:lnTo>
                    <a:pt x="336" y="0"/>
                  </a:lnTo>
                  <a:lnTo>
                    <a:pt x="336" y="18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18"/>
            <p:cNvSpPr/>
            <p:nvPr/>
          </p:nvSpPr>
          <p:spPr>
            <a:xfrm>
              <a:off x="5399280" y="3428639"/>
              <a:ext cx="181440" cy="34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5" h="96">
                  <a:moveTo>
                    <a:pt x="253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505" y="0"/>
                  </a:lnTo>
                  <a:lnTo>
                    <a:pt x="505" y="9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19"/>
            <p:cNvSpPr/>
            <p:nvPr/>
          </p:nvSpPr>
          <p:spPr>
            <a:xfrm>
              <a:off x="5392080" y="3511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20"/>
            <p:cNvSpPr/>
            <p:nvPr/>
          </p:nvSpPr>
          <p:spPr>
            <a:xfrm>
              <a:off x="5392080" y="35780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1"/>
            <p:cNvSpPr/>
            <p:nvPr/>
          </p:nvSpPr>
          <p:spPr>
            <a:xfrm>
              <a:off x="5392080" y="36428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2"/>
            <p:cNvSpPr/>
            <p:nvPr/>
          </p:nvSpPr>
          <p:spPr>
            <a:xfrm>
              <a:off x="5392080" y="370908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3"/>
            <p:cNvSpPr/>
            <p:nvPr/>
          </p:nvSpPr>
          <p:spPr>
            <a:xfrm>
              <a:off x="5392080" y="377352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4"/>
            <p:cNvSpPr/>
            <p:nvPr/>
          </p:nvSpPr>
          <p:spPr>
            <a:xfrm>
              <a:off x="5392080" y="383868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5"/>
            <p:cNvSpPr/>
            <p:nvPr/>
          </p:nvSpPr>
          <p:spPr>
            <a:xfrm>
              <a:off x="5392080" y="390456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6"/>
            <p:cNvSpPr/>
            <p:nvPr/>
          </p:nvSpPr>
          <p:spPr>
            <a:xfrm>
              <a:off x="5392080" y="3970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7"/>
            <p:cNvSpPr/>
            <p:nvPr/>
          </p:nvSpPr>
          <p:spPr>
            <a:xfrm>
              <a:off x="5392080" y="4035599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8"/>
            <p:cNvSpPr/>
            <p:nvPr/>
          </p:nvSpPr>
          <p:spPr>
            <a:xfrm>
              <a:off x="5392080" y="410076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9"/>
            <p:cNvSpPr/>
            <p:nvPr/>
          </p:nvSpPr>
          <p:spPr>
            <a:xfrm>
              <a:off x="5392080" y="41666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30"/>
            <p:cNvSpPr/>
            <p:nvPr/>
          </p:nvSpPr>
          <p:spPr>
            <a:xfrm>
              <a:off x="5392080" y="423180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31"/>
            <p:cNvSpPr/>
            <p:nvPr/>
          </p:nvSpPr>
          <p:spPr>
            <a:xfrm>
              <a:off x="5392080" y="4298040"/>
              <a:ext cx="1980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>
                  <a:moveTo>
                    <a:pt x="551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32"/>
            <p:cNvSpPr/>
            <p:nvPr/>
          </p:nvSpPr>
          <p:spPr>
            <a:xfrm>
              <a:off x="5664600" y="3675599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3"/>
            <p:cNvSpPr/>
            <p:nvPr/>
          </p:nvSpPr>
          <p:spPr>
            <a:xfrm>
              <a:off x="5664600" y="37202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4"/>
            <p:cNvSpPr/>
            <p:nvPr/>
          </p:nvSpPr>
          <p:spPr>
            <a:xfrm>
              <a:off x="5664600" y="376452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5"/>
            <p:cNvSpPr/>
            <p:nvPr/>
          </p:nvSpPr>
          <p:spPr>
            <a:xfrm>
              <a:off x="5664600" y="380916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6"/>
            <p:cNvSpPr/>
            <p:nvPr/>
          </p:nvSpPr>
          <p:spPr>
            <a:xfrm>
              <a:off x="5664600" y="385380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7"/>
            <p:cNvSpPr/>
            <p:nvPr/>
          </p:nvSpPr>
          <p:spPr>
            <a:xfrm>
              <a:off x="5664600" y="38984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8"/>
            <p:cNvSpPr/>
            <p:nvPr/>
          </p:nvSpPr>
          <p:spPr>
            <a:xfrm>
              <a:off x="5664600" y="39434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9"/>
            <p:cNvSpPr/>
            <p:nvPr/>
          </p:nvSpPr>
          <p:spPr>
            <a:xfrm>
              <a:off x="5664600" y="398700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40"/>
            <p:cNvSpPr/>
            <p:nvPr/>
          </p:nvSpPr>
          <p:spPr>
            <a:xfrm>
              <a:off x="5664600" y="40316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41"/>
            <p:cNvSpPr/>
            <p:nvPr/>
          </p:nvSpPr>
          <p:spPr>
            <a:xfrm>
              <a:off x="5664600" y="407628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2"/>
            <p:cNvSpPr/>
            <p:nvPr/>
          </p:nvSpPr>
          <p:spPr>
            <a:xfrm>
              <a:off x="5664600" y="4120919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3"/>
            <p:cNvSpPr/>
            <p:nvPr/>
          </p:nvSpPr>
          <p:spPr>
            <a:xfrm>
              <a:off x="5664600" y="416484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4"/>
            <p:cNvSpPr/>
            <p:nvPr/>
          </p:nvSpPr>
          <p:spPr>
            <a:xfrm>
              <a:off x="5664600" y="420948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5"/>
            <p:cNvSpPr/>
            <p:nvPr/>
          </p:nvSpPr>
          <p:spPr>
            <a:xfrm>
              <a:off x="5664600" y="425412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6"/>
            <p:cNvSpPr/>
            <p:nvPr/>
          </p:nvSpPr>
          <p:spPr>
            <a:xfrm>
              <a:off x="5664600" y="4298760"/>
              <a:ext cx="29124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10">
                  <a:moveTo>
                    <a:pt x="81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6002640" y="3666239"/>
              <a:ext cx="0" cy="6433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8"/>
            <p:cNvSpPr/>
            <p:nvPr/>
          </p:nvSpPr>
          <p:spPr>
            <a:xfrm>
              <a:off x="5437800" y="4345560"/>
              <a:ext cx="1357920" cy="221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73" h="615" fill="none">
                  <a:moveTo>
                    <a:pt x="0" y="0"/>
                  </a:moveTo>
                  <a:lnTo>
                    <a:pt x="2283" y="0"/>
                  </a:lnTo>
                  <a:lnTo>
                    <a:pt x="2283" y="375"/>
                  </a:lnTo>
                  <a:lnTo>
                    <a:pt x="3773" y="375"/>
                  </a:lnTo>
                  <a:lnTo>
                    <a:pt x="3773" y="61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Freeform: Shape 49"/>
            <p:cNvSpPr/>
            <p:nvPr/>
          </p:nvSpPr>
          <p:spPr>
            <a:xfrm>
              <a:off x="6246720" y="4589279"/>
              <a:ext cx="889559" cy="109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72" h="305" fill="none">
                  <a:moveTo>
                    <a:pt x="0" y="0"/>
                  </a:moveTo>
                  <a:lnTo>
                    <a:pt x="1080" y="0"/>
                  </a:lnTo>
                  <a:lnTo>
                    <a:pt x="1080" y="305"/>
                  </a:lnTo>
                  <a:lnTo>
                    <a:pt x="2472" y="3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5277240" y="4023720"/>
              <a:ext cx="0" cy="30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5315040" y="4023720"/>
              <a:ext cx="0" cy="30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52"/>
            <p:cNvSpPr/>
            <p:nvPr/>
          </p:nvSpPr>
          <p:spPr>
            <a:xfrm>
              <a:off x="5331240" y="4456440"/>
              <a:ext cx="394920" cy="21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98" h="590" fill="none">
                  <a:moveTo>
                    <a:pt x="0" y="590"/>
                  </a:moveTo>
                  <a:lnTo>
                    <a:pt x="0" y="0"/>
                  </a:lnTo>
                  <a:lnTo>
                    <a:pt x="1098" y="0"/>
                  </a:lnTo>
                  <a:lnTo>
                    <a:pt x="1098" y="57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53"/>
            <p:cNvSpPr/>
            <p:nvPr/>
          </p:nvSpPr>
          <p:spPr>
            <a:xfrm>
              <a:off x="5392080" y="4512240"/>
              <a:ext cx="215280" cy="55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9" h="155">
                  <a:moveTo>
                    <a:pt x="299" y="155"/>
                  </a:moveTo>
                  <a:lnTo>
                    <a:pt x="0" y="155"/>
                  </a:lnTo>
                  <a:lnTo>
                    <a:pt x="0" y="0"/>
                  </a:lnTo>
                  <a:lnTo>
                    <a:pt x="599" y="0"/>
                  </a:lnTo>
                  <a:lnTo>
                    <a:pt x="599" y="1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4"/>
            <p:cNvSpPr/>
            <p:nvPr/>
          </p:nvSpPr>
          <p:spPr>
            <a:xfrm>
              <a:off x="5902200" y="4384080"/>
              <a:ext cx="305280" cy="50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9" h="142">
                  <a:moveTo>
                    <a:pt x="425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849" y="0"/>
                  </a:lnTo>
                  <a:lnTo>
                    <a:pt x="849" y="14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55"/>
            <p:cNvSpPr/>
            <p:nvPr/>
          </p:nvSpPr>
          <p:spPr>
            <a:xfrm>
              <a:off x="6865200" y="4527360"/>
              <a:ext cx="65880" cy="11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4" h="314">
                  <a:moveTo>
                    <a:pt x="92" y="314"/>
                  </a:moveTo>
                  <a:lnTo>
                    <a:pt x="0" y="314"/>
                  </a:lnTo>
                  <a:lnTo>
                    <a:pt x="0" y="0"/>
                  </a:lnTo>
                  <a:lnTo>
                    <a:pt x="184" y="0"/>
                  </a:lnTo>
                  <a:lnTo>
                    <a:pt x="184" y="31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Freeform: Shape 56"/>
            <p:cNvSpPr/>
            <p:nvPr/>
          </p:nvSpPr>
          <p:spPr>
            <a:xfrm>
              <a:off x="6136920" y="4148639"/>
              <a:ext cx="125640" cy="42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0" h="118">
                  <a:moveTo>
                    <a:pt x="175" y="118"/>
                  </a:moveTo>
                  <a:lnTo>
                    <a:pt x="0" y="118"/>
                  </a:lnTo>
                  <a:lnTo>
                    <a:pt x="0" y="0"/>
                  </a:lnTo>
                  <a:lnTo>
                    <a:pt x="350" y="0"/>
                  </a:lnTo>
                  <a:lnTo>
                    <a:pt x="350" y="11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57"/>
            <p:cNvSpPr/>
            <p:nvPr/>
          </p:nvSpPr>
          <p:spPr>
            <a:xfrm>
              <a:off x="4079520" y="4161600"/>
              <a:ext cx="88200" cy="128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6" h="359">
                  <a:moveTo>
                    <a:pt x="123" y="359"/>
                  </a:moveTo>
                  <a:lnTo>
                    <a:pt x="0" y="359"/>
                  </a:lnTo>
                  <a:lnTo>
                    <a:pt x="0" y="0"/>
                  </a:lnTo>
                  <a:lnTo>
                    <a:pt x="246" y="0"/>
                  </a:lnTo>
                  <a:lnTo>
                    <a:pt x="246" y="35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58"/>
            <p:cNvSpPr/>
            <p:nvPr/>
          </p:nvSpPr>
          <p:spPr>
            <a:xfrm>
              <a:off x="4020479" y="4585319"/>
              <a:ext cx="155160" cy="51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2" h="144">
                  <a:moveTo>
                    <a:pt x="216" y="144"/>
                  </a:moveTo>
                  <a:lnTo>
                    <a:pt x="0" y="144"/>
                  </a:lnTo>
                  <a:lnTo>
                    <a:pt x="0" y="0"/>
                  </a:lnTo>
                  <a:lnTo>
                    <a:pt x="432" y="0"/>
                  </a:lnTo>
                  <a:lnTo>
                    <a:pt x="432" y="1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5666399" y="3507839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5666399" y="356184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5666399" y="361656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5697000" y="3407400"/>
              <a:ext cx="0" cy="586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6551280" y="4339440"/>
              <a:ext cx="0" cy="91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4"/>
            <p:cNvSpPr/>
            <p:nvPr/>
          </p:nvSpPr>
          <p:spPr>
            <a:xfrm>
              <a:off x="5911199" y="4707360"/>
              <a:ext cx="1720800" cy="87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81" h="245" fill="none">
                  <a:moveTo>
                    <a:pt x="0" y="197"/>
                  </a:moveTo>
                  <a:lnTo>
                    <a:pt x="418" y="0"/>
                  </a:lnTo>
                  <a:lnTo>
                    <a:pt x="1727" y="0"/>
                  </a:lnTo>
                  <a:lnTo>
                    <a:pt x="1727" y="245"/>
                  </a:lnTo>
                  <a:lnTo>
                    <a:pt x="4781" y="2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4386240" y="4970520"/>
              <a:ext cx="0" cy="117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6643799" y="4934879"/>
              <a:ext cx="0" cy="1159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7"/>
            <p:cNvSpPr/>
            <p:nvPr/>
          </p:nvSpPr>
          <p:spPr>
            <a:xfrm>
              <a:off x="2504160" y="4614480"/>
              <a:ext cx="4793400" cy="246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16" h="685">
                  <a:moveTo>
                    <a:pt x="13316" y="682"/>
                  </a:moveTo>
                  <a:lnTo>
                    <a:pt x="7098" y="682"/>
                  </a:lnTo>
                  <a:cubicBezTo>
                    <a:pt x="7098" y="682"/>
                    <a:pt x="0" y="744"/>
                    <a:pt x="0" y="287"/>
                  </a:cubicBezTo>
                  <a:cubicBezTo>
                    <a:pt x="0" y="-80"/>
                    <a:pt x="3646" y="10"/>
                    <a:pt x="3646" y="1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Freeform: Shape 68"/>
            <p:cNvSpPr/>
            <p:nvPr/>
          </p:nvSpPr>
          <p:spPr>
            <a:xfrm>
              <a:off x="2880000" y="4668840"/>
              <a:ext cx="1057320" cy="68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38" h="191" fill="none">
                  <a:moveTo>
                    <a:pt x="0" y="191"/>
                  </a:moveTo>
                  <a:lnTo>
                    <a:pt x="551" y="0"/>
                  </a:lnTo>
                  <a:lnTo>
                    <a:pt x="2938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3255839" y="4927680"/>
              <a:ext cx="7135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3526200" y="5027400"/>
              <a:ext cx="227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4557960" y="4924800"/>
              <a:ext cx="1950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5666399" y="4712400"/>
              <a:ext cx="110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6552360" y="4385160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43052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4368239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44312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449496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455796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4622040" y="3167640"/>
              <a:ext cx="0" cy="139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487512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481212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474804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4685040" y="3167640"/>
              <a:ext cx="0" cy="1096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1041119" y="4668840"/>
              <a:ext cx="4197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1226160" y="4737600"/>
              <a:ext cx="0" cy="88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1535039" y="4523400"/>
              <a:ext cx="11826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1798200" y="4617720"/>
              <a:ext cx="64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2001240" y="4707360"/>
              <a:ext cx="23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-198360" y="4547880"/>
              <a:ext cx="23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284544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-80280" y="446256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Freeform: Shape 92"/>
            <p:cNvSpPr/>
            <p:nvPr/>
          </p:nvSpPr>
          <p:spPr>
            <a:xfrm>
              <a:off x="214200" y="4413600"/>
              <a:ext cx="14184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5" h="934">
                  <a:moveTo>
                    <a:pt x="395" y="0"/>
                  </a:moveTo>
                  <a:lnTo>
                    <a:pt x="395" y="934"/>
                  </a:lnTo>
                  <a:lnTo>
                    <a:pt x="0" y="62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216360" y="4759200"/>
              <a:ext cx="80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Freeform: Shape 94"/>
            <p:cNvSpPr/>
            <p:nvPr/>
          </p:nvSpPr>
          <p:spPr>
            <a:xfrm>
              <a:off x="532080" y="4448160"/>
              <a:ext cx="198000" cy="465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51" h="1295">
                  <a:moveTo>
                    <a:pt x="551" y="0"/>
                  </a:moveTo>
                  <a:lnTo>
                    <a:pt x="551" y="1295"/>
                  </a:lnTo>
                  <a:lnTo>
                    <a:pt x="0" y="86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535320" y="4927680"/>
              <a:ext cx="11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072800" y="4252320"/>
              <a:ext cx="213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1226160" y="3749760"/>
              <a:ext cx="0" cy="690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3015360" y="3749760"/>
              <a:ext cx="0" cy="690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99"/>
            <p:cNvSpPr/>
            <p:nvPr/>
          </p:nvSpPr>
          <p:spPr>
            <a:xfrm>
              <a:off x="1230120" y="3805200"/>
              <a:ext cx="1784880" cy="33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59" h="940">
                  <a:moveTo>
                    <a:pt x="4959" y="0"/>
                  </a:moveTo>
                  <a:cubicBezTo>
                    <a:pt x="4349" y="576"/>
                    <a:pt x="3457" y="940"/>
                    <a:pt x="2467" y="940"/>
                  </a:cubicBezTo>
                  <a:cubicBezTo>
                    <a:pt x="1490" y="940"/>
                    <a:pt x="610" y="587"/>
                    <a:pt x="0" y="2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137052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1475999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584720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1691279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Straight Connector 105"/>
            <p:cNvSpPr/>
            <p:nvPr/>
          </p:nvSpPr>
          <p:spPr>
            <a:xfrm>
              <a:off x="179820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Straight Connector 106"/>
            <p:cNvSpPr/>
            <p:nvPr/>
          </p:nvSpPr>
          <p:spPr>
            <a:xfrm>
              <a:off x="190476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201132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286488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Straight Connector 109"/>
            <p:cNvSpPr/>
            <p:nvPr/>
          </p:nvSpPr>
          <p:spPr>
            <a:xfrm>
              <a:off x="2760119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2650680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2543760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243720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>
              <a:off x="233064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222480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2118240" y="4144320"/>
              <a:ext cx="0" cy="10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>
              <a:off x="327960" y="4252320"/>
              <a:ext cx="1090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6"/>
            <p:cNvSpPr/>
            <p:nvPr/>
          </p:nvSpPr>
          <p:spPr>
            <a:xfrm>
              <a:off x="329040" y="3805200"/>
              <a:ext cx="896759" cy="338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2" h="940">
                  <a:moveTo>
                    <a:pt x="2492" y="0"/>
                  </a:moveTo>
                  <a:cubicBezTo>
                    <a:pt x="1882" y="576"/>
                    <a:pt x="991" y="940"/>
                    <a:pt x="0" y="94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107568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>
              <a:off x="970200" y="3988080"/>
              <a:ext cx="0" cy="264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>
              <a:off x="861479" y="4043879"/>
              <a:ext cx="0" cy="208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754920" y="4082400"/>
              <a:ext cx="0" cy="16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646920" y="4107960"/>
              <a:ext cx="0" cy="144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541440" y="4130280"/>
              <a:ext cx="0" cy="122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434880" y="4140360"/>
              <a:ext cx="0" cy="11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2861640" y="4252320"/>
              <a:ext cx="358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Freeform: Shape 125"/>
            <p:cNvSpPr/>
            <p:nvPr/>
          </p:nvSpPr>
          <p:spPr>
            <a:xfrm>
              <a:off x="3020400" y="3815279"/>
              <a:ext cx="362160" cy="22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07" h="635">
                  <a:moveTo>
                    <a:pt x="1007" y="635"/>
                  </a:moveTo>
                  <a:cubicBezTo>
                    <a:pt x="623" y="477"/>
                    <a:pt x="282" y="263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3159360" y="3925080"/>
              <a:ext cx="0" cy="32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3265200" y="3988080"/>
              <a:ext cx="0" cy="20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3375000" y="4043879"/>
              <a:ext cx="0" cy="11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887778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057400" y="1612415"/>
            <a:ext cx="5029770" cy="1951292"/>
            <a:chOff x="525600" y="789840"/>
            <a:chExt cx="5466600" cy="2120760"/>
          </a:xfrm>
        </p:grpSpPr>
        <p:sp>
          <p:nvSpPr>
            <p:cNvPr id="3" name="Straight Connector 2"/>
            <p:cNvSpPr/>
            <p:nvPr/>
          </p:nvSpPr>
          <p:spPr>
            <a:xfrm>
              <a:off x="551520" y="2348280"/>
              <a:ext cx="239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" name="Freeform: Shape 2"/>
            <p:cNvSpPr/>
            <p:nvPr/>
          </p:nvSpPr>
          <p:spPr>
            <a:xfrm>
              <a:off x="843119" y="2361240"/>
              <a:ext cx="95292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48" h="265" fill="none">
                  <a:moveTo>
                    <a:pt x="0" y="0"/>
                  </a:moveTo>
                  <a:lnTo>
                    <a:pt x="2252" y="0"/>
                  </a:lnTo>
                  <a:lnTo>
                    <a:pt x="1774" y="265"/>
                  </a:lnTo>
                  <a:lnTo>
                    <a:pt x="2203" y="265"/>
                  </a:lnTo>
                  <a:lnTo>
                    <a:pt x="2648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" name="Straight Connector 4"/>
            <p:cNvSpPr/>
            <p:nvPr/>
          </p:nvSpPr>
          <p:spPr>
            <a:xfrm>
              <a:off x="937080" y="2497320"/>
              <a:ext cx="30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>
              <a:off x="525600" y="2314080"/>
              <a:ext cx="1136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Freeform: Shape 5"/>
            <p:cNvSpPr/>
            <p:nvPr/>
          </p:nvSpPr>
          <p:spPr>
            <a:xfrm>
              <a:off x="1794960" y="2479320"/>
              <a:ext cx="98640" cy="23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5" h="662">
                  <a:moveTo>
                    <a:pt x="0" y="581"/>
                  </a:moveTo>
                  <a:lnTo>
                    <a:pt x="216" y="662"/>
                  </a:lnTo>
                  <a:lnTo>
                    <a:pt x="275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Freeform: Shape 6"/>
            <p:cNvSpPr/>
            <p:nvPr/>
          </p:nvSpPr>
          <p:spPr>
            <a:xfrm>
              <a:off x="2002319" y="2435400"/>
              <a:ext cx="136080" cy="328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914">
                  <a:moveTo>
                    <a:pt x="0" y="721"/>
                  </a:moveTo>
                  <a:cubicBezTo>
                    <a:pt x="4" y="712"/>
                    <a:pt x="379" y="914"/>
                    <a:pt x="379" y="914"/>
                  </a:cubicBezTo>
                  <a:lnTo>
                    <a:pt x="37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2010600" y="2785680"/>
              <a:ext cx="90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Freeform: Shape 8"/>
            <p:cNvSpPr/>
            <p:nvPr/>
          </p:nvSpPr>
          <p:spPr>
            <a:xfrm>
              <a:off x="3177720" y="2505240"/>
              <a:ext cx="160560" cy="387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7" h="1077">
                  <a:moveTo>
                    <a:pt x="0" y="847"/>
                  </a:moveTo>
                  <a:cubicBezTo>
                    <a:pt x="5" y="838"/>
                    <a:pt x="447" y="1077"/>
                    <a:pt x="447" y="1077"/>
                  </a:cubicBezTo>
                  <a:lnTo>
                    <a:pt x="434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>
              <a:off x="3186000" y="2910600"/>
              <a:ext cx="106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2699640" y="2646360"/>
              <a:ext cx="75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Freeform: Shape 11"/>
            <p:cNvSpPr/>
            <p:nvPr/>
          </p:nvSpPr>
          <p:spPr>
            <a:xfrm>
              <a:off x="2699640" y="2372400"/>
              <a:ext cx="103680" cy="250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9" h="697">
                  <a:moveTo>
                    <a:pt x="0" y="540"/>
                  </a:moveTo>
                  <a:lnTo>
                    <a:pt x="289" y="697"/>
                  </a:lnTo>
                  <a:lnTo>
                    <a:pt x="2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>
              <a:off x="5703480" y="251028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Freeform: Shape 13"/>
            <p:cNvSpPr/>
            <p:nvPr/>
          </p:nvSpPr>
          <p:spPr>
            <a:xfrm>
              <a:off x="5704920" y="2309400"/>
              <a:ext cx="75960" cy="18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2" h="512">
                  <a:moveTo>
                    <a:pt x="0" y="396"/>
                  </a:moveTo>
                  <a:lnTo>
                    <a:pt x="212" y="512"/>
                  </a:lnTo>
                  <a:lnTo>
                    <a:pt x="19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14"/>
            <p:cNvSpPr/>
            <p:nvPr/>
          </p:nvSpPr>
          <p:spPr>
            <a:xfrm>
              <a:off x="874080" y="2129400"/>
              <a:ext cx="503640" cy="143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00" h="400" fill="none">
                  <a:moveTo>
                    <a:pt x="414" y="305"/>
                  </a:moveTo>
                  <a:lnTo>
                    <a:pt x="414" y="0"/>
                  </a:lnTo>
                  <a:lnTo>
                    <a:pt x="0" y="0"/>
                  </a:lnTo>
                  <a:lnTo>
                    <a:pt x="0" y="400"/>
                  </a:lnTo>
                  <a:lnTo>
                    <a:pt x="1400" y="40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15"/>
            <p:cNvSpPr/>
            <p:nvPr/>
          </p:nvSpPr>
          <p:spPr>
            <a:xfrm>
              <a:off x="919439" y="2069280"/>
              <a:ext cx="43200" cy="59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67" fill="none">
                  <a:moveTo>
                    <a:pt x="0" y="167"/>
                  </a:moveTo>
                  <a:lnTo>
                    <a:pt x="0" y="0"/>
                  </a:lnTo>
                  <a:lnTo>
                    <a:pt x="121" y="0"/>
                  </a:lnTo>
                  <a:lnTo>
                    <a:pt x="121" y="16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Freeform: Shape 16"/>
            <p:cNvSpPr/>
            <p:nvPr/>
          </p:nvSpPr>
          <p:spPr>
            <a:xfrm>
              <a:off x="742680" y="2213280"/>
              <a:ext cx="84240" cy="61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5" h="172">
                  <a:moveTo>
                    <a:pt x="117" y="172"/>
                  </a:moveTo>
                  <a:lnTo>
                    <a:pt x="0" y="172"/>
                  </a:lnTo>
                  <a:lnTo>
                    <a:pt x="0" y="0"/>
                  </a:lnTo>
                  <a:lnTo>
                    <a:pt x="235" y="0"/>
                  </a:lnTo>
                  <a:lnTo>
                    <a:pt x="235" y="17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17"/>
            <p:cNvSpPr/>
            <p:nvPr/>
          </p:nvSpPr>
          <p:spPr>
            <a:xfrm>
              <a:off x="1068840" y="1292760"/>
              <a:ext cx="286200" cy="951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6" h="2643" fill="none">
                  <a:moveTo>
                    <a:pt x="0" y="2638"/>
                  </a:moveTo>
                  <a:lnTo>
                    <a:pt x="0" y="0"/>
                  </a:lnTo>
                  <a:lnTo>
                    <a:pt x="796" y="0"/>
                  </a:lnTo>
                  <a:lnTo>
                    <a:pt x="796" y="264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1234080" y="2244240"/>
              <a:ext cx="332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19"/>
            <p:cNvSpPr/>
            <p:nvPr/>
          </p:nvSpPr>
          <p:spPr>
            <a:xfrm>
              <a:off x="1391040" y="2003039"/>
              <a:ext cx="230040" cy="240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670" fill="none">
                  <a:moveTo>
                    <a:pt x="0" y="670"/>
                  </a:moveTo>
                  <a:lnTo>
                    <a:pt x="0" y="197"/>
                  </a:lnTo>
                  <a:lnTo>
                    <a:pt x="352" y="197"/>
                  </a:lnTo>
                  <a:lnTo>
                    <a:pt x="352" y="0"/>
                  </a:lnTo>
                  <a:lnTo>
                    <a:pt x="487" y="0"/>
                  </a:lnTo>
                  <a:lnTo>
                    <a:pt x="487" y="193"/>
                  </a:lnTo>
                  <a:lnTo>
                    <a:pt x="640" y="193"/>
                  </a:lnTo>
                  <a:lnTo>
                    <a:pt x="640" y="66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1640880" y="1088280"/>
              <a:ext cx="29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1"/>
            <p:cNvSpPr/>
            <p:nvPr/>
          </p:nvSpPr>
          <p:spPr>
            <a:xfrm>
              <a:off x="1741680" y="1088280"/>
              <a:ext cx="91800" cy="123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6" h="3423" fill="none">
                  <a:moveTo>
                    <a:pt x="0" y="0"/>
                  </a:moveTo>
                  <a:lnTo>
                    <a:pt x="0" y="3423"/>
                  </a:lnTo>
                  <a:lnTo>
                    <a:pt x="256" y="3423"/>
                  </a:lnTo>
                  <a:lnTo>
                    <a:pt x="256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2"/>
            <p:cNvSpPr/>
            <p:nvPr/>
          </p:nvSpPr>
          <p:spPr>
            <a:xfrm>
              <a:off x="1741680" y="945360"/>
              <a:ext cx="91800" cy="10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6" h="303">
                  <a:moveTo>
                    <a:pt x="128" y="303"/>
                  </a:moveTo>
                  <a:lnTo>
                    <a:pt x="0" y="303"/>
                  </a:lnTo>
                  <a:lnTo>
                    <a:pt x="0" y="0"/>
                  </a:lnTo>
                  <a:lnTo>
                    <a:pt x="256" y="0"/>
                  </a:lnTo>
                  <a:lnTo>
                    <a:pt x="256" y="30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3"/>
            <p:cNvSpPr/>
            <p:nvPr/>
          </p:nvSpPr>
          <p:spPr>
            <a:xfrm>
              <a:off x="1963440" y="2003039"/>
              <a:ext cx="93960" cy="278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2" h="774" fill="none">
                  <a:moveTo>
                    <a:pt x="0" y="774"/>
                  </a:moveTo>
                  <a:lnTo>
                    <a:pt x="0" y="0"/>
                  </a:lnTo>
                  <a:lnTo>
                    <a:pt x="262" y="0"/>
                  </a:lnTo>
                  <a:lnTo>
                    <a:pt x="262" y="36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110448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Straight Connector 26"/>
            <p:cNvSpPr/>
            <p:nvPr/>
          </p:nvSpPr>
          <p:spPr>
            <a:xfrm>
              <a:off x="113184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115956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118692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123732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126468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129204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1320120" y="13395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110448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110448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110448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110448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110448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Straight Connector 38"/>
            <p:cNvSpPr/>
            <p:nvPr/>
          </p:nvSpPr>
          <p:spPr>
            <a:xfrm>
              <a:off x="110448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Straight Connector 39"/>
            <p:cNvSpPr/>
            <p:nvPr/>
          </p:nvSpPr>
          <p:spPr>
            <a:xfrm>
              <a:off x="110448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110448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Straight Connector 41"/>
            <p:cNvSpPr/>
            <p:nvPr/>
          </p:nvSpPr>
          <p:spPr>
            <a:xfrm>
              <a:off x="110448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Straight Connector 42"/>
            <p:cNvSpPr/>
            <p:nvPr/>
          </p:nvSpPr>
          <p:spPr>
            <a:xfrm>
              <a:off x="110448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Straight Connector 43"/>
            <p:cNvSpPr/>
            <p:nvPr/>
          </p:nvSpPr>
          <p:spPr>
            <a:xfrm>
              <a:off x="110448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10448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110448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110448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113184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113184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113184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113184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113184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113184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113184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113184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13184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13184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13184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113184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113184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113184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Straight Connector 61"/>
            <p:cNvSpPr/>
            <p:nvPr/>
          </p:nvSpPr>
          <p:spPr>
            <a:xfrm>
              <a:off x="115956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Straight Connector 62"/>
            <p:cNvSpPr/>
            <p:nvPr/>
          </p:nvSpPr>
          <p:spPr>
            <a:xfrm>
              <a:off x="115956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115956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Straight Connector 64"/>
            <p:cNvSpPr/>
            <p:nvPr/>
          </p:nvSpPr>
          <p:spPr>
            <a:xfrm>
              <a:off x="115956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115956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115956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115956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115956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115956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115956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115956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115956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115956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115956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118692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18692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18692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18692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118692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118692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118692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118692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118692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118692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118692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118692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118692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118692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123732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123732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123732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123732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123732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123732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123732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23732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23732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123732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123732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23732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123732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123732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26468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Straight Connector 104"/>
            <p:cNvSpPr/>
            <p:nvPr/>
          </p:nvSpPr>
          <p:spPr>
            <a:xfrm>
              <a:off x="126468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Straight Connector 105"/>
            <p:cNvSpPr/>
            <p:nvPr/>
          </p:nvSpPr>
          <p:spPr>
            <a:xfrm>
              <a:off x="126468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Straight Connector 106"/>
            <p:cNvSpPr/>
            <p:nvPr/>
          </p:nvSpPr>
          <p:spPr>
            <a:xfrm>
              <a:off x="126468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Straight Connector 107"/>
            <p:cNvSpPr/>
            <p:nvPr/>
          </p:nvSpPr>
          <p:spPr>
            <a:xfrm>
              <a:off x="126468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Straight Connector 108"/>
            <p:cNvSpPr/>
            <p:nvPr/>
          </p:nvSpPr>
          <p:spPr>
            <a:xfrm>
              <a:off x="126468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Straight Connector 109"/>
            <p:cNvSpPr/>
            <p:nvPr/>
          </p:nvSpPr>
          <p:spPr>
            <a:xfrm>
              <a:off x="126468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126468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126468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126468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>
              <a:off x="126468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126468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126468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>
              <a:off x="126468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>
              <a:off x="129204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129204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>
              <a:off x="129204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>
              <a:off x="129204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129204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129204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129204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129204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129204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129204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129204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129204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29204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129204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320120" y="148247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320120" y="15375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320120" y="159228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320120" y="16473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320120" y="1702440"/>
              <a:ext cx="0" cy="23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320120" y="1757519"/>
              <a:ext cx="0" cy="23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320120" y="181224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320120" y="18673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320120" y="19224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320120" y="19774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1320120" y="203219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1320120" y="208728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1320120" y="21423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320120" y="2197439"/>
              <a:ext cx="0" cy="17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1662119" y="111744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1662119" y="11628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1662119" y="120671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662119" y="12517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1662119" y="12960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1662119" y="13410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1662119" y="13849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1662119" y="142848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1662119" y="14742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1662119" y="151776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662119" y="156348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1662119" y="160703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662119" y="16524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1662119" y="169596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1662119" y="174023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1662119" y="178524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1662119" y="182916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1662119" y="18745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1662119" y="191844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1662119" y="19620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1662119" y="20077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1662119" y="205127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1662119" y="2096639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1662119" y="21402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1662119" y="218592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1662119" y="222948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1662119" y="2273400"/>
              <a:ext cx="795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1833839" y="111744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1833839" y="11628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1833839" y="120671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1833839" y="12517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1833839" y="12960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1833839" y="13410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1833839" y="13849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1833839" y="142848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1833839" y="14742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1833839" y="151776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1833839" y="156348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1833839" y="160703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1833839" y="16524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1833839" y="169596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1833839" y="174023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1833839" y="178524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1833839" y="182916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1833839" y="18745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1833839" y="191844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1833839" y="19620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1833839" y="20077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1833839" y="205127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1833839" y="2096639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1833839" y="21402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1833839" y="218592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1833839" y="222948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1833839" y="2273400"/>
              <a:ext cx="79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3022200" y="12182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22200" y="12618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3022200" y="13035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3022200" y="13460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3022200" y="104759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3049920" y="1018439"/>
              <a:ext cx="25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3022200" y="10900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3022200" y="11322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3022200" y="11757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3022200" y="13896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3022200" y="14320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3022200" y="14742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3022200" y="15177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3022200" y="156023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022200" y="16023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022200" y="164592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022200" y="168839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>
              <a:off x="3022200" y="17301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3022200" y="17744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3022200" y="18162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022200" y="185831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022200" y="19022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022200" y="19443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3022200" y="19864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3022200" y="203040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022200" y="207251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3022200" y="21142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3022200" y="21585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3022200" y="2200319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3022200" y="224244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3022200" y="228636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3022200" y="2328480"/>
              <a:ext cx="53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3119400" y="12182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3119400" y="12618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3119400" y="13035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3119400" y="13460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3119400" y="104759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3119400" y="1018439"/>
              <a:ext cx="29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3119400" y="10900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3119400" y="11322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3119400" y="11757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3119400" y="13896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3119400" y="14320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>
              <a:off x="3119400" y="14742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>
              <a:off x="3119400" y="15177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3119400" y="156023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3119400" y="16023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3119400" y="164592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3119400" y="168839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3119400" y="17301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3119400" y="17744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3119400" y="18162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3119400" y="185831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3119400" y="19022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Straight Connector 253"/>
            <p:cNvSpPr/>
            <p:nvPr/>
          </p:nvSpPr>
          <p:spPr>
            <a:xfrm>
              <a:off x="3119400" y="19443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3119400" y="19864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3119400" y="203040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Straight Connector 256"/>
            <p:cNvSpPr/>
            <p:nvPr/>
          </p:nvSpPr>
          <p:spPr>
            <a:xfrm>
              <a:off x="3119400" y="207251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3119400" y="21142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3119400" y="21585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3119400" y="2200319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3119400" y="224244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3119400" y="228636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3119400" y="2328480"/>
              <a:ext cx="53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2654280" y="171720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>
              <a:off x="2654280" y="1759319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>
              <a:off x="2654280" y="180180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>
              <a:off x="2654280" y="1843919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>
              <a:off x="2654280" y="188568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>
              <a:off x="2654280" y="192996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Straight Connector 269"/>
            <p:cNvSpPr/>
            <p:nvPr/>
          </p:nvSpPr>
          <p:spPr>
            <a:xfrm>
              <a:off x="2654280" y="197172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Straight Connector 270"/>
            <p:cNvSpPr/>
            <p:nvPr/>
          </p:nvSpPr>
          <p:spPr>
            <a:xfrm>
              <a:off x="2654280" y="2013839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Straight Connector 271"/>
            <p:cNvSpPr/>
            <p:nvPr/>
          </p:nvSpPr>
          <p:spPr>
            <a:xfrm>
              <a:off x="2654280" y="205632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2654280" y="209844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Straight Connector 273"/>
            <p:cNvSpPr/>
            <p:nvPr/>
          </p:nvSpPr>
          <p:spPr>
            <a:xfrm>
              <a:off x="2654280" y="214236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2654280" y="218448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2654280" y="2226239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2654280" y="2268720"/>
              <a:ext cx="116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2428920" y="17254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2428920" y="176616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Straight Connector 279"/>
            <p:cNvSpPr/>
            <p:nvPr/>
          </p:nvSpPr>
          <p:spPr>
            <a:xfrm>
              <a:off x="2428920" y="18064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Straight Connector 280"/>
            <p:cNvSpPr/>
            <p:nvPr/>
          </p:nvSpPr>
          <p:spPr>
            <a:xfrm>
              <a:off x="2428920" y="184680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Straight Connector 281"/>
            <p:cNvSpPr/>
            <p:nvPr/>
          </p:nvSpPr>
          <p:spPr>
            <a:xfrm>
              <a:off x="2428920" y="18874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Straight Connector 282"/>
            <p:cNvSpPr/>
            <p:nvPr/>
          </p:nvSpPr>
          <p:spPr>
            <a:xfrm>
              <a:off x="2428920" y="1926719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Straight Connector 283"/>
            <p:cNvSpPr/>
            <p:nvPr/>
          </p:nvSpPr>
          <p:spPr>
            <a:xfrm>
              <a:off x="2428920" y="1967039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Straight Connector 284"/>
            <p:cNvSpPr/>
            <p:nvPr/>
          </p:nvSpPr>
          <p:spPr>
            <a:xfrm>
              <a:off x="2428920" y="200772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Straight Connector 285"/>
            <p:cNvSpPr/>
            <p:nvPr/>
          </p:nvSpPr>
          <p:spPr>
            <a:xfrm>
              <a:off x="2428920" y="204804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Straight Connector 286"/>
            <p:cNvSpPr/>
            <p:nvPr/>
          </p:nvSpPr>
          <p:spPr>
            <a:xfrm>
              <a:off x="2428920" y="208836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Straight Connector 287"/>
            <p:cNvSpPr/>
            <p:nvPr/>
          </p:nvSpPr>
          <p:spPr>
            <a:xfrm>
              <a:off x="2428920" y="212724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Straight Connector 288"/>
            <p:cNvSpPr/>
            <p:nvPr/>
          </p:nvSpPr>
          <p:spPr>
            <a:xfrm>
              <a:off x="2428920" y="21682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Straight Connector 289"/>
            <p:cNvSpPr/>
            <p:nvPr/>
          </p:nvSpPr>
          <p:spPr>
            <a:xfrm>
              <a:off x="2428920" y="220860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2428920" y="2249280"/>
              <a:ext cx="111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2179080" y="189576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2179080" y="1937519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2179080" y="198000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2179080" y="2022119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2179080" y="206424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2179080" y="210816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2179080" y="215028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2179080" y="219204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2179080" y="2234520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2179080" y="2276639"/>
              <a:ext cx="13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Freeform: Shape 300"/>
            <p:cNvSpPr/>
            <p:nvPr/>
          </p:nvSpPr>
          <p:spPr>
            <a:xfrm>
              <a:off x="1872720" y="2328480"/>
              <a:ext cx="162000" cy="32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1" h="91">
                  <a:moveTo>
                    <a:pt x="225" y="91"/>
                  </a:moveTo>
                  <a:lnTo>
                    <a:pt x="0" y="91"/>
                  </a:lnTo>
                  <a:lnTo>
                    <a:pt x="0" y="0"/>
                  </a:lnTo>
                  <a:lnTo>
                    <a:pt x="451" y="0"/>
                  </a:lnTo>
                  <a:lnTo>
                    <a:pt x="451" y="9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Freeform: Shape 301"/>
            <p:cNvSpPr/>
            <p:nvPr/>
          </p:nvSpPr>
          <p:spPr>
            <a:xfrm>
              <a:off x="2004119" y="2210400"/>
              <a:ext cx="46800" cy="82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1" h="230">
                  <a:moveTo>
                    <a:pt x="66" y="230"/>
                  </a:moveTo>
                  <a:lnTo>
                    <a:pt x="0" y="230"/>
                  </a:lnTo>
                  <a:lnTo>
                    <a:pt x="0" y="0"/>
                  </a:lnTo>
                  <a:lnTo>
                    <a:pt x="131" y="0"/>
                  </a:lnTo>
                  <a:lnTo>
                    <a:pt x="131" y="2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Freeform: Shape 302"/>
            <p:cNvSpPr/>
            <p:nvPr/>
          </p:nvSpPr>
          <p:spPr>
            <a:xfrm>
              <a:off x="3137400" y="2381760"/>
              <a:ext cx="19584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5" h="104">
                  <a:moveTo>
                    <a:pt x="272" y="104"/>
                  </a:moveTo>
                  <a:lnTo>
                    <a:pt x="0" y="104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10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303"/>
            <p:cNvSpPr/>
            <p:nvPr/>
          </p:nvSpPr>
          <p:spPr>
            <a:xfrm>
              <a:off x="3393000" y="2341440"/>
              <a:ext cx="33840" cy="84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5" h="235">
                  <a:moveTo>
                    <a:pt x="48" y="235"/>
                  </a:moveTo>
                  <a:lnTo>
                    <a:pt x="0" y="235"/>
                  </a:lnTo>
                  <a:lnTo>
                    <a:pt x="0" y="0"/>
                  </a:lnTo>
                  <a:lnTo>
                    <a:pt x="95" y="0"/>
                  </a:lnTo>
                  <a:lnTo>
                    <a:pt x="95" y="23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Freeform: Shape 304"/>
            <p:cNvSpPr/>
            <p:nvPr/>
          </p:nvSpPr>
          <p:spPr>
            <a:xfrm>
              <a:off x="4453560" y="2296440"/>
              <a:ext cx="223560" cy="49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22" h="139">
                  <a:moveTo>
                    <a:pt x="311" y="139"/>
                  </a:moveTo>
                  <a:lnTo>
                    <a:pt x="0" y="139"/>
                  </a:lnTo>
                  <a:lnTo>
                    <a:pt x="0" y="0"/>
                  </a:lnTo>
                  <a:lnTo>
                    <a:pt x="622" y="0"/>
                  </a:lnTo>
                  <a:lnTo>
                    <a:pt x="622" y="1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5"/>
            <p:cNvSpPr/>
            <p:nvPr/>
          </p:nvSpPr>
          <p:spPr>
            <a:xfrm>
              <a:off x="4645080" y="2117880"/>
              <a:ext cx="65880" cy="126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4" h="351">
                  <a:moveTo>
                    <a:pt x="92" y="351"/>
                  </a:moveTo>
                  <a:lnTo>
                    <a:pt x="0" y="351"/>
                  </a:lnTo>
                  <a:lnTo>
                    <a:pt x="0" y="0"/>
                  </a:lnTo>
                  <a:lnTo>
                    <a:pt x="184" y="0"/>
                  </a:lnTo>
                  <a:lnTo>
                    <a:pt x="184" y="35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Freeform: Shape 306"/>
            <p:cNvSpPr/>
            <p:nvPr/>
          </p:nvSpPr>
          <p:spPr>
            <a:xfrm>
              <a:off x="5218920" y="2338200"/>
              <a:ext cx="163080" cy="3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4" h="108">
                  <a:moveTo>
                    <a:pt x="227" y="108"/>
                  </a:moveTo>
                  <a:lnTo>
                    <a:pt x="0" y="108"/>
                  </a:lnTo>
                  <a:lnTo>
                    <a:pt x="0" y="0"/>
                  </a:lnTo>
                  <a:lnTo>
                    <a:pt x="454" y="0"/>
                  </a:lnTo>
                  <a:lnTo>
                    <a:pt x="454" y="10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Freeform: Shape 307"/>
            <p:cNvSpPr/>
            <p:nvPr/>
          </p:nvSpPr>
          <p:spPr>
            <a:xfrm>
              <a:off x="5337000" y="2171520"/>
              <a:ext cx="52920" cy="78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" h="220">
                  <a:moveTo>
                    <a:pt x="74" y="220"/>
                  </a:moveTo>
                  <a:lnTo>
                    <a:pt x="0" y="220"/>
                  </a:lnTo>
                  <a:lnTo>
                    <a:pt x="0" y="0"/>
                  </a:lnTo>
                  <a:lnTo>
                    <a:pt x="148" y="0"/>
                  </a:lnTo>
                  <a:lnTo>
                    <a:pt x="148" y="22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Freeform: Shape 308"/>
            <p:cNvSpPr/>
            <p:nvPr/>
          </p:nvSpPr>
          <p:spPr>
            <a:xfrm>
              <a:off x="2089800" y="2121120"/>
              <a:ext cx="787680" cy="288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89" h="802" fill="none">
                  <a:moveTo>
                    <a:pt x="0" y="644"/>
                  </a:moveTo>
                  <a:lnTo>
                    <a:pt x="749" y="644"/>
                  </a:lnTo>
                  <a:lnTo>
                    <a:pt x="537" y="802"/>
                  </a:lnTo>
                  <a:lnTo>
                    <a:pt x="1640" y="802"/>
                  </a:lnTo>
                  <a:lnTo>
                    <a:pt x="2027" y="491"/>
                  </a:lnTo>
                  <a:lnTo>
                    <a:pt x="2027" y="0"/>
                  </a:lnTo>
                  <a:lnTo>
                    <a:pt x="2189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2240639" y="2443680"/>
              <a:ext cx="405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3989880" y="2443680"/>
              <a:ext cx="405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2850480" y="2387160"/>
              <a:ext cx="23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Freeform: Shape 312"/>
            <p:cNvSpPr/>
            <p:nvPr/>
          </p:nvSpPr>
          <p:spPr>
            <a:xfrm>
              <a:off x="3456359" y="2391839"/>
              <a:ext cx="1270800" cy="98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31" h="275" fill="none">
                  <a:moveTo>
                    <a:pt x="0" y="31"/>
                  </a:moveTo>
                  <a:lnTo>
                    <a:pt x="401" y="275"/>
                  </a:lnTo>
                  <a:lnTo>
                    <a:pt x="1126" y="275"/>
                  </a:lnTo>
                  <a:lnTo>
                    <a:pt x="707" y="0"/>
                  </a:lnTo>
                  <a:lnTo>
                    <a:pt x="353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4800600" y="2409839"/>
              <a:ext cx="86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4750200" y="2352960"/>
              <a:ext cx="41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5432760" y="2349719"/>
              <a:ext cx="105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5828400" y="2409839"/>
              <a:ext cx="163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4894200" y="2299320"/>
              <a:ext cx="543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Freeform: Shape 318"/>
            <p:cNvSpPr/>
            <p:nvPr/>
          </p:nvSpPr>
          <p:spPr>
            <a:xfrm>
              <a:off x="2095199" y="1498679"/>
              <a:ext cx="677160" cy="808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82" h="2247" fill="none">
                  <a:moveTo>
                    <a:pt x="607" y="2242"/>
                  </a:moveTo>
                  <a:lnTo>
                    <a:pt x="607" y="175"/>
                  </a:lnTo>
                  <a:lnTo>
                    <a:pt x="1238" y="0"/>
                  </a:lnTo>
                  <a:lnTo>
                    <a:pt x="1238" y="404"/>
                  </a:lnTo>
                  <a:lnTo>
                    <a:pt x="1715" y="252"/>
                  </a:lnTo>
                  <a:lnTo>
                    <a:pt x="1814" y="252"/>
                  </a:lnTo>
                  <a:lnTo>
                    <a:pt x="1882" y="296"/>
                  </a:lnTo>
                  <a:lnTo>
                    <a:pt x="1882" y="2247"/>
                  </a:lnTo>
                  <a:lnTo>
                    <a:pt x="0" y="2247"/>
                  </a:lnTo>
                  <a:lnTo>
                    <a:pt x="0" y="734"/>
                  </a:lnTo>
                  <a:lnTo>
                    <a:pt x="129" y="635"/>
                  </a:lnTo>
                  <a:lnTo>
                    <a:pt x="409" y="554"/>
                  </a:lnTo>
                  <a:lnTo>
                    <a:pt x="607" y="55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Freeform: Shape 319"/>
            <p:cNvSpPr/>
            <p:nvPr/>
          </p:nvSpPr>
          <p:spPr>
            <a:xfrm>
              <a:off x="2359440" y="1456200"/>
              <a:ext cx="124200" cy="92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6" h="257" fill="none">
                  <a:moveTo>
                    <a:pt x="0" y="257"/>
                  </a:moveTo>
                  <a:lnTo>
                    <a:pt x="0" y="63"/>
                  </a:lnTo>
                  <a:lnTo>
                    <a:pt x="193" y="0"/>
                  </a:lnTo>
                  <a:lnTo>
                    <a:pt x="346" y="27"/>
                  </a:lnTo>
                  <a:lnTo>
                    <a:pt x="346" y="15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Freeform: Shape 320"/>
            <p:cNvSpPr/>
            <p:nvPr/>
          </p:nvSpPr>
          <p:spPr>
            <a:xfrm>
              <a:off x="2456280" y="1331640"/>
              <a:ext cx="157320" cy="12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8" h="360" fill="none">
                  <a:moveTo>
                    <a:pt x="0" y="360"/>
                  </a:moveTo>
                  <a:lnTo>
                    <a:pt x="0" y="108"/>
                  </a:lnTo>
                  <a:lnTo>
                    <a:pt x="438" y="0"/>
                  </a:lnTo>
                  <a:lnTo>
                    <a:pt x="438" y="32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2630160" y="1446840"/>
              <a:ext cx="0" cy="168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Freeform: Shape 322"/>
            <p:cNvSpPr/>
            <p:nvPr/>
          </p:nvSpPr>
          <p:spPr>
            <a:xfrm>
              <a:off x="2559960" y="1605240"/>
              <a:ext cx="212400" cy="5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1" h="140" fill="none">
                  <a:moveTo>
                    <a:pt x="0" y="140"/>
                  </a:moveTo>
                  <a:lnTo>
                    <a:pt x="258" y="140"/>
                  </a:lnTo>
                  <a:lnTo>
                    <a:pt x="59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2540880" y="1678319"/>
              <a:ext cx="0" cy="6292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2428920" y="1456200"/>
              <a:ext cx="0" cy="851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Freeform: Shape 325"/>
            <p:cNvSpPr/>
            <p:nvPr/>
          </p:nvSpPr>
          <p:spPr>
            <a:xfrm>
              <a:off x="2095199" y="1712519"/>
              <a:ext cx="216720" cy="5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3" h="140" fill="none">
                  <a:moveTo>
                    <a:pt x="0" y="140"/>
                  </a:moveTo>
                  <a:lnTo>
                    <a:pt x="229" y="140"/>
                  </a:lnTo>
                  <a:lnTo>
                    <a:pt x="603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2177640" y="1762919"/>
              <a:ext cx="0" cy="5446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Freeform: Shape 327"/>
            <p:cNvSpPr/>
            <p:nvPr/>
          </p:nvSpPr>
          <p:spPr>
            <a:xfrm>
              <a:off x="2498760" y="1308960"/>
              <a:ext cx="215280" cy="28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9" h="779" fill="none">
                  <a:moveTo>
                    <a:pt x="0" y="139"/>
                  </a:moveTo>
                  <a:lnTo>
                    <a:pt x="0" y="31"/>
                  </a:lnTo>
                  <a:lnTo>
                    <a:pt x="103" y="0"/>
                  </a:lnTo>
                  <a:lnTo>
                    <a:pt x="103" y="445"/>
                  </a:lnTo>
                  <a:lnTo>
                    <a:pt x="599" y="319"/>
                  </a:lnTo>
                  <a:lnTo>
                    <a:pt x="594" y="7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Freeform: Shape 328"/>
            <p:cNvSpPr/>
            <p:nvPr/>
          </p:nvSpPr>
          <p:spPr>
            <a:xfrm>
              <a:off x="2535840" y="1308960"/>
              <a:ext cx="3888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9" h="85" fill="none">
                  <a:moveTo>
                    <a:pt x="109" y="85"/>
                  </a:moveTo>
                  <a:lnTo>
                    <a:pt x="109" y="13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329"/>
            <p:cNvSpPr/>
            <p:nvPr/>
          </p:nvSpPr>
          <p:spPr>
            <a:xfrm>
              <a:off x="2877840" y="789840"/>
              <a:ext cx="217080" cy="15562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4" h="4324" fill="none">
                  <a:moveTo>
                    <a:pt x="0" y="4324"/>
                  </a:moveTo>
                  <a:lnTo>
                    <a:pt x="0" y="735"/>
                  </a:lnTo>
                  <a:lnTo>
                    <a:pt x="63" y="460"/>
                  </a:lnTo>
                  <a:lnTo>
                    <a:pt x="131" y="735"/>
                  </a:lnTo>
                  <a:lnTo>
                    <a:pt x="131" y="955"/>
                  </a:lnTo>
                  <a:lnTo>
                    <a:pt x="212" y="955"/>
                  </a:lnTo>
                  <a:lnTo>
                    <a:pt x="212" y="4324"/>
                  </a:lnTo>
                  <a:lnTo>
                    <a:pt x="285" y="4324"/>
                  </a:lnTo>
                  <a:lnTo>
                    <a:pt x="285" y="699"/>
                  </a:lnTo>
                  <a:lnTo>
                    <a:pt x="604" y="369"/>
                  </a:lnTo>
                  <a:lnTo>
                    <a:pt x="604" y="0"/>
                  </a:lnTo>
                  <a:lnTo>
                    <a:pt x="190" y="460"/>
                  </a:lnTo>
                  <a:lnTo>
                    <a:pt x="63" y="46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30"/>
            <p:cNvSpPr/>
            <p:nvPr/>
          </p:nvSpPr>
          <p:spPr>
            <a:xfrm>
              <a:off x="3095279" y="789840"/>
              <a:ext cx="192600" cy="165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6" h="460" fill="none">
                  <a:moveTo>
                    <a:pt x="0" y="0"/>
                  </a:moveTo>
                  <a:lnTo>
                    <a:pt x="410" y="460"/>
                  </a:lnTo>
                  <a:lnTo>
                    <a:pt x="536" y="46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31"/>
            <p:cNvSpPr/>
            <p:nvPr/>
          </p:nvSpPr>
          <p:spPr>
            <a:xfrm>
              <a:off x="3095279" y="922680"/>
              <a:ext cx="215280" cy="1423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99" h="3955" fill="none">
                  <a:moveTo>
                    <a:pt x="599" y="3955"/>
                  </a:moveTo>
                  <a:lnTo>
                    <a:pt x="599" y="366"/>
                  </a:lnTo>
                  <a:lnTo>
                    <a:pt x="536" y="91"/>
                  </a:lnTo>
                  <a:lnTo>
                    <a:pt x="468" y="366"/>
                  </a:lnTo>
                  <a:lnTo>
                    <a:pt x="468" y="586"/>
                  </a:lnTo>
                  <a:lnTo>
                    <a:pt x="388" y="586"/>
                  </a:lnTo>
                  <a:lnTo>
                    <a:pt x="388" y="3955"/>
                  </a:lnTo>
                  <a:lnTo>
                    <a:pt x="316" y="3955"/>
                  </a:lnTo>
                  <a:lnTo>
                    <a:pt x="316" y="33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Straight Connector 333"/>
            <p:cNvSpPr/>
            <p:nvPr/>
          </p:nvSpPr>
          <p:spPr>
            <a:xfrm>
              <a:off x="3313800" y="2082240"/>
              <a:ext cx="1425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Straight Connector 334"/>
            <p:cNvSpPr/>
            <p:nvPr/>
          </p:nvSpPr>
          <p:spPr>
            <a:xfrm>
              <a:off x="3388320" y="1984680"/>
              <a:ext cx="0" cy="96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4"/>
            <p:cNvSpPr/>
            <p:nvPr/>
          </p:nvSpPr>
          <p:spPr>
            <a:xfrm>
              <a:off x="3457800" y="1477439"/>
              <a:ext cx="533160" cy="8391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2" h="2332" fill="none">
                  <a:moveTo>
                    <a:pt x="0" y="2332"/>
                  </a:moveTo>
                  <a:lnTo>
                    <a:pt x="0" y="0"/>
                  </a:lnTo>
                  <a:lnTo>
                    <a:pt x="1482" y="0"/>
                  </a:lnTo>
                  <a:lnTo>
                    <a:pt x="1482" y="233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5"/>
            <p:cNvSpPr/>
            <p:nvPr/>
          </p:nvSpPr>
          <p:spPr>
            <a:xfrm>
              <a:off x="3539160" y="2296440"/>
              <a:ext cx="316080" cy="44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79" h="125" fill="none">
                  <a:moveTo>
                    <a:pt x="0" y="0"/>
                  </a:moveTo>
                  <a:lnTo>
                    <a:pt x="879" y="0"/>
                  </a:lnTo>
                  <a:lnTo>
                    <a:pt x="879" y="12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3482280" y="1445039"/>
              <a:ext cx="484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Freeform: Shape 337"/>
            <p:cNvSpPr/>
            <p:nvPr/>
          </p:nvSpPr>
          <p:spPr>
            <a:xfrm>
              <a:off x="3457800" y="1218240"/>
              <a:ext cx="533160" cy="19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2" h="544">
                  <a:moveTo>
                    <a:pt x="1181" y="0"/>
                  </a:moveTo>
                  <a:lnTo>
                    <a:pt x="303" y="0"/>
                  </a:lnTo>
                  <a:lnTo>
                    <a:pt x="0" y="544"/>
                  </a:lnTo>
                  <a:lnTo>
                    <a:pt x="1482" y="5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Freeform: Shape 338"/>
            <p:cNvSpPr/>
            <p:nvPr/>
          </p:nvSpPr>
          <p:spPr>
            <a:xfrm>
              <a:off x="4043159" y="2250720"/>
              <a:ext cx="241200" cy="69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1" h="194" fill="none">
                  <a:moveTo>
                    <a:pt x="0" y="194"/>
                  </a:moveTo>
                  <a:lnTo>
                    <a:pt x="0" y="0"/>
                  </a:lnTo>
                  <a:lnTo>
                    <a:pt x="67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9"/>
            <p:cNvSpPr/>
            <p:nvPr/>
          </p:nvSpPr>
          <p:spPr>
            <a:xfrm>
              <a:off x="4114800" y="1188719"/>
              <a:ext cx="446759" cy="1058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42" h="2941" fill="none">
                  <a:moveTo>
                    <a:pt x="0" y="2941"/>
                  </a:moveTo>
                  <a:lnTo>
                    <a:pt x="0" y="450"/>
                  </a:lnTo>
                  <a:lnTo>
                    <a:pt x="1202" y="243"/>
                  </a:lnTo>
                  <a:lnTo>
                    <a:pt x="1242" y="0"/>
                  </a:lnTo>
                  <a:lnTo>
                    <a:pt x="85" y="198"/>
                  </a:lnTo>
                  <a:lnTo>
                    <a:pt x="8" y="3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340"/>
            <p:cNvSpPr/>
            <p:nvPr/>
          </p:nvSpPr>
          <p:spPr>
            <a:xfrm>
              <a:off x="4547520" y="1188719"/>
              <a:ext cx="52920" cy="1058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" h="2941" fill="none">
                  <a:moveTo>
                    <a:pt x="40" y="0"/>
                  </a:moveTo>
                  <a:lnTo>
                    <a:pt x="148" y="338"/>
                  </a:lnTo>
                  <a:lnTo>
                    <a:pt x="148" y="2941"/>
                  </a:lnTo>
                  <a:lnTo>
                    <a:pt x="0" y="2941"/>
                  </a:lnTo>
                  <a:lnTo>
                    <a:pt x="0" y="24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Freeform: Shape 341"/>
            <p:cNvSpPr/>
            <p:nvPr/>
          </p:nvSpPr>
          <p:spPr>
            <a:xfrm>
              <a:off x="4205520" y="1326600"/>
              <a:ext cx="54360" cy="9223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2563" fill="none">
                  <a:moveTo>
                    <a:pt x="0" y="2563"/>
                  </a:moveTo>
                  <a:lnTo>
                    <a:pt x="0" y="514"/>
                  </a:lnTo>
                  <a:lnTo>
                    <a:pt x="152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42"/>
            <p:cNvSpPr/>
            <p:nvPr/>
          </p:nvSpPr>
          <p:spPr>
            <a:xfrm>
              <a:off x="4258800" y="1315080"/>
              <a:ext cx="58320" cy="9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3" h="2595" fill="none">
                  <a:moveTo>
                    <a:pt x="0" y="2595"/>
                  </a:moveTo>
                  <a:lnTo>
                    <a:pt x="0" y="546"/>
                  </a:lnTo>
                  <a:lnTo>
                    <a:pt x="163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Freeform: Shape 343"/>
            <p:cNvSpPr/>
            <p:nvPr/>
          </p:nvSpPr>
          <p:spPr>
            <a:xfrm>
              <a:off x="4312800" y="1308960"/>
              <a:ext cx="59040" cy="9399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5" h="2612" fill="none">
                  <a:moveTo>
                    <a:pt x="0" y="2612"/>
                  </a:moveTo>
                  <a:lnTo>
                    <a:pt x="0" y="563"/>
                  </a:lnTo>
                  <a:lnTo>
                    <a:pt x="16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344"/>
            <p:cNvSpPr/>
            <p:nvPr/>
          </p:nvSpPr>
          <p:spPr>
            <a:xfrm>
              <a:off x="4366079" y="1297440"/>
              <a:ext cx="61200" cy="951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" h="2644" fill="none">
                  <a:moveTo>
                    <a:pt x="0" y="2644"/>
                  </a:moveTo>
                  <a:lnTo>
                    <a:pt x="0" y="595"/>
                  </a:lnTo>
                  <a:lnTo>
                    <a:pt x="17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5"/>
            <p:cNvSpPr/>
            <p:nvPr/>
          </p:nvSpPr>
          <p:spPr>
            <a:xfrm>
              <a:off x="4419360" y="1287720"/>
              <a:ext cx="64440" cy="96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0" h="2671" fill="none">
                  <a:moveTo>
                    <a:pt x="0" y="2671"/>
                  </a:moveTo>
                  <a:lnTo>
                    <a:pt x="0" y="622"/>
                  </a:lnTo>
                  <a:lnTo>
                    <a:pt x="18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6"/>
            <p:cNvSpPr/>
            <p:nvPr/>
          </p:nvSpPr>
          <p:spPr>
            <a:xfrm>
              <a:off x="4473000" y="1276200"/>
              <a:ext cx="69480" cy="97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4" h="2703" fill="none">
                  <a:moveTo>
                    <a:pt x="0" y="2703"/>
                  </a:moveTo>
                  <a:lnTo>
                    <a:pt x="0" y="654"/>
                  </a:lnTo>
                  <a:lnTo>
                    <a:pt x="19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4142160" y="1392840"/>
              <a:ext cx="0" cy="35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4173120" y="1386719"/>
              <a:ext cx="0" cy="34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4205520" y="1378440"/>
              <a:ext cx="0" cy="35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4270320" y="1365480"/>
              <a:ext cx="0" cy="356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4327200" y="1359000"/>
              <a:ext cx="0" cy="33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4382280" y="1349280"/>
              <a:ext cx="0" cy="34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4439160" y="1336320"/>
              <a:ext cx="0" cy="356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4495680" y="1324800"/>
              <a:ext cx="0" cy="34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4572000" y="1308960"/>
              <a:ext cx="0" cy="35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4756680" y="161064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4756680" y="1657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4756680" y="17028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4756680" y="14709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4756680" y="151632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4756680" y="15634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4756680" y="17499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4756680" y="17967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4756680" y="18439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4756680" y="1891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4756680" y="1936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4756680" y="198324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4756680" y="20304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4756680" y="20772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4756680" y="21225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4756680" y="21697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Straight Connector 373"/>
            <p:cNvSpPr/>
            <p:nvPr/>
          </p:nvSpPr>
          <p:spPr>
            <a:xfrm>
              <a:off x="4756680" y="22165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4862160" y="165564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4862160" y="1698119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4862160" y="174168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4862160" y="152604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4862160" y="156816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4862160" y="161208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4862160" y="17838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4862160" y="182772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4862160" y="1871279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4862160" y="191376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4862160" y="195732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4862160" y="200088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4862160" y="204336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4862160" y="208692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4862160" y="213084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4862160" y="217296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4862160" y="2216519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Freeform: Shape 390"/>
            <p:cNvSpPr/>
            <p:nvPr/>
          </p:nvSpPr>
          <p:spPr>
            <a:xfrm>
              <a:off x="4756680" y="1402559"/>
              <a:ext cx="137160" cy="851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2" h="2365" fill="none">
                  <a:moveTo>
                    <a:pt x="0" y="0"/>
                  </a:moveTo>
                  <a:lnTo>
                    <a:pt x="382" y="334"/>
                  </a:lnTo>
                  <a:lnTo>
                    <a:pt x="382" y="236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Freeform: Shape 391"/>
            <p:cNvSpPr/>
            <p:nvPr/>
          </p:nvSpPr>
          <p:spPr>
            <a:xfrm>
              <a:off x="4748760" y="1362240"/>
              <a:ext cx="229680" cy="896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39" h="2491">
                  <a:moveTo>
                    <a:pt x="0" y="2491"/>
                  </a:moveTo>
                  <a:lnTo>
                    <a:pt x="639" y="2491"/>
                  </a:lnTo>
                  <a:lnTo>
                    <a:pt x="639" y="328"/>
                  </a:lnTo>
                  <a:lnTo>
                    <a:pt x="28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5064840" y="161064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5064840" y="1657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5064840" y="17028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5064840" y="14709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5064840" y="151632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5064840" y="15634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5064840" y="17499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5064840" y="17967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5064840" y="18439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5064840" y="1891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5064840" y="193608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5064840" y="198324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5064840" y="20304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5064840" y="207720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5064840" y="2122560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5064840" y="21697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5064840" y="2216519"/>
              <a:ext cx="68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5171760" y="165564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5171760" y="1698119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5171760" y="174168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5171760" y="152604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5171760" y="156816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5171760" y="161208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5171760" y="178380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5171760" y="182772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5171760" y="1871279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5171760" y="191376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5171760" y="195732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5171760" y="200088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5171760" y="204336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5171760" y="208692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5171760" y="213084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5171760" y="2172960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5171760" y="2216519"/>
              <a:ext cx="2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Freeform: Shape 426"/>
            <p:cNvSpPr/>
            <p:nvPr/>
          </p:nvSpPr>
          <p:spPr>
            <a:xfrm>
              <a:off x="5064840" y="1402559"/>
              <a:ext cx="137520" cy="851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3" h="2365" fill="none">
                  <a:moveTo>
                    <a:pt x="0" y="0"/>
                  </a:moveTo>
                  <a:lnTo>
                    <a:pt x="383" y="334"/>
                  </a:lnTo>
                  <a:lnTo>
                    <a:pt x="383" y="236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Freeform: Shape 427"/>
            <p:cNvSpPr/>
            <p:nvPr/>
          </p:nvSpPr>
          <p:spPr>
            <a:xfrm>
              <a:off x="5056560" y="1362240"/>
              <a:ext cx="229680" cy="896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39" h="2491">
                  <a:moveTo>
                    <a:pt x="0" y="2491"/>
                  </a:moveTo>
                  <a:lnTo>
                    <a:pt x="639" y="2491"/>
                  </a:lnTo>
                  <a:lnTo>
                    <a:pt x="639" y="328"/>
                  </a:lnTo>
                  <a:lnTo>
                    <a:pt x="288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3496679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3496679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3496679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3496679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3496679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3496679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3496679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3496679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3496679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3496679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3496679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3496679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353268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353268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353268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353268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353268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353268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353268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353268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353268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353268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353268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353268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356688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356688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356688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356688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356688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356688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356688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356688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356688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356688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356688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356688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360252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360252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360252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360252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360252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360252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360252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360252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360252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360252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360252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360252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363780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363780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363780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363780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363780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363780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363780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363780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363780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363780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363780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363780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3671999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3671999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3671999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3671999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3671999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3671999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3671999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3671999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3671999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3671999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3671999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3671999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370764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370764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370764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370764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370764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370764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370764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370764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370764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370764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370764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370764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374364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374364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374364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374364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374364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374364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374364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374364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374364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374364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374364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374364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377712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377712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377712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377712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Straight Connector 529"/>
            <p:cNvSpPr/>
            <p:nvPr/>
          </p:nvSpPr>
          <p:spPr>
            <a:xfrm>
              <a:off x="377712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377712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Straight Connector 531"/>
            <p:cNvSpPr/>
            <p:nvPr/>
          </p:nvSpPr>
          <p:spPr>
            <a:xfrm>
              <a:off x="377712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377712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Straight Connector 533"/>
            <p:cNvSpPr/>
            <p:nvPr/>
          </p:nvSpPr>
          <p:spPr>
            <a:xfrm>
              <a:off x="377712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377712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Straight Connector 535"/>
            <p:cNvSpPr/>
            <p:nvPr/>
          </p:nvSpPr>
          <p:spPr>
            <a:xfrm>
              <a:off x="377712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377712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381312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381312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381312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Straight Connector 540"/>
            <p:cNvSpPr/>
            <p:nvPr/>
          </p:nvSpPr>
          <p:spPr>
            <a:xfrm>
              <a:off x="381312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381312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381312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381312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381312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381312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381312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381312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381312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3848759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3848759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3848759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3848759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3848759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3848759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3848759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3848759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Straight Connector 557"/>
            <p:cNvSpPr/>
            <p:nvPr/>
          </p:nvSpPr>
          <p:spPr>
            <a:xfrm>
              <a:off x="3848759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3848759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3848759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3848759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388296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388296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388296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388296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388296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Straight Connector 566"/>
            <p:cNvSpPr/>
            <p:nvPr/>
          </p:nvSpPr>
          <p:spPr>
            <a:xfrm>
              <a:off x="388296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388296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388296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388296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Straight Connector 570"/>
            <p:cNvSpPr/>
            <p:nvPr/>
          </p:nvSpPr>
          <p:spPr>
            <a:xfrm>
              <a:off x="388296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Straight Connector 571"/>
            <p:cNvSpPr/>
            <p:nvPr/>
          </p:nvSpPr>
          <p:spPr>
            <a:xfrm>
              <a:off x="388296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88296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91860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91860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91860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91860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91860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91860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91860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91860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91860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91860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91860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91860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953880" y="1517760"/>
              <a:ext cx="0" cy="100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953880" y="166067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953880" y="1715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953880" y="177084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0" name="Straight Connector 589"/>
            <p:cNvSpPr/>
            <p:nvPr/>
          </p:nvSpPr>
          <p:spPr>
            <a:xfrm>
              <a:off x="3953880" y="1825560"/>
              <a:ext cx="0" cy="237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1" name="Straight Connector 590"/>
            <p:cNvSpPr/>
            <p:nvPr/>
          </p:nvSpPr>
          <p:spPr>
            <a:xfrm>
              <a:off x="3953880" y="188063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2" name="Straight Connector 591"/>
            <p:cNvSpPr/>
            <p:nvPr/>
          </p:nvSpPr>
          <p:spPr>
            <a:xfrm>
              <a:off x="3953880" y="193572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3" name="Straight Connector 592"/>
            <p:cNvSpPr/>
            <p:nvPr/>
          </p:nvSpPr>
          <p:spPr>
            <a:xfrm>
              <a:off x="3953880" y="199080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4" name="Straight Connector 593"/>
            <p:cNvSpPr/>
            <p:nvPr/>
          </p:nvSpPr>
          <p:spPr>
            <a:xfrm>
              <a:off x="3953880" y="2045519"/>
              <a:ext cx="0" cy="23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5" name="Straight Connector 594"/>
            <p:cNvSpPr/>
            <p:nvPr/>
          </p:nvSpPr>
          <p:spPr>
            <a:xfrm>
              <a:off x="3953880" y="2100600"/>
              <a:ext cx="0" cy="2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6" name="Straight Connector 595"/>
            <p:cNvSpPr/>
            <p:nvPr/>
          </p:nvSpPr>
          <p:spPr>
            <a:xfrm>
              <a:off x="3953880" y="215568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7" name="Straight Connector 596"/>
            <p:cNvSpPr/>
            <p:nvPr/>
          </p:nvSpPr>
          <p:spPr>
            <a:xfrm>
              <a:off x="3953880" y="2210760"/>
              <a:ext cx="0" cy="23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8" name="Straight Connector 597"/>
            <p:cNvSpPr/>
            <p:nvPr/>
          </p:nvSpPr>
          <p:spPr>
            <a:xfrm>
              <a:off x="3629880" y="2678760"/>
              <a:ext cx="105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9" name="Straight Connector 598"/>
            <p:cNvSpPr/>
            <p:nvPr/>
          </p:nvSpPr>
          <p:spPr>
            <a:xfrm>
              <a:off x="4401719" y="2565360"/>
              <a:ext cx="792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0" name="Straight Connector 599"/>
            <p:cNvSpPr/>
            <p:nvPr/>
          </p:nvSpPr>
          <p:spPr>
            <a:xfrm>
              <a:off x="4526280" y="2626920"/>
              <a:ext cx="105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800" tIns="1800" rIns="1800" bIns="18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339598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1610218" y="1626375"/>
            <a:ext cx="5923564" cy="1677845"/>
            <a:chOff x="2555137" y="3659759"/>
            <a:chExt cx="3895510" cy="1103403"/>
          </a:xfrm>
        </p:grpSpPr>
        <p:sp>
          <p:nvSpPr>
            <p:cNvPr id="3" name="Straight Connector 2"/>
            <p:cNvSpPr/>
            <p:nvPr/>
          </p:nvSpPr>
          <p:spPr>
            <a:xfrm>
              <a:off x="2759018" y="4472230"/>
              <a:ext cx="37989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" name="Freeform: Shape 226"/>
            <p:cNvSpPr/>
            <p:nvPr/>
          </p:nvSpPr>
          <p:spPr>
            <a:xfrm>
              <a:off x="2806743" y="4103793"/>
              <a:ext cx="547883" cy="35011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" name="Freeform: Shape 227"/>
            <p:cNvSpPr/>
            <p:nvPr/>
          </p:nvSpPr>
          <p:spPr>
            <a:xfrm>
              <a:off x="3389752" y="3780789"/>
              <a:ext cx="339039" cy="71434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Freeform: Shape 228"/>
            <p:cNvSpPr/>
            <p:nvPr/>
          </p:nvSpPr>
          <p:spPr>
            <a:xfrm>
              <a:off x="3590197" y="4350436"/>
              <a:ext cx="277951" cy="2172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>
              <a:off x="3767735" y="4304620"/>
              <a:ext cx="8437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3793697" y="4253458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3539036" y="3659759"/>
              <a:ext cx="423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>
              <a:off x="3508492" y="3696793"/>
              <a:ext cx="1030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Freeform: Shape 233"/>
            <p:cNvSpPr/>
            <p:nvPr/>
          </p:nvSpPr>
          <p:spPr>
            <a:xfrm>
              <a:off x="3485585" y="3725428"/>
              <a:ext cx="151575" cy="549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>
              <a:off x="3476421" y="4584861"/>
              <a:ext cx="19777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V="1">
              <a:off x="3783007" y="4393578"/>
              <a:ext cx="0" cy="16799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V="1">
              <a:off x="3925800" y="3842259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V="1">
              <a:off x="4057140" y="3842259"/>
              <a:ext cx="0" cy="52803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238"/>
            <p:cNvSpPr/>
            <p:nvPr/>
          </p:nvSpPr>
          <p:spPr>
            <a:xfrm>
              <a:off x="3932292" y="3818205"/>
              <a:ext cx="116831" cy="3588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V="1">
              <a:off x="3991470" y="3703666"/>
              <a:ext cx="0" cy="1145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Freeform: Shape 240"/>
            <p:cNvSpPr/>
            <p:nvPr/>
          </p:nvSpPr>
          <p:spPr>
            <a:xfrm>
              <a:off x="3962071" y="3878530"/>
              <a:ext cx="58034" cy="320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241"/>
            <p:cNvSpPr/>
            <p:nvPr/>
          </p:nvSpPr>
          <p:spPr>
            <a:xfrm>
              <a:off x="3946799" y="3941146"/>
              <a:ext cx="87050" cy="1641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242"/>
            <p:cNvSpPr/>
            <p:nvPr/>
          </p:nvSpPr>
          <p:spPr>
            <a:xfrm>
              <a:off x="3943363" y="398123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243"/>
            <p:cNvSpPr/>
            <p:nvPr/>
          </p:nvSpPr>
          <p:spPr>
            <a:xfrm>
              <a:off x="3943363" y="4012923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244"/>
            <p:cNvSpPr/>
            <p:nvPr/>
          </p:nvSpPr>
          <p:spPr>
            <a:xfrm>
              <a:off x="3943363" y="404423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45"/>
            <p:cNvSpPr/>
            <p:nvPr/>
          </p:nvSpPr>
          <p:spPr>
            <a:xfrm>
              <a:off x="3943363" y="4075538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246"/>
            <p:cNvSpPr/>
            <p:nvPr/>
          </p:nvSpPr>
          <p:spPr>
            <a:xfrm>
              <a:off x="3943363" y="4106847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47"/>
            <p:cNvSpPr/>
            <p:nvPr/>
          </p:nvSpPr>
          <p:spPr>
            <a:xfrm>
              <a:off x="3943363" y="4138155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48"/>
            <p:cNvSpPr/>
            <p:nvPr/>
          </p:nvSpPr>
          <p:spPr>
            <a:xfrm>
              <a:off x="3943363" y="416946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49"/>
            <p:cNvSpPr/>
            <p:nvPr/>
          </p:nvSpPr>
          <p:spPr>
            <a:xfrm>
              <a:off x="3943363" y="4201152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Freeform: Shape 250"/>
            <p:cNvSpPr/>
            <p:nvPr/>
          </p:nvSpPr>
          <p:spPr>
            <a:xfrm>
              <a:off x="3943363" y="4232459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51"/>
            <p:cNvSpPr/>
            <p:nvPr/>
          </p:nvSpPr>
          <p:spPr>
            <a:xfrm>
              <a:off x="3943363" y="426376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Freeform: Shape 252"/>
            <p:cNvSpPr/>
            <p:nvPr/>
          </p:nvSpPr>
          <p:spPr>
            <a:xfrm>
              <a:off x="3943363" y="429545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53"/>
            <p:cNvSpPr/>
            <p:nvPr/>
          </p:nvSpPr>
          <p:spPr>
            <a:xfrm>
              <a:off x="3943363" y="4327146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Freeform: Shape 254"/>
            <p:cNvSpPr/>
            <p:nvPr/>
          </p:nvSpPr>
          <p:spPr>
            <a:xfrm>
              <a:off x="3943363" y="4358453"/>
              <a:ext cx="94687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Freeform: Shape 255"/>
            <p:cNvSpPr/>
            <p:nvPr/>
          </p:nvSpPr>
          <p:spPr>
            <a:xfrm>
              <a:off x="4073939" y="405988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Freeform: Shape 256"/>
            <p:cNvSpPr/>
            <p:nvPr/>
          </p:nvSpPr>
          <p:spPr>
            <a:xfrm>
              <a:off x="4073939" y="408126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257"/>
            <p:cNvSpPr/>
            <p:nvPr/>
          </p:nvSpPr>
          <p:spPr>
            <a:xfrm>
              <a:off x="4073939" y="4102265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258"/>
            <p:cNvSpPr/>
            <p:nvPr/>
          </p:nvSpPr>
          <p:spPr>
            <a:xfrm>
              <a:off x="4073939" y="412364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259"/>
            <p:cNvSpPr/>
            <p:nvPr/>
          </p:nvSpPr>
          <p:spPr>
            <a:xfrm>
              <a:off x="4073939" y="4145027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260"/>
            <p:cNvSpPr/>
            <p:nvPr/>
          </p:nvSpPr>
          <p:spPr>
            <a:xfrm>
              <a:off x="4073939" y="4166408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261"/>
            <p:cNvSpPr/>
            <p:nvPr/>
          </p:nvSpPr>
          <p:spPr>
            <a:xfrm>
              <a:off x="4073939" y="4187789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262"/>
            <p:cNvSpPr/>
            <p:nvPr/>
          </p:nvSpPr>
          <p:spPr>
            <a:xfrm>
              <a:off x="4073939" y="420955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263"/>
            <p:cNvSpPr/>
            <p:nvPr/>
          </p:nvSpPr>
          <p:spPr>
            <a:xfrm>
              <a:off x="4073939" y="4230550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264"/>
            <p:cNvSpPr/>
            <p:nvPr/>
          </p:nvSpPr>
          <p:spPr>
            <a:xfrm>
              <a:off x="4073939" y="4251931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265"/>
            <p:cNvSpPr/>
            <p:nvPr/>
          </p:nvSpPr>
          <p:spPr>
            <a:xfrm>
              <a:off x="4073939" y="4273312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266"/>
            <p:cNvSpPr/>
            <p:nvPr/>
          </p:nvSpPr>
          <p:spPr>
            <a:xfrm>
              <a:off x="4073939" y="4294693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267"/>
            <p:cNvSpPr/>
            <p:nvPr/>
          </p:nvSpPr>
          <p:spPr>
            <a:xfrm>
              <a:off x="4073939" y="431607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268"/>
            <p:cNvSpPr/>
            <p:nvPr/>
          </p:nvSpPr>
          <p:spPr>
            <a:xfrm>
              <a:off x="4073939" y="4337454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269"/>
            <p:cNvSpPr/>
            <p:nvPr/>
          </p:nvSpPr>
          <p:spPr>
            <a:xfrm>
              <a:off x="4073939" y="4359216"/>
              <a:ext cx="139739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4236587" y="4055304"/>
              <a:ext cx="0" cy="30887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271"/>
            <p:cNvSpPr/>
            <p:nvPr/>
          </p:nvSpPr>
          <p:spPr>
            <a:xfrm>
              <a:off x="3965125" y="4381362"/>
              <a:ext cx="652497" cy="10614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272"/>
            <p:cNvSpPr/>
            <p:nvPr/>
          </p:nvSpPr>
          <p:spPr>
            <a:xfrm>
              <a:off x="4353416" y="4498574"/>
              <a:ext cx="483740" cy="5230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3888002" y="4229405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3905946" y="4229405"/>
              <a:ext cx="0" cy="14470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Freeform: Shape 275"/>
            <p:cNvSpPr/>
            <p:nvPr/>
          </p:nvSpPr>
          <p:spPr>
            <a:xfrm>
              <a:off x="3913582" y="4434814"/>
              <a:ext cx="190137" cy="10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Freeform: Shape 276"/>
            <p:cNvSpPr/>
            <p:nvPr/>
          </p:nvSpPr>
          <p:spPr>
            <a:xfrm>
              <a:off x="3943363" y="4461540"/>
              <a:ext cx="103086" cy="26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Freeform: Shape 277"/>
            <p:cNvSpPr/>
            <p:nvPr/>
          </p:nvSpPr>
          <p:spPr>
            <a:xfrm>
              <a:off x="4188097" y="4400069"/>
              <a:ext cx="146611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278"/>
            <p:cNvSpPr/>
            <p:nvPr/>
          </p:nvSpPr>
          <p:spPr>
            <a:xfrm>
              <a:off x="4407250" y="4387852"/>
              <a:ext cx="88960" cy="240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279"/>
            <p:cNvSpPr/>
            <p:nvPr/>
          </p:nvSpPr>
          <p:spPr>
            <a:xfrm>
              <a:off x="4634803" y="4381743"/>
              <a:ext cx="82469" cy="553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Freeform: Shape 280"/>
            <p:cNvSpPr/>
            <p:nvPr/>
          </p:nvSpPr>
          <p:spPr>
            <a:xfrm>
              <a:off x="4650839" y="4468794"/>
              <a:ext cx="31308" cy="5345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281"/>
            <p:cNvSpPr/>
            <p:nvPr/>
          </p:nvSpPr>
          <p:spPr>
            <a:xfrm>
              <a:off x="4303782" y="4219478"/>
              <a:ext cx="60324" cy="1985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eform: Shape 282"/>
            <p:cNvSpPr/>
            <p:nvPr/>
          </p:nvSpPr>
          <p:spPr>
            <a:xfrm>
              <a:off x="4284693" y="4201152"/>
              <a:ext cx="137066" cy="16035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eform: Shape 283"/>
            <p:cNvSpPr/>
            <p:nvPr/>
          </p:nvSpPr>
          <p:spPr>
            <a:xfrm>
              <a:off x="3312247" y="4292784"/>
              <a:ext cx="42380" cy="614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284"/>
            <p:cNvSpPr/>
            <p:nvPr/>
          </p:nvSpPr>
          <p:spPr>
            <a:xfrm>
              <a:off x="3283994" y="4496665"/>
              <a:ext cx="74069" cy="244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285"/>
            <p:cNvSpPr/>
            <p:nvPr/>
          </p:nvSpPr>
          <p:spPr>
            <a:xfrm>
              <a:off x="5569833" y="4334018"/>
              <a:ext cx="34362" cy="6299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286"/>
            <p:cNvSpPr/>
            <p:nvPr/>
          </p:nvSpPr>
          <p:spPr>
            <a:xfrm>
              <a:off x="5621759" y="4441686"/>
              <a:ext cx="59561" cy="2252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287"/>
            <p:cNvSpPr/>
            <p:nvPr/>
          </p:nvSpPr>
          <p:spPr>
            <a:xfrm>
              <a:off x="5733626" y="4372580"/>
              <a:ext cx="160356" cy="500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4075084" y="3978944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4075084" y="4004906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Straight Connector 67"/>
            <p:cNvSpPr/>
            <p:nvPr/>
          </p:nvSpPr>
          <p:spPr>
            <a:xfrm>
              <a:off x="4075084" y="4031251"/>
              <a:ext cx="5001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4089975" y="3930455"/>
              <a:ext cx="0" cy="2863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4479793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4501937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4524081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4546226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Straight Connector 73"/>
            <p:cNvSpPr/>
            <p:nvPr/>
          </p:nvSpPr>
          <p:spPr>
            <a:xfrm>
              <a:off x="4568370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4590516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4613041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4634803" y="3874331"/>
              <a:ext cx="0" cy="4959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5367478" y="4003379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5532798" y="4003379"/>
              <a:ext cx="0" cy="48870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302"/>
            <p:cNvSpPr/>
            <p:nvPr/>
          </p:nvSpPr>
          <p:spPr>
            <a:xfrm>
              <a:off x="4459175" y="3844932"/>
              <a:ext cx="193573" cy="53032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4446958" y="3815914"/>
              <a:ext cx="22106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4704673" y="4253458"/>
              <a:ext cx="0" cy="5459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4673747" y="4313401"/>
              <a:ext cx="6185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5037603" y="4326382"/>
              <a:ext cx="108432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5130762" y="4292784"/>
              <a:ext cx="0" cy="30925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5238812" y="4318746"/>
              <a:ext cx="11606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5298373" y="4257276"/>
              <a:ext cx="0" cy="4505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5283864" y="4503156"/>
              <a:ext cx="0" cy="8552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5392677" y="4557753"/>
              <a:ext cx="18593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5384278" y="4464594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5384278" y="4305001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5384278" y="4149227"/>
              <a:ext cx="1317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5404514" y="4326382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5435058" y="4326382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5465602" y="4326382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5495763" y="4326382"/>
              <a:ext cx="0" cy="115304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5404514" y="4168699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5435058" y="4168699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5465602" y="4168699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Straight Connector 99"/>
            <p:cNvSpPr/>
            <p:nvPr/>
          </p:nvSpPr>
          <p:spPr>
            <a:xfrm>
              <a:off x="5495763" y="4168699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5404514" y="4014833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Straight Connector 101"/>
            <p:cNvSpPr/>
            <p:nvPr/>
          </p:nvSpPr>
          <p:spPr>
            <a:xfrm>
              <a:off x="5435058" y="4014833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Straight Connector 102"/>
            <p:cNvSpPr/>
            <p:nvPr/>
          </p:nvSpPr>
          <p:spPr>
            <a:xfrm>
              <a:off x="5465602" y="4014833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5495763" y="4014833"/>
              <a:ext cx="0" cy="11492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327"/>
            <p:cNvSpPr/>
            <p:nvPr/>
          </p:nvSpPr>
          <p:spPr>
            <a:xfrm>
              <a:off x="5377787" y="3906402"/>
              <a:ext cx="144321" cy="8285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328"/>
            <p:cNvSpPr/>
            <p:nvPr/>
          </p:nvSpPr>
          <p:spPr>
            <a:xfrm>
              <a:off x="4192678" y="4555081"/>
              <a:ext cx="1040406" cy="4199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329"/>
            <p:cNvSpPr/>
            <p:nvPr/>
          </p:nvSpPr>
          <p:spPr>
            <a:xfrm>
              <a:off x="4705818" y="4398161"/>
              <a:ext cx="439834" cy="11683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330"/>
            <p:cNvSpPr/>
            <p:nvPr/>
          </p:nvSpPr>
          <p:spPr>
            <a:xfrm>
              <a:off x="5173906" y="4346999"/>
              <a:ext cx="59179" cy="4047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331"/>
            <p:cNvSpPr/>
            <p:nvPr/>
          </p:nvSpPr>
          <p:spPr>
            <a:xfrm>
              <a:off x="5228503" y="4409615"/>
              <a:ext cx="101559" cy="41616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332"/>
            <p:cNvSpPr/>
            <p:nvPr/>
          </p:nvSpPr>
          <p:spPr>
            <a:xfrm>
              <a:off x="5641612" y="3985434"/>
              <a:ext cx="267260" cy="391344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Straight Connector 110"/>
            <p:cNvSpPr/>
            <p:nvPr/>
          </p:nvSpPr>
          <p:spPr>
            <a:xfrm>
              <a:off x="5698881" y="4516137"/>
              <a:ext cx="85524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Straight Connector 111"/>
            <p:cNvSpPr/>
            <p:nvPr/>
          </p:nvSpPr>
          <p:spPr>
            <a:xfrm>
              <a:off x="5923762" y="4489029"/>
              <a:ext cx="33178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Straight Connector 112"/>
            <p:cNvSpPr/>
            <p:nvPr/>
          </p:nvSpPr>
          <p:spPr>
            <a:xfrm>
              <a:off x="6274254" y="4464594"/>
              <a:ext cx="0" cy="11606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336"/>
            <p:cNvSpPr/>
            <p:nvPr/>
          </p:nvSpPr>
          <p:spPr>
            <a:xfrm>
              <a:off x="5997450" y="4334018"/>
              <a:ext cx="442507" cy="18173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>
              <a:off x="6194076" y="4358453"/>
              <a:ext cx="0" cy="4008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>
              <a:off x="5564869" y="4269112"/>
              <a:ext cx="0" cy="2787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339"/>
            <p:cNvSpPr/>
            <p:nvPr/>
          </p:nvSpPr>
          <p:spPr>
            <a:xfrm>
              <a:off x="5936743" y="4040032"/>
              <a:ext cx="34744" cy="35812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>
              <a:off x="3459622" y="4681457"/>
              <a:ext cx="0" cy="7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>
              <a:off x="4632513" y="4694820"/>
              <a:ext cx="0" cy="68342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Freeform: Shape 342"/>
            <p:cNvSpPr/>
            <p:nvPr/>
          </p:nvSpPr>
          <p:spPr>
            <a:xfrm>
              <a:off x="2555137" y="4510792"/>
              <a:ext cx="3895510" cy="1183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Freeform: Shape 343"/>
            <p:cNvSpPr/>
            <p:nvPr/>
          </p:nvSpPr>
          <p:spPr>
            <a:xfrm>
              <a:off x="2736110" y="4536754"/>
              <a:ext cx="507413" cy="3283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>
              <a:off x="2916320" y="4660839"/>
              <a:ext cx="342857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3046132" y="4708946"/>
              <a:ext cx="109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>
              <a:off x="3542472" y="4659694"/>
              <a:ext cx="157454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>
              <a:off x="5203686" y="4675348"/>
              <a:ext cx="313076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>
              <a:off x="5369387" y="4717728"/>
              <a:ext cx="15844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5838620" y="4660839"/>
              <a:ext cx="585683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4075084" y="4557753"/>
              <a:ext cx="5307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Freeform: Shape 351"/>
            <p:cNvSpPr/>
            <p:nvPr/>
          </p:nvSpPr>
          <p:spPr>
            <a:xfrm>
              <a:off x="4754689" y="3883494"/>
              <a:ext cx="281769" cy="623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4754689" y="397512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4754689" y="401750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4754689" y="4049576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4754689" y="408164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4754689" y="411333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4754689" y="4145027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4754689" y="417709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4754689" y="420916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4754689" y="4240858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4754689" y="427293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4754689" y="4304620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4754689" y="4336691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4754689" y="4368762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4754689" y="4400833"/>
              <a:ext cx="28215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4754689" y="4428705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4754689" y="4460776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4754689" y="4492847"/>
              <a:ext cx="179828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Freeform: Shape 369"/>
            <p:cNvSpPr/>
            <p:nvPr/>
          </p:nvSpPr>
          <p:spPr>
            <a:xfrm>
              <a:off x="4803941" y="3843787"/>
              <a:ext cx="81323" cy="8132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4906263" y="3911365"/>
              <a:ext cx="77505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3420678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3420678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3420678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3420678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3420678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3420678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3420678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3420678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3420678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3420678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Straight Connector 158"/>
            <p:cNvSpPr/>
            <p:nvPr/>
          </p:nvSpPr>
          <p:spPr>
            <a:xfrm>
              <a:off x="3420678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3420678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3420678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3420678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3420678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3420678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3420678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3450840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3450840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3450840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3450840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3450840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3450840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3450840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3450840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3450840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3450840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3450840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3450840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3450840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3450840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3450840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3450840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3450840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3481384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3481384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3481384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3481384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481384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3481384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3481384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3481384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3481384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3481384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Straight Connector 192"/>
            <p:cNvSpPr/>
            <p:nvPr/>
          </p:nvSpPr>
          <p:spPr>
            <a:xfrm>
              <a:off x="3481384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3481384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3481384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3481384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3481384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3481384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Straight Connector 198"/>
            <p:cNvSpPr/>
            <p:nvPr/>
          </p:nvSpPr>
          <p:spPr>
            <a:xfrm>
              <a:off x="3481384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3511928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511928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3511928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3511928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3511928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Straight Connector 204"/>
            <p:cNvSpPr/>
            <p:nvPr/>
          </p:nvSpPr>
          <p:spPr>
            <a:xfrm>
              <a:off x="3511928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3511928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3511928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Straight Connector 207"/>
            <p:cNvSpPr/>
            <p:nvPr/>
          </p:nvSpPr>
          <p:spPr>
            <a:xfrm>
              <a:off x="3511928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Straight Connector 208"/>
            <p:cNvSpPr/>
            <p:nvPr/>
          </p:nvSpPr>
          <p:spPr>
            <a:xfrm>
              <a:off x="3511928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3511928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Straight Connector 210"/>
            <p:cNvSpPr/>
            <p:nvPr/>
          </p:nvSpPr>
          <p:spPr>
            <a:xfrm>
              <a:off x="3511928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Straight Connector 211"/>
            <p:cNvSpPr/>
            <p:nvPr/>
          </p:nvSpPr>
          <p:spPr>
            <a:xfrm>
              <a:off x="3511928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3511928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11928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511928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511928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>
              <a:off x="3542472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3542472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>
              <a:off x="3542472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542472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42472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542472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3542472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3542472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3542472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3542472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3542472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3542472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3542472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3542472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3542472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3542472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3542472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3573016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3573016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3573016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3573016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3573016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3573016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3573016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3573016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3573016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>
              <a:off x="3573016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>
              <a:off x="3573016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3573016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3573016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3573016" y="435272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3573016" y="439434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3573016" y="4435576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3573016" y="4476812"/>
              <a:ext cx="0" cy="9163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3694811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3694811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3694811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Straight Connector 253"/>
            <p:cNvSpPr/>
            <p:nvPr/>
          </p:nvSpPr>
          <p:spPr>
            <a:xfrm>
              <a:off x="3694811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3694811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3694811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Straight Connector 256"/>
            <p:cNvSpPr/>
            <p:nvPr/>
          </p:nvSpPr>
          <p:spPr>
            <a:xfrm>
              <a:off x="3694811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3694811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3694811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3694811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3694811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3694811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3694811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3664268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>
              <a:off x="3664268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>
              <a:off x="3664268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>
              <a:off x="3664268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>
              <a:off x="3664268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>
              <a:off x="3664268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Straight Connector 269"/>
            <p:cNvSpPr/>
            <p:nvPr/>
          </p:nvSpPr>
          <p:spPr>
            <a:xfrm>
              <a:off x="3664268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Straight Connector 270"/>
            <p:cNvSpPr/>
            <p:nvPr/>
          </p:nvSpPr>
          <p:spPr>
            <a:xfrm>
              <a:off x="3664268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Straight Connector 271"/>
            <p:cNvSpPr/>
            <p:nvPr/>
          </p:nvSpPr>
          <p:spPr>
            <a:xfrm>
              <a:off x="3664268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3664268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Straight Connector 273"/>
            <p:cNvSpPr/>
            <p:nvPr/>
          </p:nvSpPr>
          <p:spPr>
            <a:xfrm>
              <a:off x="3664268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3664268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3664268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>
              <a:off x="3633723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3633723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3633723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Straight Connector 279"/>
            <p:cNvSpPr/>
            <p:nvPr/>
          </p:nvSpPr>
          <p:spPr>
            <a:xfrm>
              <a:off x="3633723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Straight Connector 280"/>
            <p:cNvSpPr/>
            <p:nvPr/>
          </p:nvSpPr>
          <p:spPr>
            <a:xfrm>
              <a:off x="3633723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Straight Connector 281"/>
            <p:cNvSpPr/>
            <p:nvPr/>
          </p:nvSpPr>
          <p:spPr>
            <a:xfrm>
              <a:off x="3633723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Straight Connector 282"/>
            <p:cNvSpPr/>
            <p:nvPr/>
          </p:nvSpPr>
          <p:spPr>
            <a:xfrm>
              <a:off x="3633723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Straight Connector 283"/>
            <p:cNvSpPr/>
            <p:nvPr/>
          </p:nvSpPr>
          <p:spPr>
            <a:xfrm>
              <a:off x="3633723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Straight Connector 284"/>
            <p:cNvSpPr/>
            <p:nvPr/>
          </p:nvSpPr>
          <p:spPr>
            <a:xfrm>
              <a:off x="3633723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Straight Connector 285"/>
            <p:cNvSpPr/>
            <p:nvPr/>
          </p:nvSpPr>
          <p:spPr>
            <a:xfrm>
              <a:off x="3633723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Straight Connector 286"/>
            <p:cNvSpPr/>
            <p:nvPr/>
          </p:nvSpPr>
          <p:spPr>
            <a:xfrm>
              <a:off x="3633723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Straight Connector 287"/>
            <p:cNvSpPr/>
            <p:nvPr/>
          </p:nvSpPr>
          <p:spPr>
            <a:xfrm>
              <a:off x="3633723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Straight Connector 288"/>
            <p:cNvSpPr/>
            <p:nvPr/>
          </p:nvSpPr>
          <p:spPr>
            <a:xfrm>
              <a:off x="3633723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Straight Connector 289"/>
            <p:cNvSpPr/>
            <p:nvPr/>
          </p:nvSpPr>
          <p:spPr>
            <a:xfrm>
              <a:off x="3603560" y="3815532"/>
              <a:ext cx="0" cy="20618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3603560" y="3856768"/>
              <a:ext cx="0" cy="20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3603560" y="389838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3603560" y="393961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3603560" y="3980853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3603560" y="4022469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3603560" y="4063704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3603560" y="4104556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3603560" y="414617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3603560" y="4187407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3603560" y="4228641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3603560" y="4270258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3603560" y="4311492"/>
              <a:ext cx="0" cy="20617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 sz="2800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9517782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2425143" y="1674776"/>
            <a:ext cx="4293715" cy="1577975"/>
            <a:chOff x="737640" y="2185200"/>
            <a:chExt cx="7802280" cy="2867400"/>
          </a:xfrm>
        </p:grpSpPr>
        <p:sp>
          <p:nvSpPr>
            <p:cNvPr id="3" name="Freeform: Shape 1"/>
            <p:cNvSpPr/>
            <p:nvPr/>
          </p:nvSpPr>
          <p:spPr>
            <a:xfrm>
              <a:off x="1261080" y="3500279"/>
              <a:ext cx="765720" cy="765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28" h="2128">
                  <a:moveTo>
                    <a:pt x="2128" y="1064"/>
                  </a:moveTo>
                  <a:cubicBezTo>
                    <a:pt x="2128" y="1260"/>
                    <a:pt x="2083" y="1426"/>
                    <a:pt x="1985" y="1596"/>
                  </a:cubicBezTo>
                  <a:cubicBezTo>
                    <a:pt x="1887" y="1765"/>
                    <a:pt x="1765" y="1888"/>
                    <a:pt x="1596" y="1986"/>
                  </a:cubicBezTo>
                  <a:cubicBezTo>
                    <a:pt x="1426" y="2084"/>
                    <a:pt x="1260" y="2128"/>
                    <a:pt x="1064" y="2128"/>
                  </a:cubicBezTo>
                  <a:cubicBezTo>
                    <a:pt x="868" y="2128"/>
                    <a:pt x="701" y="2084"/>
                    <a:pt x="532" y="1986"/>
                  </a:cubicBezTo>
                  <a:cubicBezTo>
                    <a:pt x="362" y="1888"/>
                    <a:pt x="240" y="1765"/>
                    <a:pt x="142" y="1596"/>
                  </a:cubicBezTo>
                  <a:cubicBezTo>
                    <a:pt x="44" y="1426"/>
                    <a:pt x="0" y="1260"/>
                    <a:pt x="0" y="1064"/>
                  </a:cubicBezTo>
                  <a:cubicBezTo>
                    <a:pt x="0" y="868"/>
                    <a:pt x="44" y="701"/>
                    <a:pt x="142" y="532"/>
                  </a:cubicBezTo>
                  <a:cubicBezTo>
                    <a:pt x="240" y="362"/>
                    <a:pt x="362" y="241"/>
                    <a:pt x="532" y="143"/>
                  </a:cubicBezTo>
                  <a:cubicBezTo>
                    <a:pt x="701" y="45"/>
                    <a:pt x="868" y="0"/>
                    <a:pt x="1064" y="0"/>
                  </a:cubicBezTo>
                  <a:cubicBezTo>
                    <a:pt x="1260" y="0"/>
                    <a:pt x="1426" y="45"/>
                    <a:pt x="1596" y="143"/>
                  </a:cubicBezTo>
                  <a:cubicBezTo>
                    <a:pt x="1765" y="241"/>
                    <a:pt x="1887" y="362"/>
                    <a:pt x="1985" y="532"/>
                  </a:cubicBezTo>
                  <a:cubicBezTo>
                    <a:pt x="2083" y="701"/>
                    <a:pt x="2128" y="868"/>
                    <a:pt x="2128" y="106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" name="Straight Connector 3"/>
            <p:cNvSpPr/>
            <p:nvPr/>
          </p:nvSpPr>
          <p:spPr>
            <a:xfrm>
              <a:off x="1644119" y="3484079"/>
              <a:ext cx="0" cy="50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" name="Straight Connector 4"/>
            <p:cNvSpPr/>
            <p:nvPr/>
          </p:nvSpPr>
          <p:spPr>
            <a:xfrm>
              <a:off x="1644119" y="4248000"/>
              <a:ext cx="0" cy="50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" name="Straight Connector 5"/>
            <p:cNvSpPr/>
            <p:nvPr/>
          </p:nvSpPr>
          <p:spPr>
            <a:xfrm flipH="1">
              <a:off x="1779120" y="3514680"/>
              <a:ext cx="19440" cy="46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" name="Straight Connector 6"/>
            <p:cNvSpPr/>
            <p:nvPr/>
          </p:nvSpPr>
          <p:spPr>
            <a:xfrm flipH="1">
              <a:off x="1489680" y="4221719"/>
              <a:ext cx="18360" cy="457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 flipH="1">
              <a:off x="1897920" y="3605039"/>
              <a:ext cx="35640" cy="356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 flipH="1">
              <a:off x="1354320" y="4142520"/>
              <a:ext cx="35640" cy="34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1974240" y="3738240"/>
              <a:ext cx="46799" cy="1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1267200" y="4025520"/>
              <a:ext cx="46800" cy="183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2000519" y="389052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1237680" y="3892680"/>
              <a:ext cx="49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 flipV="1">
              <a:off x="1974240" y="4025520"/>
              <a:ext cx="46799" cy="183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 flipV="1">
              <a:off x="1267200" y="3738240"/>
              <a:ext cx="45720" cy="19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>
              <a:off x="1358640" y="3602160"/>
              <a:ext cx="34559" cy="352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>
              <a:off x="1895039" y="4145400"/>
              <a:ext cx="34560" cy="345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>
              <a:off x="1480319" y="3518639"/>
              <a:ext cx="20520" cy="4572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>
              <a:off x="1787400" y="4217760"/>
              <a:ext cx="1908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18"/>
            <p:cNvSpPr/>
            <p:nvPr/>
          </p:nvSpPr>
          <p:spPr>
            <a:xfrm>
              <a:off x="1523160" y="3877200"/>
              <a:ext cx="240480" cy="712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79" fill="none">
                  <a:moveTo>
                    <a:pt x="0" y="1979"/>
                  </a:moveTo>
                  <a:lnTo>
                    <a:pt x="378" y="0"/>
                  </a:lnTo>
                  <a:lnTo>
                    <a:pt x="669" y="154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1289520" y="4565160"/>
              <a:ext cx="0" cy="259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20"/>
            <p:cNvSpPr/>
            <p:nvPr/>
          </p:nvSpPr>
          <p:spPr>
            <a:xfrm>
              <a:off x="2216160" y="3975839"/>
              <a:ext cx="354960" cy="79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2218" fill="none">
                  <a:moveTo>
                    <a:pt x="0" y="2218"/>
                  </a:moveTo>
                  <a:lnTo>
                    <a:pt x="0" y="0"/>
                  </a:lnTo>
                  <a:lnTo>
                    <a:pt x="987" y="0"/>
                  </a:lnTo>
                  <a:lnTo>
                    <a:pt x="987" y="221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21"/>
            <p:cNvSpPr/>
            <p:nvPr/>
          </p:nvSpPr>
          <p:spPr>
            <a:xfrm>
              <a:off x="2290319" y="4447080"/>
              <a:ext cx="206640" cy="341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75" h="949">
                  <a:moveTo>
                    <a:pt x="0" y="949"/>
                  </a:moveTo>
                  <a:lnTo>
                    <a:pt x="0" y="198"/>
                  </a:lnTo>
                  <a:cubicBezTo>
                    <a:pt x="0" y="88"/>
                    <a:pt x="87" y="0"/>
                    <a:pt x="197" y="0"/>
                  </a:cubicBezTo>
                  <a:lnTo>
                    <a:pt x="378" y="0"/>
                  </a:lnTo>
                  <a:cubicBezTo>
                    <a:pt x="488" y="0"/>
                    <a:pt x="575" y="88"/>
                    <a:pt x="575" y="198"/>
                  </a:cubicBezTo>
                  <a:lnTo>
                    <a:pt x="575" y="94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Straight Connector 23"/>
            <p:cNvSpPr/>
            <p:nvPr/>
          </p:nvSpPr>
          <p:spPr>
            <a:xfrm>
              <a:off x="2267640" y="4190039"/>
              <a:ext cx="254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23"/>
            <p:cNvSpPr/>
            <p:nvPr/>
          </p:nvSpPr>
          <p:spPr>
            <a:xfrm>
              <a:off x="1356480" y="3975839"/>
              <a:ext cx="843840" cy="7351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5" h="2043">
                  <a:moveTo>
                    <a:pt x="2345" y="0"/>
                  </a:moveTo>
                  <a:cubicBezTo>
                    <a:pt x="2156" y="1137"/>
                    <a:pt x="1183" y="2012"/>
                    <a:pt x="0" y="20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Straight Connector 25"/>
            <p:cNvSpPr/>
            <p:nvPr/>
          </p:nvSpPr>
          <p:spPr>
            <a:xfrm>
              <a:off x="1769040" y="4606560"/>
              <a:ext cx="405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5"/>
            <p:cNvSpPr/>
            <p:nvPr/>
          </p:nvSpPr>
          <p:spPr>
            <a:xfrm>
              <a:off x="3854879" y="3975839"/>
              <a:ext cx="843840" cy="7351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5" h="2043">
                  <a:moveTo>
                    <a:pt x="0" y="0"/>
                  </a:moveTo>
                  <a:cubicBezTo>
                    <a:pt x="189" y="1137"/>
                    <a:pt x="1162" y="2012"/>
                    <a:pt x="2345" y="20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 flipH="1">
              <a:off x="3881159" y="4606560"/>
              <a:ext cx="405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Straight Connector 28"/>
            <p:cNvSpPr/>
            <p:nvPr/>
          </p:nvSpPr>
          <p:spPr>
            <a:xfrm>
              <a:off x="1388159" y="4815000"/>
              <a:ext cx="47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2571480" y="399816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Straight Connector 30"/>
            <p:cNvSpPr/>
            <p:nvPr/>
          </p:nvSpPr>
          <p:spPr>
            <a:xfrm>
              <a:off x="2571480" y="405900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>
              <a:off x="2571480" y="417204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2571480" y="457812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2571480" y="4694040"/>
              <a:ext cx="904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Freeform: Shape 33"/>
            <p:cNvSpPr/>
            <p:nvPr/>
          </p:nvSpPr>
          <p:spPr>
            <a:xfrm>
              <a:off x="2208960" y="3750479"/>
              <a:ext cx="86760" cy="15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2" h="434">
                  <a:moveTo>
                    <a:pt x="121" y="0"/>
                  </a:moveTo>
                  <a:lnTo>
                    <a:pt x="0" y="434"/>
                  </a:lnTo>
                  <a:lnTo>
                    <a:pt x="242" y="43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Freeform: Shape 34"/>
            <p:cNvSpPr/>
            <p:nvPr/>
          </p:nvSpPr>
          <p:spPr>
            <a:xfrm>
              <a:off x="2495520" y="3750479"/>
              <a:ext cx="86760" cy="15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2" h="434">
                  <a:moveTo>
                    <a:pt x="121" y="0"/>
                  </a:moveTo>
                  <a:lnTo>
                    <a:pt x="0" y="434"/>
                  </a:lnTo>
                  <a:lnTo>
                    <a:pt x="242" y="43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Freeform: Shape 35"/>
            <p:cNvSpPr/>
            <p:nvPr/>
          </p:nvSpPr>
          <p:spPr>
            <a:xfrm>
              <a:off x="2265840" y="3579480"/>
              <a:ext cx="255600" cy="32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1" h="909">
                  <a:moveTo>
                    <a:pt x="355" y="0"/>
                  </a:moveTo>
                  <a:lnTo>
                    <a:pt x="0" y="909"/>
                  </a:lnTo>
                  <a:lnTo>
                    <a:pt x="711" y="90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Freeform: Shape 36"/>
            <p:cNvSpPr/>
            <p:nvPr/>
          </p:nvSpPr>
          <p:spPr>
            <a:xfrm>
              <a:off x="2360160" y="4034879"/>
              <a:ext cx="66960" cy="79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" h="223">
                  <a:moveTo>
                    <a:pt x="93" y="223"/>
                  </a:moveTo>
                  <a:lnTo>
                    <a:pt x="0" y="223"/>
                  </a:lnTo>
                  <a:lnTo>
                    <a:pt x="0" y="0"/>
                  </a:lnTo>
                  <a:lnTo>
                    <a:pt x="187" y="0"/>
                  </a:lnTo>
                  <a:lnTo>
                    <a:pt x="187" y="22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7"/>
            <p:cNvSpPr/>
            <p:nvPr/>
          </p:nvSpPr>
          <p:spPr>
            <a:xfrm>
              <a:off x="3483720" y="3975839"/>
              <a:ext cx="355320" cy="79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2218" fill="none">
                  <a:moveTo>
                    <a:pt x="0" y="2218"/>
                  </a:moveTo>
                  <a:lnTo>
                    <a:pt x="0" y="0"/>
                  </a:lnTo>
                  <a:lnTo>
                    <a:pt x="988" y="0"/>
                  </a:lnTo>
                  <a:lnTo>
                    <a:pt x="988" y="221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8"/>
            <p:cNvSpPr/>
            <p:nvPr/>
          </p:nvSpPr>
          <p:spPr>
            <a:xfrm>
              <a:off x="3558240" y="4447080"/>
              <a:ext cx="206640" cy="341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75" h="949">
                  <a:moveTo>
                    <a:pt x="0" y="949"/>
                  </a:moveTo>
                  <a:lnTo>
                    <a:pt x="0" y="198"/>
                  </a:lnTo>
                  <a:cubicBezTo>
                    <a:pt x="0" y="88"/>
                    <a:pt x="87" y="0"/>
                    <a:pt x="197" y="0"/>
                  </a:cubicBezTo>
                  <a:lnTo>
                    <a:pt x="378" y="0"/>
                  </a:lnTo>
                  <a:cubicBezTo>
                    <a:pt x="488" y="0"/>
                    <a:pt x="575" y="88"/>
                    <a:pt x="575" y="198"/>
                  </a:cubicBezTo>
                  <a:lnTo>
                    <a:pt x="575" y="94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Straight Connector 40"/>
            <p:cNvSpPr/>
            <p:nvPr/>
          </p:nvSpPr>
          <p:spPr>
            <a:xfrm>
              <a:off x="3534840" y="4190039"/>
              <a:ext cx="253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40"/>
            <p:cNvSpPr/>
            <p:nvPr/>
          </p:nvSpPr>
          <p:spPr>
            <a:xfrm>
              <a:off x="3475800" y="3750479"/>
              <a:ext cx="87120" cy="15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434">
                  <a:moveTo>
                    <a:pt x="124" y="0"/>
                  </a:moveTo>
                  <a:lnTo>
                    <a:pt x="0" y="434"/>
                  </a:lnTo>
                  <a:lnTo>
                    <a:pt x="243" y="43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41"/>
            <p:cNvSpPr/>
            <p:nvPr/>
          </p:nvSpPr>
          <p:spPr>
            <a:xfrm>
              <a:off x="3762360" y="3750479"/>
              <a:ext cx="86760" cy="15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2" h="434">
                  <a:moveTo>
                    <a:pt x="121" y="0"/>
                  </a:moveTo>
                  <a:lnTo>
                    <a:pt x="0" y="434"/>
                  </a:lnTo>
                  <a:lnTo>
                    <a:pt x="242" y="43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42"/>
            <p:cNvSpPr/>
            <p:nvPr/>
          </p:nvSpPr>
          <p:spPr>
            <a:xfrm>
              <a:off x="3532680" y="3579480"/>
              <a:ext cx="256680" cy="32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909">
                  <a:moveTo>
                    <a:pt x="358" y="0"/>
                  </a:moveTo>
                  <a:lnTo>
                    <a:pt x="0" y="909"/>
                  </a:lnTo>
                  <a:lnTo>
                    <a:pt x="714" y="90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Freeform: Shape 43"/>
            <p:cNvSpPr/>
            <p:nvPr/>
          </p:nvSpPr>
          <p:spPr>
            <a:xfrm>
              <a:off x="3628080" y="4034879"/>
              <a:ext cx="66600" cy="79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6" h="223">
                  <a:moveTo>
                    <a:pt x="93" y="223"/>
                  </a:moveTo>
                  <a:lnTo>
                    <a:pt x="0" y="223"/>
                  </a:lnTo>
                  <a:lnTo>
                    <a:pt x="0" y="0"/>
                  </a:lnTo>
                  <a:lnTo>
                    <a:pt x="186" y="0"/>
                  </a:lnTo>
                  <a:lnTo>
                    <a:pt x="186" y="22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Straight Connector 45"/>
            <p:cNvSpPr/>
            <p:nvPr/>
          </p:nvSpPr>
          <p:spPr>
            <a:xfrm>
              <a:off x="2111399" y="4815000"/>
              <a:ext cx="1778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Straight Connector 46"/>
            <p:cNvSpPr/>
            <p:nvPr/>
          </p:nvSpPr>
          <p:spPr>
            <a:xfrm>
              <a:off x="2371320" y="4890240"/>
              <a:ext cx="0" cy="12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Straight Connector 47"/>
            <p:cNvSpPr/>
            <p:nvPr/>
          </p:nvSpPr>
          <p:spPr>
            <a:xfrm>
              <a:off x="2509560" y="4885200"/>
              <a:ext cx="1019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Straight Connector 48"/>
            <p:cNvSpPr/>
            <p:nvPr/>
          </p:nvSpPr>
          <p:spPr>
            <a:xfrm>
              <a:off x="2817360" y="4982760"/>
              <a:ext cx="372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Straight Connector 49"/>
            <p:cNvSpPr/>
            <p:nvPr/>
          </p:nvSpPr>
          <p:spPr>
            <a:xfrm>
              <a:off x="2922119" y="5046480"/>
              <a:ext cx="178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7921080" y="4750920"/>
              <a:ext cx="618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8061480" y="4813920"/>
              <a:ext cx="357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3872160" y="4872960"/>
              <a:ext cx="0" cy="179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 flipH="1">
              <a:off x="3927960" y="4895280"/>
              <a:ext cx="813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 flipV="1">
              <a:off x="3927960" y="462312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Freeform: Shape 54"/>
            <p:cNvSpPr/>
            <p:nvPr/>
          </p:nvSpPr>
          <p:spPr>
            <a:xfrm>
              <a:off x="4017240" y="4754160"/>
              <a:ext cx="68148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94" h="265">
                  <a:moveTo>
                    <a:pt x="947" y="265"/>
                  </a:moveTo>
                  <a:lnTo>
                    <a:pt x="0" y="265"/>
                  </a:lnTo>
                  <a:lnTo>
                    <a:pt x="0" y="0"/>
                  </a:lnTo>
                  <a:lnTo>
                    <a:pt x="1894" y="0"/>
                  </a:lnTo>
                  <a:lnTo>
                    <a:pt x="1894" y="2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Freeform: Shape 55"/>
            <p:cNvSpPr/>
            <p:nvPr/>
          </p:nvSpPr>
          <p:spPr>
            <a:xfrm>
              <a:off x="4233600" y="3298680"/>
              <a:ext cx="188640" cy="1324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3680" fill="none">
                  <a:moveTo>
                    <a:pt x="0" y="3378"/>
                  </a:moveTo>
                  <a:lnTo>
                    <a:pt x="0" y="0"/>
                  </a:lnTo>
                  <a:lnTo>
                    <a:pt x="525" y="0"/>
                  </a:lnTo>
                  <a:lnTo>
                    <a:pt x="525" y="36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Freeform: Shape 56"/>
            <p:cNvSpPr/>
            <p:nvPr/>
          </p:nvSpPr>
          <p:spPr>
            <a:xfrm>
              <a:off x="4350600" y="3022200"/>
              <a:ext cx="641520" cy="16423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83" h="4563" fill="none">
                  <a:moveTo>
                    <a:pt x="0" y="4369"/>
                  </a:moveTo>
                  <a:lnTo>
                    <a:pt x="0" y="0"/>
                  </a:lnTo>
                  <a:lnTo>
                    <a:pt x="657" y="0"/>
                  </a:lnTo>
                  <a:lnTo>
                    <a:pt x="657" y="4563"/>
                  </a:lnTo>
                  <a:lnTo>
                    <a:pt x="1783" y="4563"/>
                  </a:lnTo>
                  <a:lnTo>
                    <a:pt x="1306" y="4349"/>
                  </a:lnTo>
                  <a:lnTo>
                    <a:pt x="968" y="434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Freeform: Shape 57"/>
            <p:cNvSpPr/>
            <p:nvPr/>
          </p:nvSpPr>
          <p:spPr>
            <a:xfrm>
              <a:off x="4422600" y="3138119"/>
              <a:ext cx="235440" cy="1484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55" h="4126" fill="none">
                  <a:moveTo>
                    <a:pt x="655" y="4126"/>
                  </a:moveTo>
                  <a:lnTo>
                    <a:pt x="655" y="0"/>
                  </a:lnTo>
                  <a:lnTo>
                    <a:pt x="0" y="0"/>
                  </a:lnTo>
                  <a:lnTo>
                    <a:pt x="0" y="46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>
              <a:off x="4707720" y="4087440"/>
              <a:ext cx="69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>
              <a:off x="4738320" y="4181039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60"/>
            <p:cNvSpPr/>
            <p:nvPr/>
          </p:nvSpPr>
          <p:spPr>
            <a:xfrm>
              <a:off x="4820400" y="2950200"/>
              <a:ext cx="172440" cy="163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0" h="4549" fill="none">
                  <a:moveTo>
                    <a:pt x="0" y="4549"/>
                  </a:moveTo>
                  <a:lnTo>
                    <a:pt x="0" y="1464"/>
                  </a:lnTo>
                  <a:lnTo>
                    <a:pt x="480" y="1126"/>
                  </a:lnTo>
                  <a:lnTo>
                    <a:pt x="226" y="1126"/>
                  </a:lnTo>
                  <a:lnTo>
                    <a:pt x="226" y="0"/>
                  </a:lnTo>
                  <a:lnTo>
                    <a:pt x="477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61"/>
            <p:cNvSpPr/>
            <p:nvPr/>
          </p:nvSpPr>
          <p:spPr>
            <a:xfrm>
              <a:off x="4993200" y="2185200"/>
              <a:ext cx="251640" cy="25862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0" h="7185" fill="none">
                  <a:moveTo>
                    <a:pt x="0" y="7185"/>
                  </a:moveTo>
                  <a:lnTo>
                    <a:pt x="0" y="1196"/>
                  </a:lnTo>
                  <a:lnTo>
                    <a:pt x="469" y="728"/>
                  </a:lnTo>
                  <a:lnTo>
                    <a:pt x="469" y="0"/>
                  </a:lnTo>
                  <a:lnTo>
                    <a:pt x="700" y="451"/>
                  </a:lnTo>
                  <a:lnTo>
                    <a:pt x="700" y="212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Straight Connector 63"/>
            <p:cNvSpPr/>
            <p:nvPr/>
          </p:nvSpPr>
          <p:spPr>
            <a:xfrm>
              <a:off x="5041080" y="2636280"/>
              <a:ext cx="0" cy="2137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3"/>
            <p:cNvSpPr/>
            <p:nvPr/>
          </p:nvSpPr>
          <p:spPr>
            <a:xfrm>
              <a:off x="4993200" y="2820240"/>
              <a:ext cx="362519" cy="19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08" h="5426" fill="none">
                  <a:moveTo>
                    <a:pt x="0" y="5426"/>
                  </a:moveTo>
                  <a:lnTo>
                    <a:pt x="325" y="5426"/>
                  </a:lnTo>
                  <a:lnTo>
                    <a:pt x="325" y="846"/>
                  </a:lnTo>
                  <a:lnTo>
                    <a:pt x="1008" y="166"/>
                  </a:lnTo>
                  <a:lnTo>
                    <a:pt x="7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Freeform: Shape 64"/>
            <p:cNvSpPr/>
            <p:nvPr/>
          </p:nvSpPr>
          <p:spPr>
            <a:xfrm>
              <a:off x="5245200" y="2760119"/>
              <a:ext cx="253440" cy="1638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5" h="4552" fill="none">
                  <a:moveTo>
                    <a:pt x="0" y="0"/>
                  </a:moveTo>
                  <a:lnTo>
                    <a:pt x="474" y="251"/>
                  </a:lnTo>
                  <a:lnTo>
                    <a:pt x="474" y="4552"/>
                  </a:lnTo>
                  <a:lnTo>
                    <a:pt x="705" y="4552"/>
                  </a:lnTo>
                  <a:lnTo>
                    <a:pt x="705" y="1555"/>
                  </a:lnTo>
                  <a:lnTo>
                    <a:pt x="491" y="138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5338800" y="3042720"/>
              <a:ext cx="0" cy="131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6"/>
            <p:cNvSpPr/>
            <p:nvPr/>
          </p:nvSpPr>
          <p:spPr>
            <a:xfrm>
              <a:off x="5238000" y="4439160"/>
              <a:ext cx="896759" cy="327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2" h="911" fill="none">
                  <a:moveTo>
                    <a:pt x="0" y="911"/>
                  </a:moveTo>
                  <a:lnTo>
                    <a:pt x="0" y="0"/>
                  </a:lnTo>
                  <a:lnTo>
                    <a:pt x="1042" y="0"/>
                  </a:lnTo>
                  <a:lnTo>
                    <a:pt x="1042" y="796"/>
                  </a:lnTo>
                  <a:lnTo>
                    <a:pt x="1219" y="796"/>
                  </a:lnTo>
                  <a:lnTo>
                    <a:pt x="1219" y="0"/>
                  </a:lnTo>
                  <a:lnTo>
                    <a:pt x="1885" y="0"/>
                  </a:lnTo>
                  <a:lnTo>
                    <a:pt x="1885" y="815"/>
                  </a:lnTo>
                  <a:lnTo>
                    <a:pt x="2492" y="81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Straight Connector 68"/>
            <p:cNvSpPr/>
            <p:nvPr/>
          </p:nvSpPr>
          <p:spPr>
            <a:xfrm>
              <a:off x="4959720" y="4844520"/>
              <a:ext cx="439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4919040" y="4872960"/>
              <a:ext cx="0" cy="133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Straight Connector 70"/>
            <p:cNvSpPr/>
            <p:nvPr/>
          </p:nvSpPr>
          <p:spPr>
            <a:xfrm>
              <a:off x="5534640" y="4008239"/>
              <a:ext cx="17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Straight Connector 71"/>
            <p:cNvSpPr/>
            <p:nvPr/>
          </p:nvSpPr>
          <p:spPr>
            <a:xfrm>
              <a:off x="5585400" y="3880440"/>
              <a:ext cx="0" cy="12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5638320" y="3880440"/>
              <a:ext cx="0" cy="12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72"/>
            <p:cNvSpPr/>
            <p:nvPr/>
          </p:nvSpPr>
          <p:spPr>
            <a:xfrm>
              <a:off x="5585400" y="4181039"/>
              <a:ext cx="91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4" h="570">
                  <a:moveTo>
                    <a:pt x="127" y="570"/>
                  </a:moveTo>
                  <a:lnTo>
                    <a:pt x="0" y="570"/>
                  </a:lnTo>
                  <a:lnTo>
                    <a:pt x="0" y="0"/>
                  </a:lnTo>
                  <a:lnTo>
                    <a:pt x="254" y="0"/>
                  </a:lnTo>
                  <a:lnTo>
                    <a:pt x="254" y="5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Freeform: Shape 73"/>
            <p:cNvSpPr/>
            <p:nvPr/>
          </p:nvSpPr>
          <p:spPr>
            <a:xfrm>
              <a:off x="5327640" y="4705200"/>
              <a:ext cx="172080" cy="70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9" h="198">
                  <a:moveTo>
                    <a:pt x="239" y="198"/>
                  </a:moveTo>
                  <a:lnTo>
                    <a:pt x="0" y="198"/>
                  </a:lnTo>
                  <a:lnTo>
                    <a:pt x="0" y="0"/>
                  </a:lnTo>
                  <a:lnTo>
                    <a:pt x="479" y="0"/>
                  </a:lnTo>
                  <a:lnTo>
                    <a:pt x="479" y="19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Freeform: Shape 74"/>
            <p:cNvSpPr/>
            <p:nvPr/>
          </p:nvSpPr>
          <p:spPr>
            <a:xfrm>
              <a:off x="6982560" y="4762079"/>
              <a:ext cx="156960" cy="70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7" h="198">
                  <a:moveTo>
                    <a:pt x="218" y="198"/>
                  </a:moveTo>
                  <a:lnTo>
                    <a:pt x="0" y="198"/>
                  </a:lnTo>
                  <a:lnTo>
                    <a:pt x="0" y="0"/>
                  </a:lnTo>
                  <a:lnTo>
                    <a:pt x="437" y="0"/>
                  </a:lnTo>
                  <a:lnTo>
                    <a:pt x="437" y="19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Freeform: Shape 75"/>
            <p:cNvSpPr/>
            <p:nvPr/>
          </p:nvSpPr>
          <p:spPr>
            <a:xfrm>
              <a:off x="5659559" y="4847400"/>
              <a:ext cx="402120" cy="100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18" h="280">
                  <a:moveTo>
                    <a:pt x="559" y="280"/>
                  </a:moveTo>
                  <a:lnTo>
                    <a:pt x="0" y="280"/>
                  </a:lnTo>
                  <a:lnTo>
                    <a:pt x="0" y="0"/>
                  </a:lnTo>
                  <a:lnTo>
                    <a:pt x="1118" y="0"/>
                  </a:lnTo>
                  <a:lnTo>
                    <a:pt x="1118" y="28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eform: Shape 76"/>
            <p:cNvSpPr/>
            <p:nvPr/>
          </p:nvSpPr>
          <p:spPr>
            <a:xfrm>
              <a:off x="4869360" y="4371120"/>
              <a:ext cx="123480" cy="20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44" h="564" fill="none">
                  <a:moveTo>
                    <a:pt x="344" y="564"/>
                  </a:moveTo>
                  <a:lnTo>
                    <a:pt x="0" y="564"/>
                  </a:lnTo>
                  <a:lnTo>
                    <a:pt x="0" y="0"/>
                  </a:lnTo>
                  <a:lnTo>
                    <a:pt x="3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4856040" y="3493439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Straight Connector 79"/>
            <p:cNvSpPr/>
            <p:nvPr/>
          </p:nvSpPr>
          <p:spPr>
            <a:xfrm>
              <a:off x="4856040" y="35622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Straight Connector 80"/>
            <p:cNvSpPr/>
            <p:nvPr/>
          </p:nvSpPr>
          <p:spPr>
            <a:xfrm>
              <a:off x="4856040" y="36306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Straight Connector 81"/>
            <p:cNvSpPr/>
            <p:nvPr/>
          </p:nvSpPr>
          <p:spPr>
            <a:xfrm>
              <a:off x="4856040" y="3698639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Straight Connector 82"/>
            <p:cNvSpPr/>
            <p:nvPr/>
          </p:nvSpPr>
          <p:spPr>
            <a:xfrm>
              <a:off x="4856040" y="376668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4856040" y="38358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4856040" y="390384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4856040" y="397296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4856040" y="40410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4856040" y="411012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4856040" y="417816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4856040" y="4246200"/>
              <a:ext cx="136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5421960" y="3319920"/>
              <a:ext cx="77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5886360" y="5026320"/>
              <a:ext cx="4935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6207119" y="4759200"/>
              <a:ext cx="5965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Freeform: Shape 92"/>
            <p:cNvSpPr/>
            <p:nvPr/>
          </p:nvSpPr>
          <p:spPr>
            <a:xfrm>
              <a:off x="5712480" y="2892239"/>
              <a:ext cx="678240" cy="17593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85" h="4888">
                  <a:moveTo>
                    <a:pt x="0" y="4213"/>
                  </a:moveTo>
                  <a:lnTo>
                    <a:pt x="0" y="0"/>
                  </a:lnTo>
                  <a:lnTo>
                    <a:pt x="1287" y="0"/>
                  </a:lnTo>
                  <a:lnTo>
                    <a:pt x="1885" y="3606"/>
                  </a:lnTo>
                  <a:lnTo>
                    <a:pt x="1555" y="3606"/>
                  </a:lnTo>
                  <a:lnTo>
                    <a:pt x="1555" y="4145"/>
                  </a:lnTo>
                  <a:lnTo>
                    <a:pt x="1287" y="4145"/>
                  </a:lnTo>
                  <a:lnTo>
                    <a:pt x="1287" y="4888"/>
                  </a:lnTo>
                  <a:lnTo>
                    <a:pt x="1084" y="4888"/>
                  </a:lnTo>
                  <a:lnTo>
                    <a:pt x="375" y="183"/>
                  </a:lnTo>
                  <a:lnTo>
                    <a:pt x="184" y="183"/>
                  </a:lnTo>
                  <a:lnTo>
                    <a:pt x="184" y="421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Freeform: Shape 93"/>
            <p:cNvSpPr/>
            <p:nvPr/>
          </p:nvSpPr>
          <p:spPr>
            <a:xfrm>
              <a:off x="6311880" y="4158720"/>
              <a:ext cx="810360" cy="5054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52" h="1405" fill="none">
                  <a:moveTo>
                    <a:pt x="0" y="200"/>
                  </a:moveTo>
                  <a:lnTo>
                    <a:pt x="655" y="200"/>
                  </a:lnTo>
                  <a:lnTo>
                    <a:pt x="655" y="0"/>
                  </a:lnTo>
                  <a:lnTo>
                    <a:pt x="979" y="0"/>
                  </a:lnTo>
                  <a:lnTo>
                    <a:pt x="979" y="494"/>
                  </a:lnTo>
                  <a:lnTo>
                    <a:pt x="1383" y="494"/>
                  </a:lnTo>
                  <a:lnTo>
                    <a:pt x="1383" y="1405"/>
                  </a:lnTo>
                  <a:lnTo>
                    <a:pt x="2252" y="14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6499800" y="4890240"/>
              <a:ext cx="1691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Freeform: Shape 95"/>
            <p:cNvSpPr/>
            <p:nvPr/>
          </p:nvSpPr>
          <p:spPr>
            <a:xfrm>
              <a:off x="6321240" y="4282560"/>
              <a:ext cx="128520" cy="418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8" h="1163">
                  <a:moveTo>
                    <a:pt x="179" y="1163"/>
                  </a:moveTo>
                  <a:lnTo>
                    <a:pt x="0" y="1163"/>
                  </a:lnTo>
                  <a:lnTo>
                    <a:pt x="0" y="0"/>
                  </a:lnTo>
                  <a:lnTo>
                    <a:pt x="358" y="0"/>
                  </a:lnTo>
                  <a:lnTo>
                    <a:pt x="358" y="116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Freeform: Shape 96"/>
            <p:cNvSpPr/>
            <p:nvPr/>
          </p:nvSpPr>
          <p:spPr>
            <a:xfrm>
              <a:off x="6517080" y="4569120"/>
              <a:ext cx="249480" cy="58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94" h="164">
                  <a:moveTo>
                    <a:pt x="347" y="1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694" y="0"/>
                  </a:lnTo>
                  <a:lnTo>
                    <a:pt x="694" y="1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Straight Connector 98"/>
            <p:cNvSpPr/>
            <p:nvPr/>
          </p:nvSpPr>
          <p:spPr>
            <a:xfrm>
              <a:off x="6379919" y="3869279"/>
              <a:ext cx="0" cy="752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8"/>
            <p:cNvSpPr/>
            <p:nvPr/>
          </p:nvSpPr>
          <p:spPr>
            <a:xfrm>
              <a:off x="6425280" y="2873880"/>
              <a:ext cx="570960" cy="1649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87" h="4583">
                  <a:moveTo>
                    <a:pt x="10" y="3370"/>
                  </a:moveTo>
                  <a:cubicBezTo>
                    <a:pt x="10" y="3370"/>
                    <a:pt x="-148" y="1578"/>
                    <a:pt x="800" y="0"/>
                  </a:cubicBezTo>
                  <a:cubicBezTo>
                    <a:pt x="800" y="0"/>
                    <a:pt x="2008" y="1928"/>
                    <a:pt x="1432" y="458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Freeform: Shape 99"/>
            <p:cNvSpPr/>
            <p:nvPr/>
          </p:nvSpPr>
          <p:spPr>
            <a:xfrm>
              <a:off x="6635880" y="3045600"/>
              <a:ext cx="237600" cy="27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1" h="762">
                  <a:moveTo>
                    <a:pt x="0" y="0"/>
                  </a:moveTo>
                  <a:cubicBezTo>
                    <a:pt x="0" y="0"/>
                    <a:pt x="246" y="511"/>
                    <a:pt x="661" y="76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100"/>
            <p:cNvSpPr/>
            <p:nvPr/>
          </p:nvSpPr>
          <p:spPr>
            <a:xfrm>
              <a:off x="6596280" y="3231360"/>
              <a:ext cx="302400" cy="34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1" h="951">
                  <a:moveTo>
                    <a:pt x="0" y="0"/>
                  </a:moveTo>
                  <a:cubicBezTo>
                    <a:pt x="0" y="0"/>
                    <a:pt x="314" y="641"/>
                    <a:pt x="841" y="95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101"/>
            <p:cNvSpPr/>
            <p:nvPr/>
          </p:nvSpPr>
          <p:spPr>
            <a:xfrm>
              <a:off x="6557760" y="3418200"/>
              <a:ext cx="355320" cy="400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1114">
                  <a:moveTo>
                    <a:pt x="0" y="0"/>
                  </a:moveTo>
                  <a:cubicBezTo>
                    <a:pt x="0" y="0"/>
                    <a:pt x="370" y="750"/>
                    <a:pt x="988" y="111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Freeform: Shape 102"/>
            <p:cNvSpPr/>
            <p:nvPr/>
          </p:nvSpPr>
          <p:spPr>
            <a:xfrm>
              <a:off x="6517080" y="3602160"/>
              <a:ext cx="416160" cy="463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7" h="1289">
                  <a:moveTo>
                    <a:pt x="0" y="0"/>
                  </a:moveTo>
                  <a:cubicBezTo>
                    <a:pt x="0" y="0"/>
                    <a:pt x="432" y="866"/>
                    <a:pt x="1157" y="128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3"/>
            <p:cNvSpPr/>
            <p:nvPr/>
          </p:nvSpPr>
          <p:spPr>
            <a:xfrm>
              <a:off x="6477479" y="3791880"/>
              <a:ext cx="461879" cy="51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84" h="1439">
                  <a:moveTo>
                    <a:pt x="0" y="0"/>
                  </a:moveTo>
                  <a:cubicBezTo>
                    <a:pt x="0" y="0"/>
                    <a:pt x="480" y="968"/>
                    <a:pt x="1284" y="143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4"/>
            <p:cNvSpPr/>
            <p:nvPr/>
          </p:nvSpPr>
          <p:spPr>
            <a:xfrm>
              <a:off x="6550560" y="3062879"/>
              <a:ext cx="237600" cy="27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1" h="762">
                  <a:moveTo>
                    <a:pt x="661" y="0"/>
                  </a:moveTo>
                  <a:cubicBezTo>
                    <a:pt x="661" y="0"/>
                    <a:pt x="415" y="511"/>
                    <a:pt x="0" y="76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5"/>
            <p:cNvSpPr/>
            <p:nvPr/>
          </p:nvSpPr>
          <p:spPr>
            <a:xfrm>
              <a:off x="6525360" y="3248639"/>
              <a:ext cx="302400" cy="34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1" h="951">
                  <a:moveTo>
                    <a:pt x="841" y="0"/>
                  </a:moveTo>
                  <a:cubicBezTo>
                    <a:pt x="841" y="0"/>
                    <a:pt x="527" y="641"/>
                    <a:pt x="0" y="95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6"/>
            <p:cNvSpPr/>
            <p:nvPr/>
          </p:nvSpPr>
          <p:spPr>
            <a:xfrm>
              <a:off x="6510959" y="3435479"/>
              <a:ext cx="355320" cy="400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1114">
                  <a:moveTo>
                    <a:pt x="988" y="0"/>
                  </a:moveTo>
                  <a:cubicBezTo>
                    <a:pt x="988" y="0"/>
                    <a:pt x="618" y="750"/>
                    <a:pt x="0" y="111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7"/>
            <p:cNvSpPr/>
            <p:nvPr/>
          </p:nvSpPr>
          <p:spPr>
            <a:xfrm>
              <a:off x="6490800" y="3619080"/>
              <a:ext cx="416160" cy="464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7" h="1290">
                  <a:moveTo>
                    <a:pt x="1157" y="0"/>
                  </a:moveTo>
                  <a:cubicBezTo>
                    <a:pt x="1157" y="0"/>
                    <a:pt x="725" y="867"/>
                    <a:pt x="0" y="129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8"/>
            <p:cNvSpPr/>
            <p:nvPr/>
          </p:nvSpPr>
          <p:spPr>
            <a:xfrm>
              <a:off x="6694920" y="3810240"/>
              <a:ext cx="251640" cy="349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0" h="971">
                  <a:moveTo>
                    <a:pt x="700" y="0"/>
                  </a:moveTo>
                  <a:cubicBezTo>
                    <a:pt x="700" y="0"/>
                    <a:pt x="449" y="511"/>
                    <a:pt x="0" y="97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9"/>
            <p:cNvSpPr/>
            <p:nvPr/>
          </p:nvSpPr>
          <p:spPr>
            <a:xfrm>
              <a:off x="7182360" y="3319920"/>
              <a:ext cx="555840" cy="132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45" h="3683">
                  <a:moveTo>
                    <a:pt x="159" y="3683"/>
                  </a:moveTo>
                  <a:cubicBezTo>
                    <a:pt x="159" y="3683"/>
                    <a:pt x="-169" y="626"/>
                    <a:pt x="116" y="116"/>
                  </a:cubicBezTo>
                  <a:cubicBezTo>
                    <a:pt x="116" y="116"/>
                    <a:pt x="870" y="-164"/>
                    <a:pt x="1440" y="147"/>
                  </a:cubicBezTo>
                  <a:cubicBezTo>
                    <a:pt x="1440" y="147"/>
                    <a:pt x="1719" y="1027"/>
                    <a:pt x="1364" y="368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10"/>
            <p:cNvSpPr/>
            <p:nvPr/>
          </p:nvSpPr>
          <p:spPr>
            <a:xfrm>
              <a:off x="7097040" y="3239640"/>
              <a:ext cx="128880" cy="13903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9" h="3863">
                  <a:moveTo>
                    <a:pt x="187" y="3863"/>
                  </a:moveTo>
                  <a:cubicBezTo>
                    <a:pt x="187" y="3863"/>
                    <a:pt x="-225" y="824"/>
                    <a:pt x="173" y="0"/>
                  </a:cubicBezTo>
                  <a:lnTo>
                    <a:pt x="359" y="27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11"/>
            <p:cNvSpPr/>
            <p:nvPr/>
          </p:nvSpPr>
          <p:spPr>
            <a:xfrm>
              <a:off x="7179479" y="3179160"/>
              <a:ext cx="599400" cy="12160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66" h="3379">
                  <a:moveTo>
                    <a:pt x="0" y="112"/>
                  </a:moveTo>
                  <a:cubicBezTo>
                    <a:pt x="0" y="112"/>
                    <a:pt x="900" y="-173"/>
                    <a:pt x="1442" y="168"/>
                  </a:cubicBezTo>
                  <a:cubicBezTo>
                    <a:pt x="1442" y="168"/>
                    <a:pt x="1857" y="439"/>
                    <a:pt x="1558" y="337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Straight Connector 113"/>
            <p:cNvSpPr/>
            <p:nvPr/>
          </p:nvSpPr>
          <p:spPr>
            <a:xfrm flipV="1">
              <a:off x="7239600" y="3434399"/>
              <a:ext cx="44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Straight Connector 114"/>
            <p:cNvSpPr/>
            <p:nvPr/>
          </p:nvSpPr>
          <p:spPr>
            <a:xfrm flipV="1">
              <a:off x="7243560" y="3499199"/>
              <a:ext cx="44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Straight Connector 115"/>
            <p:cNvSpPr/>
            <p:nvPr/>
          </p:nvSpPr>
          <p:spPr>
            <a:xfrm flipV="1">
              <a:off x="7247520" y="3565440"/>
              <a:ext cx="433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Straight Connector 116"/>
            <p:cNvSpPr/>
            <p:nvPr/>
          </p:nvSpPr>
          <p:spPr>
            <a:xfrm flipV="1">
              <a:off x="7251840" y="3631320"/>
              <a:ext cx="42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Straight Connector 117"/>
            <p:cNvSpPr/>
            <p:nvPr/>
          </p:nvSpPr>
          <p:spPr>
            <a:xfrm flipV="1">
              <a:off x="7255800" y="3696479"/>
              <a:ext cx="418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7259760" y="3762360"/>
              <a:ext cx="411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7263720" y="3828599"/>
              <a:ext cx="40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7268040" y="3894480"/>
              <a:ext cx="397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7272000" y="3960720"/>
              <a:ext cx="389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>
              <a:off x="7275960" y="4026600"/>
              <a:ext cx="3830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7280280" y="4091760"/>
              <a:ext cx="374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7284240" y="4157640"/>
              <a:ext cx="367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7289279" y="4223880"/>
              <a:ext cx="359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>
              <a:off x="7293240" y="4289760"/>
              <a:ext cx="352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>
              <a:off x="7297560" y="4355640"/>
              <a:ext cx="345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>
              <a:off x="7301519" y="4421880"/>
              <a:ext cx="338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7305480" y="4486680"/>
              <a:ext cx="330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>
              <a:off x="7309440" y="4552919"/>
              <a:ext cx="3232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7313760" y="4618800"/>
              <a:ext cx="315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6977519" y="4308120"/>
              <a:ext cx="1501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7053480" y="4431960"/>
              <a:ext cx="0" cy="137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7214040" y="4701240"/>
              <a:ext cx="36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7696800" y="4752000"/>
              <a:ext cx="11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6781320" y="4970520"/>
              <a:ext cx="110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7718040" y="4399559"/>
              <a:ext cx="208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7848000" y="4464360"/>
              <a:ext cx="0" cy="224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 flipH="1">
              <a:off x="945000" y="4815000"/>
              <a:ext cx="262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 flipH="1">
              <a:off x="737640" y="4736880"/>
              <a:ext cx="474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 flipV="1">
              <a:off x="8155800" y="457632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Freeform: Shape 141"/>
            <p:cNvSpPr/>
            <p:nvPr/>
          </p:nvSpPr>
          <p:spPr>
            <a:xfrm>
              <a:off x="1866599" y="4736880"/>
              <a:ext cx="129600" cy="305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1" h="849">
                  <a:moveTo>
                    <a:pt x="361" y="0"/>
                  </a:moveTo>
                  <a:lnTo>
                    <a:pt x="361" y="849"/>
                  </a:lnTo>
                  <a:lnTo>
                    <a:pt x="0" y="56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1868399" y="5051880"/>
              <a:ext cx="73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Freeform: Shape 143"/>
            <p:cNvSpPr/>
            <p:nvPr/>
          </p:nvSpPr>
          <p:spPr>
            <a:xfrm>
              <a:off x="7959600" y="4528800"/>
              <a:ext cx="72720" cy="16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451">
                  <a:moveTo>
                    <a:pt x="200" y="227"/>
                  </a:moveTo>
                  <a:lnTo>
                    <a:pt x="197" y="451"/>
                  </a:lnTo>
                  <a:lnTo>
                    <a:pt x="0" y="448"/>
                  </a:lnTo>
                  <a:lnTo>
                    <a:pt x="6" y="0"/>
                  </a:lnTo>
                  <a:lnTo>
                    <a:pt x="203" y="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1753269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" name="Group 179"/>
          <p:cNvGrpSpPr/>
          <p:nvPr userDrawn="1"/>
        </p:nvGrpSpPr>
        <p:grpSpPr>
          <a:xfrm>
            <a:off x="2209219" y="1660735"/>
            <a:ext cx="4725563" cy="1561411"/>
            <a:chOff x="449280" y="3051000"/>
            <a:chExt cx="7860960" cy="2597400"/>
          </a:xfrm>
        </p:grpSpPr>
        <p:sp>
          <p:nvSpPr>
            <p:cNvPr id="181" name="Freeform: Shape 1"/>
            <p:cNvSpPr/>
            <p:nvPr/>
          </p:nvSpPr>
          <p:spPr>
            <a:xfrm>
              <a:off x="3499920" y="4960440"/>
              <a:ext cx="543240" cy="81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0" h="226">
                  <a:moveTo>
                    <a:pt x="754" y="0"/>
                  </a:moveTo>
                  <a:lnTo>
                    <a:pt x="0" y="226"/>
                  </a:lnTo>
                  <a:lnTo>
                    <a:pt x="1510" y="22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1723320" y="5565240"/>
              <a:ext cx="4968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3"/>
            <p:cNvSpPr/>
            <p:nvPr/>
          </p:nvSpPr>
          <p:spPr>
            <a:xfrm>
              <a:off x="1303560" y="5018400"/>
              <a:ext cx="799200" cy="293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21" h="816" fill="none">
                  <a:moveTo>
                    <a:pt x="0" y="816"/>
                  </a:moveTo>
                  <a:lnTo>
                    <a:pt x="0" y="0"/>
                  </a:lnTo>
                  <a:lnTo>
                    <a:pt x="926" y="0"/>
                  </a:lnTo>
                  <a:lnTo>
                    <a:pt x="926" y="709"/>
                  </a:lnTo>
                  <a:lnTo>
                    <a:pt x="1087" y="709"/>
                  </a:lnTo>
                  <a:lnTo>
                    <a:pt x="1087" y="0"/>
                  </a:lnTo>
                  <a:lnTo>
                    <a:pt x="1679" y="0"/>
                  </a:lnTo>
                  <a:lnTo>
                    <a:pt x="1679" y="728"/>
                  </a:lnTo>
                  <a:lnTo>
                    <a:pt x="2221" y="72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1055519" y="5380200"/>
              <a:ext cx="392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1019159" y="5404680"/>
              <a:ext cx="0" cy="119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Freeform: Shape 6"/>
            <p:cNvSpPr/>
            <p:nvPr/>
          </p:nvSpPr>
          <p:spPr>
            <a:xfrm>
              <a:off x="1311840" y="4635360"/>
              <a:ext cx="412920" cy="214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8" h="596" fill="none">
                  <a:moveTo>
                    <a:pt x="1148" y="0"/>
                  </a:moveTo>
                  <a:lnTo>
                    <a:pt x="623" y="0"/>
                  </a:lnTo>
                  <a:lnTo>
                    <a:pt x="623" y="596"/>
                  </a:lnTo>
                  <a:lnTo>
                    <a:pt x="0" y="59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1612440" y="452052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1122840" y="489348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1660319" y="452052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Freeform: Shape 10"/>
            <p:cNvSpPr/>
            <p:nvPr/>
          </p:nvSpPr>
          <p:spPr>
            <a:xfrm>
              <a:off x="1612440" y="4789080"/>
              <a:ext cx="81000" cy="182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6" h="507">
                  <a:moveTo>
                    <a:pt x="113" y="507"/>
                  </a:moveTo>
                  <a:lnTo>
                    <a:pt x="0" y="507"/>
                  </a:lnTo>
                  <a:lnTo>
                    <a:pt x="0" y="0"/>
                  </a:lnTo>
                  <a:lnTo>
                    <a:pt x="226" y="0"/>
                  </a:lnTo>
                  <a:lnTo>
                    <a:pt x="226" y="5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Freeform: Shape 11"/>
            <p:cNvSpPr/>
            <p:nvPr/>
          </p:nvSpPr>
          <p:spPr>
            <a:xfrm>
              <a:off x="1382760" y="5256360"/>
              <a:ext cx="1540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9" h="175">
                  <a:moveTo>
                    <a:pt x="215" y="175"/>
                  </a:moveTo>
                  <a:lnTo>
                    <a:pt x="0" y="175"/>
                  </a:lnTo>
                  <a:lnTo>
                    <a:pt x="0" y="0"/>
                  </a:lnTo>
                  <a:lnTo>
                    <a:pt x="429" y="0"/>
                  </a:lnTo>
                  <a:lnTo>
                    <a:pt x="429" y="17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Freeform: Shape 12"/>
            <p:cNvSpPr/>
            <p:nvPr/>
          </p:nvSpPr>
          <p:spPr>
            <a:xfrm>
              <a:off x="1078199" y="5017320"/>
              <a:ext cx="87840" cy="26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5" h="740">
                  <a:moveTo>
                    <a:pt x="122" y="740"/>
                  </a:moveTo>
                  <a:lnTo>
                    <a:pt x="0" y="740"/>
                  </a:lnTo>
                  <a:lnTo>
                    <a:pt x="0" y="0"/>
                  </a:lnTo>
                  <a:lnTo>
                    <a:pt x="245" y="0"/>
                  </a:lnTo>
                  <a:lnTo>
                    <a:pt x="245" y="7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3"/>
            <p:cNvSpPr/>
            <p:nvPr/>
          </p:nvSpPr>
          <p:spPr>
            <a:xfrm>
              <a:off x="1679399" y="5312160"/>
              <a:ext cx="357480" cy="88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94" h="248">
                  <a:moveTo>
                    <a:pt x="497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994" y="0"/>
                  </a:lnTo>
                  <a:lnTo>
                    <a:pt x="994" y="24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167200" y="5303880"/>
              <a:ext cx="530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Freeform: Shape 15"/>
            <p:cNvSpPr/>
            <p:nvPr/>
          </p:nvSpPr>
          <p:spPr>
            <a:xfrm>
              <a:off x="1725120" y="3640320"/>
              <a:ext cx="605160" cy="156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2" h="4357">
                  <a:moveTo>
                    <a:pt x="0" y="3756"/>
                  </a:moveTo>
                  <a:lnTo>
                    <a:pt x="0" y="0"/>
                  </a:lnTo>
                  <a:lnTo>
                    <a:pt x="1149" y="0"/>
                  </a:lnTo>
                  <a:lnTo>
                    <a:pt x="1682" y="3214"/>
                  </a:lnTo>
                  <a:lnTo>
                    <a:pt x="1389" y="3214"/>
                  </a:lnTo>
                  <a:lnTo>
                    <a:pt x="1389" y="3694"/>
                  </a:lnTo>
                  <a:lnTo>
                    <a:pt x="1149" y="3694"/>
                  </a:lnTo>
                  <a:lnTo>
                    <a:pt x="1149" y="4357"/>
                  </a:lnTo>
                  <a:lnTo>
                    <a:pt x="968" y="4357"/>
                  </a:lnTo>
                  <a:lnTo>
                    <a:pt x="336" y="163"/>
                  </a:lnTo>
                  <a:lnTo>
                    <a:pt x="164" y="163"/>
                  </a:lnTo>
                  <a:lnTo>
                    <a:pt x="164" y="37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Freeform: Shape 16"/>
            <p:cNvSpPr/>
            <p:nvPr/>
          </p:nvSpPr>
          <p:spPr>
            <a:xfrm>
              <a:off x="2259720" y="4768559"/>
              <a:ext cx="669960" cy="450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62" h="1253" fill="none">
                  <a:moveTo>
                    <a:pt x="0" y="181"/>
                  </a:moveTo>
                  <a:lnTo>
                    <a:pt x="584" y="181"/>
                  </a:lnTo>
                  <a:lnTo>
                    <a:pt x="584" y="0"/>
                  </a:lnTo>
                  <a:lnTo>
                    <a:pt x="872" y="0"/>
                  </a:lnTo>
                  <a:lnTo>
                    <a:pt x="872" y="443"/>
                  </a:lnTo>
                  <a:lnTo>
                    <a:pt x="1233" y="443"/>
                  </a:lnTo>
                  <a:lnTo>
                    <a:pt x="1233" y="1253"/>
                  </a:lnTo>
                  <a:lnTo>
                    <a:pt x="1862" y="125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1208159" y="5460480"/>
              <a:ext cx="2337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Freeform: Shape 18"/>
            <p:cNvSpPr/>
            <p:nvPr/>
          </p:nvSpPr>
          <p:spPr>
            <a:xfrm>
              <a:off x="2267640" y="4879440"/>
              <a:ext cx="114480" cy="372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9" h="1035">
                  <a:moveTo>
                    <a:pt x="160" y="1035"/>
                  </a:moveTo>
                  <a:lnTo>
                    <a:pt x="0" y="1035"/>
                  </a:lnTo>
                  <a:lnTo>
                    <a:pt x="0" y="0"/>
                  </a:lnTo>
                  <a:lnTo>
                    <a:pt x="319" y="0"/>
                  </a:lnTo>
                  <a:lnTo>
                    <a:pt x="319" y="103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"/>
            <p:cNvSpPr/>
            <p:nvPr/>
          </p:nvSpPr>
          <p:spPr>
            <a:xfrm>
              <a:off x="2442600" y="5135400"/>
              <a:ext cx="222120" cy="51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18" h="144">
                  <a:moveTo>
                    <a:pt x="309" y="144"/>
                  </a:moveTo>
                  <a:lnTo>
                    <a:pt x="0" y="144"/>
                  </a:lnTo>
                  <a:lnTo>
                    <a:pt x="0" y="0"/>
                  </a:lnTo>
                  <a:lnTo>
                    <a:pt x="618" y="0"/>
                  </a:lnTo>
                  <a:lnTo>
                    <a:pt x="618" y="1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320560" y="4511520"/>
              <a:ext cx="0" cy="66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Freeform: Shape 21"/>
            <p:cNvSpPr/>
            <p:nvPr/>
          </p:nvSpPr>
          <p:spPr>
            <a:xfrm>
              <a:off x="2360880" y="3624120"/>
              <a:ext cx="508679" cy="1469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4" h="4083">
                  <a:moveTo>
                    <a:pt x="9" y="3002"/>
                  </a:moveTo>
                  <a:cubicBezTo>
                    <a:pt x="9" y="3002"/>
                    <a:pt x="-132" y="1405"/>
                    <a:pt x="712" y="0"/>
                  </a:cubicBezTo>
                  <a:cubicBezTo>
                    <a:pt x="712" y="0"/>
                    <a:pt x="1787" y="1718"/>
                    <a:pt x="1276" y="408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Freeform: Shape 22"/>
            <p:cNvSpPr/>
            <p:nvPr/>
          </p:nvSpPr>
          <p:spPr>
            <a:xfrm>
              <a:off x="2549160" y="3777480"/>
              <a:ext cx="210960" cy="243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677">
                  <a:moveTo>
                    <a:pt x="0" y="0"/>
                  </a:moveTo>
                  <a:cubicBezTo>
                    <a:pt x="0" y="0"/>
                    <a:pt x="220" y="457"/>
                    <a:pt x="587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Freeform: Shape 23"/>
            <p:cNvSpPr/>
            <p:nvPr/>
          </p:nvSpPr>
          <p:spPr>
            <a:xfrm>
              <a:off x="2513520" y="3943080"/>
              <a:ext cx="270000" cy="305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1" h="849">
                  <a:moveTo>
                    <a:pt x="0" y="0"/>
                  </a:moveTo>
                  <a:cubicBezTo>
                    <a:pt x="0" y="0"/>
                    <a:pt x="280" y="570"/>
                    <a:pt x="751" y="84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Freeform: Shape 24"/>
            <p:cNvSpPr/>
            <p:nvPr/>
          </p:nvSpPr>
          <p:spPr>
            <a:xfrm>
              <a:off x="2478960" y="4109760"/>
              <a:ext cx="316800" cy="35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1" h="993">
                  <a:moveTo>
                    <a:pt x="0" y="0"/>
                  </a:moveTo>
                  <a:cubicBezTo>
                    <a:pt x="0" y="0"/>
                    <a:pt x="328" y="668"/>
                    <a:pt x="881" y="99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5"/>
            <p:cNvSpPr/>
            <p:nvPr/>
          </p:nvSpPr>
          <p:spPr>
            <a:xfrm>
              <a:off x="2442600" y="4273200"/>
              <a:ext cx="371159" cy="412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2" h="1148">
                  <a:moveTo>
                    <a:pt x="0" y="0"/>
                  </a:moveTo>
                  <a:cubicBezTo>
                    <a:pt x="0" y="0"/>
                    <a:pt x="383" y="773"/>
                    <a:pt x="1032" y="11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26"/>
            <p:cNvSpPr/>
            <p:nvPr/>
          </p:nvSpPr>
          <p:spPr>
            <a:xfrm>
              <a:off x="2408040" y="4442400"/>
              <a:ext cx="411840" cy="46187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5" h="1284">
                  <a:moveTo>
                    <a:pt x="0" y="0"/>
                  </a:moveTo>
                  <a:cubicBezTo>
                    <a:pt x="0" y="0"/>
                    <a:pt x="426" y="864"/>
                    <a:pt x="1145" y="128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7"/>
            <p:cNvSpPr/>
            <p:nvPr/>
          </p:nvSpPr>
          <p:spPr>
            <a:xfrm>
              <a:off x="2473920" y="3792600"/>
              <a:ext cx="210960" cy="243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677">
                  <a:moveTo>
                    <a:pt x="587" y="0"/>
                  </a:moveTo>
                  <a:cubicBezTo>
                    <a:pt x="587" y="0"/>
                    <a:pt x="367" y="457"/>
                    <a:pt x="0" y="67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8"/>
            <p:cNvSpPr/>
            <p:nvPr/>
          </p:nvSpPr>
          <p:spPr>
            <a:xfrm>
              <a:off x="2449440" y="3958200"/>
              <a:ext cx="270000" cy="305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1" h="850">
                  <a:moveTo>
                    <a:pt x="751" y="0"/>
                  </a:moveTo>
                  <a:cubicBezTo>
                    <a:pt x="751" y="0"/>
                    <a:pt x="472" y="570"/>
                    <a:pt x="0" y="85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9"/>
            <p:cNvSpPr/>
            <p:nvPr/>
          </p:nvSpPr>
          <p:spPr>
            <a:xfrm>
              <a:off x="2437200" y="4124880"/>
              <a:ext cx="316800" cy="35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1" h="993">
                  <a:moveTo>
                    <a:pt x="881" y="0"/>
                  </a:moveTo>
                  <a:cubicBezTo>
                    <a:pt x="881" y="0"/>
                    <a:pt x="554" y="669"/>
                    <a:pt x="0" y="99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30"/>
            <p:cNvSpPr/>
            <p:nvPr/>
          </p:nvSpPr>
          <p:spPr>
            <a:xfrm>
              <a:off x="2419200" y="4288320"/>
              <a:ext cx="371520" cy="41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3" h="1149">
                  <a:moveTo>
                    <a:pt x="1033" y="0"/>
                  </a:moveTo>
                  <a:cubicBezTo>
                    <a:pt x="1033" y="0"/>
                    <a:pt x="649" y="773"/>
                    <a:pt x="0" y="114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31"/>
            <p:cNvSpPr/>
            <p:nvPr/>
          </p:nvSpPr>
          <p:spPr>
            <a:xfrm>
              <a:off x="2601000" y="4457880"/>
              <a:ext cx="223920" cy="311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23" h="866">
                  <a:moveTo>
                    <a:pt x="623" y="0"/>
                  </a:moveTo>
                  <a:cubicBezTo>
                    <a:pt x="623" y="0"/>
                    <a:pt x="398" y="457"/>
                    <a:pt x="0" y="86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32"/>
            <p:cNvSpPr/>
            <p:nvPr/>
          </p:nvSpPr>
          <p:spPr>
            <a:xfrm>
              <a:off x="2983679" y="4021560"/>
              <a:ext cx="493560" cy="1180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72" h="3280">
                  <a:moveTo>
                    <a:pt x="142" y="3280"/>
                  </a:moveTo>
                  <a:cubicBezTo>
                    <a:pt x="142" y="3280"/>
                    <a:pt x="-149" y="557"/>
                    <a:pt x="102" y="102"/>
                  </a:cubicBezTo>
                  <a:cubicBezTo>
                    <a:pt x="102" y="102"/>
                    <a:pt x="774" y="-146"/>
                    <a:pt x="1279" y="131"/>
                  </a:cubicBezTo>
                  <a:cubicBezTo>
                    <a:pt x="1279" y="131"/>
                    <a:pt x="1527" y="915"/>
                    <a:pt x="1211" y="328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33"/>
            <p:cNvSpPr/>
            <p:nvPr/>
          </p:nvSpPr>
          <p:spPr>
            <a:xfrm>
              <a:off x="2907000" y="3951000"/>
              <a:ext cx="114120" cy="12380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8" h="3440">
                  <a:moveTo>
                    <a:pt x="169" y="3440"/>
                  </a:moveTo>
                  <a:cubicBezTo>
                    <a:pt x="169" y="3440"/>
                    <a:pt x="-201" y="734"/>
                    <a:pt x="154" y="0"/>
                  </a:cubicBezTo>
                  <a:lnTo>
                    <a:pt x="318" y="24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Freeform: Shape 34"/>
            <p:cNvSpPr/>
            <p:nvPr/>
          </p:nvSpPr>
          <p:spPr>
            <a:xfrm>
              <a:off x="2980800" y="3895920"/>
              <a:ext cx="535320" cy="1083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88" h="3011">
                  <a:moveTo>
                    <a:pt x="0" y="99"/>
                  </a:moveTo>
                  <a:cubicBezTo>
                    <a:pt x="0" y="99"/>
                    <a:pt x="802" y="-155"/>
                    <a:pt x="1287" y="150"/>
                  </a:cubicBezTo>
                  <a:cubicBezTo>
                    <a:pt x="1287" y="150"/>
                    <a:pt x="1657" y="392"/>
                    <a:pt x="1392" y="30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 flipV="1">
              <a:off x="3034800" y="4123800"/>
              <a:ext cx="39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 flipV="1">
              <a:off x="3038759" y="4181760"/>
              <a:ext cx="392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Straight Connector 216"/>
            <p:cNvSpPr/>
            <p:nvPr/>
          </p:nvSpPr>
          <p:spPr>
            <a:xfrm flipV="1">
              <a:off x="3042000" y="4240800"/>
              <a:ext cx="385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 flipV="1">
              <a:off x="3045960" y="4299480"/>
              <a:ext cx="379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Straight Connector 218"/>
            <p:cNvSpPr/>
            <p:nvPr/>
          </p:nvSpPr>
          <p:spPr>
            <a:xfrm flipV="1">
              <a:off x="3049920" y="4357080"/>
              <a:ext cx="3729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 flipV="1">
              <a:off x="3053160" y="4416120"/>
              <a:ext cx="366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 flipV="1">
              <a:off x="3057120" y="4474800"/>
              <a:ext cx="359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 flipV="1">
              <a:off x="3060000" y="4533840"/>
              <a:ext cx="353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 flipV="1">
              <a:off x="3064320" y="4592880"/>
              <a:ext cx="346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 flipV="1">
              <a:off x="3067200" y="4650840"/>
              <a:ext cx="341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 flipV="1">
              <a:off x="3071159" y="4709520"/>
              <a:ext cx="334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3075479" y="4768559"/>
              <a:ext cx="326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3079440" y="4827600"/>
              <a:ext cx="320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3082320" y="4886280"/>
              <a:ext cx="31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3086640" y="4944239"/>
              <a:ext cx="306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3089520" y="5003280"/>
              <a:ext cx="301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3093840" y="5062320"/>
              <a:ext cx="294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Straight Connector 231"/>
            <p:cNvSpPr/>
            <p:nvPr/>
          </p:nvSpPr>
          <p:spPr>
            <a:xfrm>
              <a:off x="3096720" y="5119920"/>
              <a:ext cx="288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3100680" y="5178960"/>
              <a:ext cx="281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2853000" y="4901760"/>
              <a:ext cx="82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2890440" y="5012280"/>
              <a:ext cx="0" cy="123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3012480" y="5252040"/>
              <a:ext cx="325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3441960" y="5297760"/>
              <a:ext cx="98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3734640" y="5315040"/>
              <a:ext cx="0" cy="17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3875039" y="5390280"/>
              <a:ext cx="13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>
              <a:off x="3885120" y="5462640"/>
              <a:ext cx="11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>
              <a:off x="2839680" y="5648400"/>
              <a:ext cx="105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>
              <a:off x="1218240" y="5648400"/>
              <a:ext cx="872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Straight Connector 242"/>
            <p:cNvSpPr/>
            <p:nvPr/>
          </p:nvSpPr>
          <p:spPr>
            <a:xfrm>
              <a:off x="3461400" y="4983840"/>
              <a:ext cx="186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>
              <a:off x="3926880" y="4975920"/>
              <a:ext cx="107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3993840" y="4894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4019040" y="5135400"/>
              <a:ext cx="0" cy="147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3616919" y="482760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3668759" y="482760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Straight Connector 248"/>
            <p:cNvSpPr/>
            <p:nvPr/>
          </p:nvSpPr>
          <p:spPr>
            <a:xfrm>
              <a:off x="3719520" y="4827600"/>
              <a:ext cx="0" cy="102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Straight Connector 249"/>
            <p:cNvSpPr/>
            <p:nvPr/>
          </p:nvSpPr>
          <p:spPr>
            <a:xfrm>
              <a:off x="3771360" y="4828680"/>
              <a:ext cx="0" cy="101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3823199" y="4828680"/>
              <a:ext cx="0" cy="101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3875039" y="4828680"/>
              <a:ext cx="0" cy="101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3926880" y="4829400"/>
              <a:ext cx="0" cy="10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Straight Connector 253"/>
            <p:cNvSpPr/>
            <p:nvPr/>
          </p:nvSpPr>
          <p:spPr>
            <a:xfrm>
              <a:off x="3577320" y="5041800"/>
              <a:ext cx="0" cy="20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3969360" y="5041800"/>
              <a:ext cx="0" cy="20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3595680" y="4775760"/>
              <a:ext cx="358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77"/>
            <p:cNvSpPr/>
            <p:nvPr/>
          </p:nvSpPr>
          <p:spPr>
            <a:xfrm>
              <a:off x="3600720" y="4518720"/>
              <a:ext cx="339840" cy="203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45" h="567">
                  <a:moveTo>
                    <a:pt x="945" y="567"/>
                  </a:moveTo>
                  <a:lnTo>
                    <a:pt x="0" y="567"/>
                  </a:lnTo>
                  <a:cubicBezTo>
                    <a:pt x="0" y="567"/>
                    <a:pt x="127" y="0"/>
                    <a:pt x="477" y="0"/>
                  </a:cubicBezTo>
                  <a:cubicBezTo>
                    <a:pt x="824" y="0"/>
                    <a:pt x="945" y="567"/>
                    <a:pt x="945" y="56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3734640" y="4469760"/>
              <a:ext cx="74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3747960" y="442224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3773160" y="4264920"/>
              <a:ext cx="0" cy="92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3705120" y="5210640"/>
              <a:ext cx="135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4110479" y="4882320"/>
              <a:ext cx="152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4082040" y="4679280"/>
              <a:ext cx="0" cy="179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4284360" y="4679280"/>
              <a:ext cx="0" cy="179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>
              <a:off x="4092480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>
              <a:off x="4138920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>
              <a:off x="4185719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>
              <a:off x="4232520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>
              <a:off x="4279320" y="4905720"/>
              <a:ext cx="0" cy="457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90"/>
            <p:cNvSpPr/>
            <p:nvPr/>
          </p:nvSpPr>
          <p:spPr>
            <a:xfrm>
              <a:off x="4075200" y="4463640"/>
              <a:ext cx="210960" cy="181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87" h="506" fill="none">
                  <a:moveTo>
                    <a:pt x="0" y="506"/>
                  </a:moveTo>
                  <a:lnTo>
                    <a:pt x="152" y="260"/>
                  </a:lnTo>
                  <a:lnTo>
                    <a:pt x="152" y="0"/>
                  </a:lnTo>
                  <a:lnTo>
                    <a:pt x="431" y="0"/>
                  </a:lnTo>
                  <a:lnTo>
                    <a:pt x="431" y="252"/>
                  </a:lnTo>
                  <a:lnTo>
                    <a:pt x="587" y="50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91"/>
            <p:cNvSpPr/>
            <p:nvPr/>
          </p:nvSpPr>
          <p:spPr>
            <a:xfrm>
              <a:off x="4138200" y="4726800"/>
              <a:ext cx="92880" cy="93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9" h="260">
                  <a:moveTo>
                    <a:pt x="259" y="130"/>
                  </a:moveTo>
                  <a:cubicBezTo>
                    <a:pt x="259" y="154"/>
                    <a:pt x="254" y="174"/>
                    <a:pt x="242" y="195"/>
                  </a:cubicBezTo>
                  <a:cubicBezTo>
                    <a:pt x="230" y="216"/>
                    <a:pt x="214" y="231"/>
                    <a:pt x="194" y="243"/>
                  </a:cubicBezTo>
                  <a:cubicBezTo>
                    <a:pt x="173" y="255"/>
                    <a:pt x="152" y="260"/>
                    <a:pt x="129" y="260"/>
                  </a:cubicBezTo>
                  <a:cubicBezTo>
                    <a:pt x="105" y="260"/>
                    <a:pt x="85" y="255"/>
                    <a:pt x="65" y="243"/>
                  </a:cubicBezTo>
                  <a:cubicBezTo>
                    <a:pt x="44" y="231"/>
                    <a:pt x="29" y="216"/>
                    <a:pt x="17" y="195"/>
                  </a:cubicBezTo>
                  <a:cubicBezTo>
                    <a:pt x="5" y="174"/>
                    <a:pt x="0" y="154"/>
                    <a:pt x="0" y="130"/>
                  </a:cubicBezTo>
                  <a:cubicBezTo>
                    <a:pt x="0" y="106"/>
                    <a:pt x="5" y="85"/>
                    <a:pt x="17" y="65"/>
                  </a:cubicBezTo>
                  <a:cubicBezTo>
                    <a:pt x="29" y="44"/>
                    <a:pt x="44" y="30"/>
                    <a:pt x="65" y="18"/>
                  </a:cubicBezTo>
                  <a:cubicBezTo>
                    <a:pt x="85" y="6"/>
                    <a:pt x="106" y="0"/>
                    <a:pt x="129" y="0"/>
                  </a:cubicBezTo>
                  <a:cubicBezTo>
                    <a:pt x="153" y="0"/>
                    <a:pt x="173" y="6"/>
                    <a:pt x="194" y="18"/>
                  </a:cubicBezTo>
                  <a:cubicBezTo>
                    <a:pt x="214" y="30"/>
                    <a:pt x="230" y="44"/>
                    <a:pt x="242" y="65"/>
                  </a:cubicBezTo>
                  <a:cubicBezTo>
                    <a:pt x="254" y="85"/>
                    <a:pt x="259" y="106"/>
                    <a:pt x="259" y="130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Straight Connector 271"/>
            <p:cNvSpPr/>
            <p:nvPr/>
          </p:nvSpPr>
          <p:spPr>
            <a:xfrm>
              <a:off x="4127760" y="4628520"/>
              <a:ext cx="108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Straight Connector 272"/>
            <p:cNvSpPr/>
            <p:nvPr/>
          </p:nvSpPr>
          <p:spPr>
            <a:xfrm>
              <a:off x="4127760" y="4664880"/>
              <a:ext cx="108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Straight Connector 273"/>
            <p:cNvSpPr/>
            <p:nvPr/>
          </p:nvSpPr>
          <p:spPr>
            <a:xfrm>
              <a:off x="4129920" y="4557240"/>
              <a:ext cx="101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Freeform: Shape 95"/>
            <p:cNvSpPr/>
            <p:nvPr/>
          </p:nvSpPr>
          <p:spPr>
            <a:xfrm>
              <a:off x="4129920" y="4383720"/>
              <a:ext cx="100080" cy="79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9" h="222" fill="none">
                  <a:moveTo>
                    <a:pt x="0" y="222"/>
                  </a:moveTo>
                  <a:lnTo>
                    <a:pt x="141" y="0"/>
                  </a:lnTo>
                  <a:lnTo>
                    <a:pt x="279" y="22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Straight Connector 275"/>
            <p:cNvSpPr/>
            <p:nvPr/>
          </p:nvSpPr>
          <p:spPr>
            <a:xfrm>
              <a:off x="4182840" y="44931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Straight Connector 276"/>
            <p:cNvSpPr/>
            <p:nvPr/>
          </p:nvSpPr>
          <p:spPr>
            <a:xfrm flipV="1">
              <a:off x="4180680" y="4306680"/>
              <a:ext cx="0" cy="77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4367520" y="4997160"/>
              <a:ext cx="0" cy="171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4313880" y="5168880"/>
              <a:ext cx="126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Straight Connector 279"/>
            <p:cNvSpPr/>
            <p:nvPr/>
          </p:nvSpPr>
          <p:spPr>
            <a:xfrm>
              <a:off x="4176720" y="5468400"/>
              <a:ext cx="837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101"/>
            <p:cNvSpPr/>
            <p:nvPr/>
          </p:nvSpPr>
          <p:spPr>
            <a:xfrm>
              <a:off x="4416120" y="3051000"/>
              <a:ext cx="596880" cy="238211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59" h="6618" fill="none">
                  <a:moveTo>
                    <a:pt x="0" y="6618"/>
                  </a:moveTo>
                  <a:lnTo>
                    <a:pt x="683" y="0"/>
                  </a:lnTo>
                  <a:lnTo>
                    <a:pt x="798" y="333"/>
                  </a:lnTo>
                  <a:lnTo>
                    <a:pt x="917" y="0"/>
                  </a:lnTo>
                  <a:lnTo>
                    <a:pt x="1659" y="660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Straight Connector 281"/>
            <p:cNvSpPr/>
            <p:nvPr/>
          </p:nvSpPr>
          <p:spPr>
            <a:xfrm>
              <a:off x="4713840" y="3226680"/>
              <a:ext cx="243720" cy="220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Straight Connector 282"/>
            <p:cNvSpPr/>
            <p:nvPr/>
          </p:nvSpPr>
          <p:spPr>
            <a:xfrm>
              <a:off x="4978800" y="5117039"/>
              <a:ext cx="244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Straight Connector 283"/>
            <p:cNvSpPr/>
            <p:nvPr/>
          </p:nvSpPr>
          <p:spPr>
            <a:xfrm>
              <a:off x="5077440" y="5258160"/>
              <a:ext cx="0" cy="2246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Straight Connector 284"/>
            <p:cNvSpPr/>
            <p:nvPr/>
          </p:nvSpPr>
          <p:spPr>
            <a:xfrm>
              <a:off x="6446879" y="5258160"/>
              <a:ext cx="0" cy="2246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Straight Connector 285"/>
            <p:cNvSpPr/>
            <p:nvPr/>
          </p:nvSpPr>
          <p:spPr>
            <a:xfrm>
              <a:off x="5406480" y="5468400"/>
              <a:ext cx="507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Straight Connector 286"/>
            <p:cNvSpPr/>
            <p:nvPr/>
          </p:nvSpPr>
          <p:spPr>
            <a:xfrm>
              <a:off x="5005440" y="4813200"/>
              <a:ext cx="12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Straight Connector 287"/>
            <p:cNvSpPr/>
            <p:nvPr/>
          </p:nvSpPr>
          <p:spPr>
            <a:xfrm>
              <a:off x="5311080" y="4813200"/>
              <a:ext cx="285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Straight Connector 288"/>
            <p:cNvSpPr/>
            <p:nvPr/>
          </p:nvSpPr>
          <p:spPr>
            <a:xfrm>
              <a:off x="5139360" y="4630320"/>
              <a:ext cx="0" cy="38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110"/>
            <p:cNvSpPr/>
            <p:nvPr/>
          </p:nvSpPr>
          <p:spPr>
            <a:xfrm>
              <a:off x="5311080" y="4630320"/>
              <a:ext cx="675360" cy="62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7" h="1727" fill="none">
                  <a:moveTo>
                    <a:pt x="0" y="0"/>
                  </a:moveTo>
                  <a:lnTo>
                    <a:pt x="0" y="1727"/>
                  </a:lnTo>
                  <a:lnTo>
                    <a:pt x="1877" y="1727"/>
                  </a:lnTo>
                  <a:lnTo>
                    <a:pt x="1786" y="1581"/>
                  </a:lnTo>
                  <a:lnTo>
                    <a:pt x="158" y="158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Straight Connector 290"/>
            <p:cNvSpPr/>
            <p:nvPr/>
          </p:nvSpPr>
          <p:spPr>
            <a:xfrm>
              <a:off x="5223600" y="4630320"/>
              <a:ext cx="0" cy="85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Straight Connector 291"/>
            <p:cNvSpPr/>
            <p:nvPr/>
          </p:nvSpPr>
          <p:spPr>
            <a:xfrm>
              <a:off x="5223600" y="4807080"/>
              <a:ext cx="0" cy="36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5090759" y="4595760"/>
              <a:ext cx="269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Freeform: Shape 114"/>
            <p:cNvSpPr/>
            <p:nvPr/>
          </p:nvSpPr>
          <p:spPr>
            <a:xfrm>
              <a:off x="5112000" y="4478040"/>
              <a:ext cx="216000" cy="90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1" h="251">
                  <a:moveTo>
                    <a:pt x="0" y="251"/>
                  </a:moveTo>
                  <a:cubicBezTo>
                    <a:pt x="0" y="251"/>
                    <a:pt x="62" y="0"/>
                    <a:pt x="313" y="0"/>
                  </a:cubicBezTo>
                  <a:cubicBezTo>
                    <a:pt x="564" y="0"/>
                    <a:pt x="601" y="251"/>
                    <a:pt x="601" y="25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5225760" y="4309920"/>
              <a:ext cx="0" cy="168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Freeform: Shape 116"/>
            <p:cNvSpPr/>
            <p:nvPr/>
          </p:nvSpPr>
          <p:spPr>
            <a:xfrm>
              <a:off x="5774400" y="4813200"/>
              <a:ext cx="831599" cy="12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11" h="356" fill="none">
                  <a:moveTo>
                    <a:pt x="0" y="0"/>
                  </a:moveTo>
                  <a:lnTo>
                    <a:pt x="2311" y="0"/>
                  </a:lnTo>
                  <a:lnTo>
                    <a:pt x="2311" y="356"/>
                  </a:lnTo>
                  <a:lnTo>
                    <a:pt x="1575" y="356"/>
                  </a:lnTo>
                  <a:lnTo>
                    <a:pt x="1575" y="17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5602680" y="4630320"/>
              <a:ext cx="0" cy="38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5774400" y="4630320"/>
              <a:ext cx="0" cy="381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5686920" y="4630320"/>
              <a:ext cx="0" cy="85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5686920" y="4807080"/>
              <a:ext cx="0" cy="36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5554080" y="4595760"/>
              <a:ext cx="27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Freeform: Shape 122"/>
            <p:cNvSpPr/>
            <p:nvPr/>
          </p:nvSpPr>
          <p:spPr>
            <a:xfrm>
              <a:off x="5576400" y="4478040"/>
              <a:ext cx="216000" cy="90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1" h="251">
                  <a:moveTo>
                    <a:pt x="0" y="251"/>
                  </a:moveTo>
                  <a:cubicBezTo>
                    <a:pt x="0" y="251"/>
                    <a:pt x="62" y="0"/>
                    <a:pt x="313" y="0"/>
                  </a:cubicBezTo>
                  <a:cubicBezTo>
                    <a:pt x="564" y="0"/>
                    <a:pt x="601" y="251"/>
                    <a:pt x="601" y="25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5689080" y="4309920"/>
              <a:ext cx="0" cy="168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Freeform: Shape 124"/>
            <p:cNvSpPr/>
            <p:nvPr/>
          </p:nvSpPr>
          <p:spPr>
            <a:xfrm>
              <a:off x="5826240" y="5045760"/>
              <a:ext cx="87120" cy="74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Freeform: Shape 125"/>
            <p:cNvSpPr/>
            <p:nvPr/>
          </p:nvSpPr>
          <p:spPr>
            <a:xfrm>
              <a:off x="6001920" y="5045760"/>
              <a:ext cx="87120" cy="74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Freeform: Shape 126"/>
            <p:cNvSpPr/>
            <p:nvPr/>
          </p:nvSpPr>
          <p:spPr>
            <a:xfrm>
              <a:off x="6177600" y="5045760"/>
              <a:ext cx="87120" cy="74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209" fill="none">
                  <a:moveTo>
                    <a:pt x="243" y="0"/>
                  </a:moveTo>
                  <a:lnTo>
                    <a:pt x="243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127"/>
            <p:cNvSpPr/>
            <p:nvPr/>
          </p:nvSpPr>
          <p:spPr>
            <a:xfrm>
              <a:off x="6352560" y="5045760"/>
              <a:ext cx="87840" cy="74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5" h="209" fill="none">
                  <a:moveTo>
                    <a:pt x="245" y="0"/>
                  </a:moveTo>
                  <a:lnTo>
                    <a:pt x="245" y="209"/>
                  </a:lnTo>
                  <a:lnTo>
                    <a:pt x="0" y="20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Freeform: Shape 128"/>
            <p:cNvSpPr/>
            <p:nvPr/>
          </p:nvSpPr>
          <p:spPr>
            <a:xfrm>
              <a:off x="5119200" y="5333400"/>
              <a:ext cx="38160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6" y="0"/>
                    <a:pt x="558" y="0"/>
                  </a:cubicBezTo>
                  <a:cubicBezTo>
                    <a:pt x="989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Freeform: Shape 129"/>
            <p:cNvSpPr/>
            <p:nvPr/>
          </p:nvSpPr>
          <p:spPr>
            <a:xfrm>
              <a:off x="5575320" y="5333400"/>
              <a:ext cx="38160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7" y="0"/>
                    <a:pt x="559" y="0"/>
                  </a:cubicBezTo>
                  <a:cubicBezTo>
                    <a:pt x="990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Freeform: Shape 130"/>
            <p:cNvSpPr/>
            <p:nvPr/>
          </p:nvSpPr>
          <p:spPr>
            <a:xfrm>
              <a:off x="6031440" y="5333400"/>
              <a:ext cx="381600" cy="95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61" h="265">
                  <a:moveTo>
                    <a:pt x="0" y="265"/>
                  </a:moveTo>
                  <a:cubicBezTo>
                    <a:pt x="0" y="265"/>
                    <a:pt x="127" y="0"/>
                    <a:pt x="559" y="0"/>
                  </a:cubicBezTo>
                  <a:cubicBezTo>
                    <a:pt x="990" y="0"/>
                    <a:pt x="1061" y="265"/>
                    <a:pt x="1061" y="265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6523200" y="4703400"/>
              <a:ext cx="0" cy="110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Freeform: Shape 132"/>
            <p:cNvSpPr/>
            <p:nvPr/>
          </p:nvSpPr>
          <p:spPr>
            <a:xfrm>
              <a:off x="5874840" y="3362040"/>
              <a:ext cx="564480" cy="141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9" h="3939" fill="none">
                  <a:moveTo>
                    <a:pt x="0" y="3936"/>
                  </a:moveTo>
                  <a:lnTo>
                    <a:pt x="807" y="0"/>
                  </a:lnTo>
                  <a:lnTo>
                    <a:pt x="1569" y="39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Freeform: Shape 133"/>
            <p:cNvSpPr/>
            <p:nvPr/>
          </p:nvSpPr>
          <p:spPr>
            <a:xfrm>
              <a:off x="6010920" y="3644279"/>
              <a:ext cx="304560" cy="39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7" h="1106" fill="none">
                  <a:moveTo>
                    <a:pt x="43" y="1106"/>
                  </a:moveTo>
                  <a:lnTo>
                    <a:pt x="0" y="0"/>
                  </a:lnTo>
                  <a:lnTo>
                    <a:pt x="847" y="0"/>
                  </a:lnTo>
                  <a:lnTo>
                    <a:pt x="788" y="108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6139080" y="3711240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6127919" y="3775320"/>
              <a:ext cx="6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6115679" y="3839400"/>
              <a:ext cx="9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6104520" y="3902400"/>
              <a:ext cx="11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6093359" y="3966479"/>
              <a:ext cx="1350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6082200" y="4030200"/>
              <a:ext cx="158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6069960" y="4094280"/>
              <a:ext cx="181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6058800" y="4157279"/>
              <a:ext cx="204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6047640" y="4221360"/>
              <a:ext cx="226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6035399" y="4285440"/>
              <a:ext cx="249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6024240" y="4349520"/>
              <a:ext cx="272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6012000" y="4412880"/>
              <a:ext cx="295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6000840" y="4476960"/>
              <a:ext cx="318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5989680" y="4541040"/>
              <a:ext cx="34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5977440" y="4604040"/>
              <a:ext cx="363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5966280" y="4668120"/>
              <a:ext cx="386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5955119" y="4731839"/>
              <a:ext cx="4096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Freeform: Shape 151"/>
            <p:cNvSpPr/>
            <p:nvPr/>
          </p:nvSpPr>
          <p:spPr>
            <a:xfrm>
              <a:off x="6786360" y="5175000"/>
              <a:ext cx="193680" cy="387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9" h="1078">
                  <a:moveTo>
                    <a:pt x="539" y="0"/>
                  </a:moveTo>
                  <a:lnTo>
                    <a:pt x="539" y="1078"/>
                  </a:lnTo>
                  <a:lnTo>
                    <a:pt x="0" y="71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Straight Connector 331"/>
            <p:cNvSpPr/>
            <p:nvPr/>
          </p:nvSpPr>
          <p:spPr>
            <a:xfrm>
              <a:off x="6786360" y="5590440"/>
              <a:ext cx="11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Straight Connector 332"/>
            <p:cNvSpPr/>
            <p:nvPr/>
          </p:nvSpPr>
          <p:spPr>
            <a:xfrm flipH="1">
              <a:off x="7532999" y="5271480"/>
              <a:ext cx="777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Straight Connector 333"/>
            <p:cNvSpPr/>
            <p:nvPr/>
          </p:nvSpPr>
          <p:spPr>
            <a:xfrm flipH="1">
              <a:off x="7761600" y="5404680"/>
              <a:ext cx="269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Straight Connector 334"/>
            <p:cNvSpPr/>
            <p:nvPr/>
          </p:nvSpPr>
          <p:spPr>
            <a:xfrm flipH="1">
              <a:off x="449280" y="5261400"/>
              <a:ext cx="14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Straight Connector 335"/>
            <p:cNvSpPr/>
            <p:nvPr/>
          </p:nvSpPr>
          <p:spPr>
            <a:xfrm flipH="1">
              <a:off x="888120" y="5261400"/>
              <a:ext cx="11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Straight Connector 336"/>
            <p:cNvSpPr/>
            <p:nvPr/>
          </p:nvSpPr>
          <p:spPr>
            <a:xfrm flipH="1">
              <a:off x="7673040" y="5499000"/>
              <a:ext cx="149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7238520" y="5160600"/>
              <a:ext cx="0" cy="67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6575040" y="5160600"/>
              <a:ext cx="0" cy="118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Freeform: Shape 160"/>
            <p:cNvSpPr/>
            <p:nvPr/>
          </p:nvSpPr>
          <p:spPr>
            <a:xfrm>
              <a:off x="7279919" y="5299920"/>
              <a:ext cx="107280" cy="253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9" h="705">
                  <a:moveTo>
                    <a:pt x="299" y="0"/>
                  </a:moveTo>
                  <a:lnTo>
                    <a:pt x="299" y="705"/>
                  </a:lnTo>
                  <a:lnTo>
                    <a:pt x="0" y="47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Straight Connector 340"/>
            <p:cNvSpPr/>
            <p:nvPr/>
          </p:nvSpPr>
          <p:spPr>
            <a:xfrm>
              <a:off x="7282079" y="5571000"/>
              <a:ext cx="60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Freeform: Shape 162"/>
            <p:cNvSpPr/>
            <p:nvPr/>
          </p:nvSpPr>
          <p:spPr>
            <a:xfrm>
              <a:off x="690119" y="5188320"/>
              <a:ext cx="107280" cy="254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9" h="708">
                  <a:moveTo>
                    <a:pt x="299" y="0"/>
                  </a:moveTo>
                  <a:lnTo>
                    <a:pt x="299" y="708"/>
                  </a:lnTo>
                  <a:lnTo>
                    <a:pt x="0" y="4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691920" y="5460480"/>
              <a:ext cx="60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164"/>
            <p:cNvSpPr/>
            <p:nvPr/>
          </p:nvSpPr>
          <p:spPr>
            <a:xfrm>
              <a:off x="6678720" y="5096880"/>
              <a:ext cx="129780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6">
                  <a:moveTo>
                    <a:pt x="0" y="0"/>
                  </a:moveTo>
                  <a:cubicBezTo>
                    <a:pt x="1199" y="0"/>
                    <a:pt x="2407" y="0"/>
                    <a:pt x="3606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7109279" y="4611960"/>
              <a:ext cx="0" cy="666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Freeform: Shape 166"/>
            <p:cNvSpPr/>
            <p:nvPr/>
          </p:nvSpPr>
          <p:spPr>
            <a:xfrm>
              <a:off x="7109279" y="4667040"/>
              <a:ext cx="867239" cy="325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10" h="906">
                  <a:moveTo>
                    <a:pt x="2410" y="906"/>
                  </a:moveTo>
                  <a:cubicBezTo>
                    <a:pt x="1583" y="900"/>
                    <a:pt x="748" y="663"/>
                    <a:pt x="110" y="99"/>
                  </a:cubicBezTo>
                  <a:cubicBezTo>
                    <a:pt x="82" y="70"/>
                    <a:pt x="20" y="22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Straight Connector 346"/>
            <p:cNvSpPr/>
            <p:nvPr/>
          </p:nvSpPr>
          <p:spPr>
            <a:xfrm>
              <a:off x="7248600" y="4780800"/>
              <a:ext cx="0" cy="310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Straight Connector 347"/>
            <p:cNvSpPr/>
            <p:nvPr/>
          </p:nvSpPr>
          <p:spPr>
            <a:xfrm>
              <a:off x="7351199" y="4841640"/>
              <a:ext cx="0" cy="255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7455600" y="4895640"/>
              <a:ext cx="0" cy="20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7559279" y="4933080"/>
              <a:ext cx="0" cy="163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7661879" y="4957560"/>
              <a:ext cx="0" cy="139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7764479" y="4979880"/>
              <a:ext cx="0" cy="11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7867080" y="4988880"/>
              <a:ext cx="0" cy="10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Freeform: Shape 174"/>
            <p:cNvSpPr/>
            <p:nvPr/>
          </p:nvSpPr>
          <p:spPr>
            <a:xfrm>
              <a:off x="6672600" y="4665960"/>
              <a:ext cx="436320" cy="257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3" h="717">
                  <a:moveTo>
                    <a:pt x="1213" y="0"/>
                  </a:moveTo>
                  <a:cubicBezTo>
                    <a:pt x="883" y="310"/>
                    <a:pt x="468" y="559"/>
                    <a:pt x="0" y="71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6964200" y="4780800"/>
              <a:ext cx="0" cy="310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Straight Connector 355"/>
            <p:cNvSpPr/>
            <p:nvPr/>
          </p:nvSpPr>
          <p:spPr>
            <a:xfrm>
              <a:off x="6862319" y="4841640"/>
              <a:ext cx="0" cy="255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6756839" y="4895640"/>
              <a:ext cx="0" cy="20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5493149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" name="Group 136"/>
          <p:cNvGrpSpPr/>
          <p:nvPr userDrawn="1"/>
        </p:nvGrpSpPr>
        <p:grpSpPr>
          <a:xfrm>
            <a:off x="2212559" y="1813279"/>
            <a:ext cx="4718882" cy="1655857"/>
            <a:chOff x="1212480" y="3200760"/>
            <a:chExt cx="7896600" cy="2770919"/>
          </a:xfrm>
        </p:grpSpPr>
        <p:sp>
          <p:nvSpPr>
            <p:cNvPr id="138" name="Straight Connector 137"/>
            <p:cNvSpPr/>
            <p:nvPr/>
          </p:nvSpPr>
          <p:spPr>
            <a:xfrm>
              <a:off x="3532680" y="5910840"/>
              <a:ext cx="240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212480" y="5922000"/>
              <a:ext cx="19472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3753360" y="5971679"/>
              <a:ext cx="15195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6198120" y="5910840"/>
              <a:ext cx="2910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5351040" y="5727960"/>
              <a:ext cx="678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5617080" y="5790959"/>
              <a:ext cx="66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6815880" y="5719680"/>
              <a:ext cx="631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7980120" y="5757480"/>
              <a:ext cx="400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7354439" y="5787720"/>
              <a:ext cx="1951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1809719" y="5517720"/>
              <a:ext cx="0" cy="1940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1755000" y="5797080"/>
              <a:ext cx="99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812600" y="560808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215080" y="5388480"/>
              <a:ext cx="358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4241880" y="5762520"/>
              <a:ext cx="76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Freeform: Shape 15"/>
            <p:cNvSpPr/>
            <p:nvPr/>
          </p:nvSpPr>
          <p:spPr>
            <a:xfrm>
              <a:off x="2061719" y="5416920"/>
              <a:ext cx="9612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8" h="587">
                  <a:moveTo>
                    <a:pt x="134" y="587"/>
                  </a:moveTo>
                  <a:lnTo>
                    <a:pt x="0" y="587"/>
                  </a:lnTo>
                  <a:lnTo>
                    <a:pt x="0" y="0"/>
                  </a:lnTo>
                  <a:lnTo>
                    <a:pt x="268" y="0"/>
                  </a:lnTo>
                  <a:lnTo>
                    <a:pt x="268" y="58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Freeform: Shape 16"/>
            <p:cNvSpPr/>
            <p:nvPr/>
          </p:nvSpPr>
          <p:spPr>
            <a:xfrm>
              <a:off x="1918440" y="5716800"/>
              <a:ext cx="614160" cy="5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07" h="149">
                  <a:moveTo>
                    <a:pt x="854" y="149"/>
                  </a:moveTo>
                  <a:lnTo>
                    <a:pt x="0" y="149"/>
                  </a:lnTo>
                  <a:lnTo>
                    <a:pt x="0" y="0"/>
                  </a:lnTo>
                  <a:lnTo>
                    <a:pt x="1707" y="0"/>
                  </a:lnTo>
                  <a:lnTo>
                    <a:pt x="1707" y="14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Freeform: Shape 17"/>
            <p:cNvSpPr/>
            <p:nvPr/>
          </p:nvSpPr>
          <p:spPr>
            <a:xfrm>
              <a:off x="1366920" y="5726880"/>
              <a:ext cx="165240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60" h="138">
                  <a:moveTo>
                    <a:pt x="230" y="138"/>
                  </a:moveTo>
                  <a:lnTo>
                    <a:pt x="0" y="138"/>
                  </a:lnTo>
                  <a:lnTo>
                    <a:pt x="0" y="0"/>
                  </a:lnTo>
                  <a:lnTo>
                    <a:pt x="460" y="0"/>
                  </a:lnTo>
                  <a:lnTo>
                    <a:pt x="460" y="13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Freeform: Shape 18"/>
            <p:cNvSpPr/>
            <p:nvPr/>
          </p:nvSpPr>
          <p:spPr>
            <a:xfrm>
              <a:off x="2313720" y="5442479"/>
              <a:ext cx="463680" cy="214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89" h="598">
                  <a:moveTo>
                    <a:pt x="645" y="598"/>
                  </a:moveTo>
                  <a:lnTo>
                    <a:pt x="0" y="598"/>
                  </a:lnTo>
                  <a:lnTo>
                    <a:pt x="0" y="0"/>
                  </a:lnTo>
                  <a:lnTo>
                    <a:pt x="1289" y="0"/>
                  </a:lnTo>
                  <a:lnTo>
                    <a:pt x="1289" y="59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Freeform: Shape 19"/>
            <p:cNvSpPr/>
            <p:nvPr/>
          </p:nvSpPr>
          <p:spPr>
            <a:xfrm>
              <a:off x="3362040" y="5723640"/>
              <a:ext cx="297360" cy="46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27" h="130">
                  <a:moveTo>
                    <a:pt x="414" y="130"/>
                  </a:moveTo>
                  <a:lnTo>
                    <a:pt x="0" y="130"/>
                  </a:lnTo>
                  <a:lnTo>
                    <a:pt x="0" y="0"/>
                  </a:lnTo>
                  <a:lnTo>
                    <a:pt x="827" y="0"/>
                  </a:lnTo>
                  <a:lnTo>
                    <a:pt x="827" y="1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Freeform: Shape 20"/>
            <p:cNvSpPr/>
            <p:nvPr/>
          </p:nvSpPr>
          <p:spPr>
            <a:xfrm>
              <a:off x="8432280" y="5723640"/>
              <a:ext cx="155160" cy="46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2" h="130">
                  <a:moveTo>
                    <a:pt x="216" y="130"/>
                  </a:moveTo>
                  <a:lnTo>
                    <a:pt x="0" y="130"/>
                  </a:lnTo>
                  <a:lnTo>
                    <a:pt x="0" y="0"/>
                  </a:lnTo>
                  <a:lnTo>
                    <a:pt x="432" y="0"/>
                  </a:lnTo>
                  <a:lnTo>
                    <a:pt x="432" y="13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Freeform: Shape 21"/>
            <p:cNvSpPr/>
            <p:nvPr/>
          </p:nvSpPr>
          <p:spPr>
            <a:xfrm>
              <a:off x="3841560" y="5729760"/>
              <a:ext cx="254520" cy="4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8" h="122">
                  <a:moveTo>
                    <a:pt x="354" y="122"/>
                  </a:moveTo>
                  <a:lnTo>
                    <a:pt x="0" y="122"/>
                  </a:lnTo>
                  <a:lnTo>
                    <a:pt x="0" y="0"/>
                  </a:lnTo>
                  <a:lnTo>
                    <a:pt x="708" y="0"/>
                  </a:lnTo>
                  <a:lnTo>
                    <a:pt x="708" y="12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22"/>
            <p:cNvSpPr/>
            <p:nvPr/>
          </p:nvSpPr>
          <p:spPr>
            <a:xfrm>
              <a:off x="3330720" y="5562360"/>
              <a:ext cx="250560" cy="72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97" h="203">
                  <a:moveTo>
                    <a:pt x="348" y="203"/>
                  </a:moveTo>
                  <a:lnTo>
                    <a:pt x="0" y="203"/>
                  </a:lnTo>
                  <a:lnTo>
                    <a:pt x="0" y="0"/>
                  </a:lnTo>
                  <a:lnTo>
                    <a:pt x="697" y="0"/>
                  </a:lnTo>
                  <a:lnTo>
                    <a:pt x="697" y="20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Freeform: Shape 23"/>
            <p:cNvSpPr/>
            <p:nvPr/>
          </p:nvSpPr>
          <p:spPr>
            <a:xfrm>
              <a:off x="3119400" y="5388480"/>
              <a:ext cx="129600" cy="155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1" h="432">
                  <a:moveTo>
                    <a:pt x="180" y="432"/>
                  </a:moveTo>
                  <a:lnTo>
                    <a:pt x="0" y="432"/>
                  </a:lnTo>
                  <a:lnTo>
                    <a:pt x="0" y="0"/>
                  </a:lnTo>
                  <a:lnTo>
                    <a:pt x="361" y="0"/>
                  </a:lnTo>
                  <a:lnTo>
                    <a:pt x="361" y="4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Freeform: Shape 24"/>
            <p:cNvSpPr/>
            <p:nvPr/>
          </p:nvSpPr>
          <p:spPr>
            <a:xfrm>
              <a:off x="3365279" y="5393520"/>
              <a:ext cx="316440" cy="58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164">
                  <a:moveTo>
                    <a:pt x="440" y="164"/>
                  </a:moveTo>
                  <a:lnTo>
                    <a:pt x="0" y="164"/>
                  </a:lnTo>
                  <a:lnTo>
                    <a:pt x="0" y="0"/>
                  </a:lnTo>
                  <a:lnTo>
                    <a:pt x="880" y="0"/>
                  </a:lnTo>
                  <a:lnTo>
                    <a:pt x="880" y="1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Freeform: Shape 25"/>
            <p:cNvSpPr/>
            <p:nvPr/>
          </p:nvSpPr>
          <p:spPr>
            <a:xfrm>
              <a:off x="2721960" y="5263559"/>
              <a:ext cx="127800" cy="102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6" h="285">
                  <a:moveTo>
                    <a:pt x="178" y="285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356" y="0"/>
                  </a:lnTo>
                  <a:lnTo>
                    <a:pt x="356" y="2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Freeform: Shape 26"/>
            <p:cNvSpPr/>
            <p:nvPr/>
          </p:nvSpPr>
          <p:spPr>
            <a:xfrm>
              <a:off x="4483800" y="5663880"/>
              <a:ext cx="829439" cy="87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05" h="243">
                  <a:moveTo>
                    <a:pt x="1152" y="243"/>
                  </a:moveTo>
                  <a:lnTo>
                    <a:pt x="0" y="243"/>
                  </a:lnTo>
                  <a:lnTo>
                    <a:pt x="0" y="0"/>
                  </a:lnTo>
                  <a:lnTo>
                    <a:pt x="2305" y="0"/>
                  </a:lnTo>
                  <a:lnTo>
                    <a:pt x="2305" y="24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Freeform: Shape 27"/>
            <p:cNvSpPr/>
            <p:nvPr/>
          </p:nvSpPr>
          <p:spPr>
            <a:xfrm>
              <a:off x="4962240" y="5464800"/>
              <a:ext cx="53280" cy="69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9" h="195">
                  <a:moveTo>
                    <a:pt x="75" y="195"/>
                  </a:moveTo>
                  <a:lnTo>
                    <a:pt x="0" y="195"/>
                  </a:lnTo>
                  <a:lnTo>
                    <a:pt x="0" y="0"/>
                  </a:lnTo>
                  <a:lnTo>
                    <a:pt x="149" y="0"/>
                  </a:lnTo>
                  <a:lnTo>
                    <a:pt x="149" y="19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Freeform: Shape 28"/>
            <p:cNvSpPr/>
            <p:nvPr/>
          </p:nvSpPr>
          <p:spPr>
            <a:xfrm>
              <a:off x="5807160" y="5091839"/>
              <a:ext cx="69840" cy="25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714">
                  <a:moveTo>
                    <a:pt x="97" y="714"/>
                  </a:moveTo>
                  <a:lnTo>
                    <a:pt x="0" y="714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71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Freeform: Shape 29"/>
            <p:cNvSpPr/>
            <p:nvPr/>
          </p:nvSpPr>
          <p:spPr>
            <a:xfrm>
              <a:off x="8070480" y="5463720"/>
              <a:ext cx="63720" cy="121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8" h="339">
                  <a:moveTo>
                    <a:pt x="89" y="339"/>
                  </a:moveTo>
                  <a:lnTo>
                    <a:pt x="0" y="339"/>
                  </a:lnTo>
                  <a:lnTo>
                    <a:pt x="0" y="0"/>
                  </a:lnTo>
                  <a:lnTo>
                    <a:pt x="178" y="0"/>
                  </a:lnTo>
                  <a:lnTo>
                    <a:pt x="178" y="3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Freeform: Shape 30"/>
            <p:cNvSpPr/>
            <p:nvPr/>
          </p:nvSpPr>
          <p:spPr>
            <a:xfrm>
              <a:off x="8869320" y="5693400"/>
              <a:ext cx="52200" cy="121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6" h="338">
                  <a:moveTo>
                    <a:pt x="73" y="338"/>
                  </a:moveTo>
                  <a:lnTo>
                    <a:pt x="0" y="338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33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3643559" y="398988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3643559" y="40579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3643559" y="41252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3643559" y="41922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Straight Connector 171"/>
            <p:cNvSpPr/>
            <p:nvPr/>
          </p:nvSpPr>
          <p:spPr>
            <a:xfrm>
              <a:off x="3643559" y="42591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Straight Connector 172"/>
            <p:cNvSpPr/>
            <p:nvPr/>
          </p:nvSpPr>
          <p:spPr>
            <a:xfrm>
              <a:off x="3643559" y="43261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3643559" y="43941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3643559" y="446148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3643559" y="45284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Straight Connector 176"/>
            <p:cNvSpPr/>
            <p:nvPr/>
          </p:nvSpPr>
          <p:spPr>
            <a:xfrm>
              <a:off x="3643559" y="45950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3643559" y="46620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>
              <a:off x="3643559" y="47304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3643559" y="47973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3643559" y="48643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3643559" y="4931279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Straight Connector 182"/>
            <p:cNvSpPr/>
            <p:nvPr/>
          </p:nvSpPr>
          <p:spPr>
            <a:xfrm>
              <a:off x="3643559" y="49993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3643559" y="506664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3643559" y="513360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3643559" y="520056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643559" y="5267520"/>
              <a:ext cx="347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Freeform: Shape 51"/>
            <p:cNvSpPr/>
            <p:nvPr/>
          </p:nvSpPr>
          <p:spPr>
            <a:xfrm>
              <a:off x="1987560" y="3769560"/>
              <a:ext cx="2429640" cy="1904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750" h="5291" fill="none">
                  <a:moveTo>
                    <a:pt x="2760" y="5291"/>
                  </a:moveTo>
                  <a:lnTo>
                    <a:pt x="6750" y="5291"/>
                  </a:lnTo>
                  <a:lnTo>
                    <a:pt x="6457" y="4848"/>
                  </a:lnTo>
                  <a:lnTo>
                    <a:pt x="5404" y="4848"/>
                  </a:lnTo>
                  <a:lnTo>
                    <a:pt x="5404" y="4388"/>
                  </a:lnTo>
                  <a:lnTo>
                    <a:pt x="4382" y="4388"/>
                  </a:lnTo>
                  <a:lnTo>
                    <a:pt x="4382" y="3536"/>
                  </a:lnTo>
                  <a:lnTo>
                    <a:pt x="3821" y="3536"/>
                  </a:lnTo>
                  <a:lnTo>
                    <a:pt x="3821" y="1721"/>
                  </a:lnTo>
                  <a:lnTo>
                    <a:pt x="3211" y="1721"/>
                  </a:lnTo>
                  <a:lnTo>
                    <a:pt x="3211" y="3804"/>
                  </a:lnTo>
                  <a:lnTo>
                    <a:pt x="2763" y="3804"/>
                  </a:lnTo>
                  <a:lnTo>
                    <a:pt x="2763" y="2224"/>
                  </a:lnTo>
                  <a:lnTo>
                    <a:pt x="2602" y="2088"/>
                  </a:lnTo>
                  <a:lnTo>
                    <a:pt x="2602" y="553"/>
                  </a:lnTo>
                  <a:lnTo>
                    <a:pt x="2503" y="135"/>
                  </a:lnTo>
                  <a:lnTo>
                    <a:pt x="2503" y="429"/>
                  </a:lnTo>
                  <a:lnTo>
                    <a:pt x="2274" y="0"/>
                  </a:lnTo>
                  <a:lnTo>
                    <a:pt x="2057" y="420"/>
                  </a:lnTo>
                  <a:lnTo>
                    <a:pt x="2057" y="144"/>
                  </a:lnTo>
                  <a:lnTo>
                    <a:pt x="1975" y="559"/>
                  </a:lnTo>
                  <a:lnTo>
                    <a:pt x="1975" y="2097"/>
                  </a:lnTo>
                  <a:lnTo>
                    <a:pt x="1803" y="2226"/>
                  </a:lnTo>
                  <a:lnTo>
                    <a:pt x="1803" y="3841"/>
                  </a:lnTo>
                  <a:lnTo>
                    <a:pt x="1453" y="3841"/>
                  </a:lnTo>
                  <a:lnTo>
                    <a:pt x="1453" y="3302"/>
                  </a:lnTo>
                  <a:lnTo>
                    <a:pt x="1287" y="3302"/>
                  </a:lnTo>
                  <a:lnTo>
                    <a:pt x="1287" y="4106"/>
                  </a:lnTo>
                  <a:lnTo>
                    <a:pt x="911" y="4106"/>
                  </a:lnTo>
                  <a:lnTo>
                    <a:pt x="911" y="4267"/>
                  </a:lnTo>
                  <a:lnTo>
                    <a:pt x="0" y="4267"/>
                  </a:lnTo>
                  <a:lnTo>
                    <a:pt x="0" y="460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Freeform: Shape 52"/>
            <p:cNvSpPr/>
            <p:nvPr/>
          </p:nvSpPr>
          <p:spPr>
            <a:xfrm>
              <a:off x="3269520" y="4442040"/>
              <a:ext cx="42480" cy="76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9" h="2122">
                  <a:moveTo>
                    <a:pt x="60" y="2122"/>
                  </a:moveTo>
                  <a:lnTo>
                    <a:pt x="0" y="2122"/>
                  </a:lnTo>
                  <a:lnTo>
                    <a:pt x="0" y="0"/>
                  </a:lnTo>
                  <a:lnTo>
                    <a:pt x="119" y="0"/>
                  </a:lnTo>
                  <a:lnTo>
                    <a:pt x="119" y="212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861280" y="3974759"/>
              <a:ext cx="0" cy="6552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916000" y="4584960"/>
              <a:ext cx="0" cy="516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 flipV="1">
              <a:off x="2806200" y="3648600"/>
              <a:ext cx="0" cy="124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56"/>
            <p:cNvSpPr/>
            <p:nvPr/>
          </p:nvSpPr>
          <p:spPr>
            <a:xfrm>
              <a:off x="3548160" y="3751200"/>
              <a:ext cx="605880" cy="1549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684" h="4304" fill="none">
                  <a:moveTo>
                    <a:pt x="0" y="3429"/>
                  </a:moveTo>
                  <a:lnTo>
                    <a:pt x="0" y="474"/>
                  </a:lnTo>
                  <a:lnTo>
                    <a:pt x="1382" y="474"/>
                  </a:lnTo>
                  <a:lnTo>
                    <a:pt x="1267" y="319"/>
                  </a:lnTo>
                  <a:lnTo>
                    <a:pt x="98" y="319"/>
                  </a:lnTo>
                  <a:lnTo>
                    <a:pt x="352" y="0"/>
                  </a:lnTo>
                  <a:lnTo>
                    <a:pt x="1394" y="0"/>
                  </a:lnTo>
                  <a:lnTo>
                    <a:pt x="1684" y="483"/>
                  </a:lnTo>
                  <a:lnTo>
                    <a:pt x="1684" y="43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4088520" y="4026600"/>
              <a:ext cx="0" cy="635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Freeform: Shape 58"/>
            <p:cNvSpPr/>
            <p:nvPr/>
          </p:nvSpPr>
          <p:spPr>
            <a:xfrm>
              <a:off x="4100760" y="4614480"/>
              <a:ext cx="23004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1916" fill="none">
                  <a:moveTo>
                    <a:pt x="0" y="1916"/>
                  </a:moveTo>
                  <a:lnTo>
                    <a:pt x="640" y="1916"/>
                  </a:lnTo>
                  <a:lnTo>
                    <a:pt x="64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4209480" y="4755600"/>
              <a:ext cx="0" cy="5475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Straight Connector 196"/>
            <p:cNvSpPr/>
            <p:nvPr/>
          </p:nvSpPr>
          <p:spPr>
            <a:xfrm>
              <a:off x="4908239" y="4755600"/>
              <a:ext cx="0" cy="574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Freeform: Shape 61"/>
            <p:cNvSpPr/>
            <p:nvPr/>
          </p:nvSpPr>
          <p:spPr>
            <a:xfrm>
              <a:off x="4281480" y="4410720"/>
              <a:ext cx="151920" cy="1206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3" h="3352" fill="none">
                  <a:moveTo>
                    <a:pt x="423" y="0"/>
                  </a:moveTo>
                  <a:lnTo>
                    <a:pt x="0" y="505"/>
                  </a:lnTo>
                  <a:lnTo>
                    <a:pt x="0" y="680"/>
                  </a:lnTo>
                  <a:lnTo>
                    <a:pt x="418" y="248"/>
                  </a:lnTo>
                  <a:lnTo>
                    <a:pt x="418" y="335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62"/>
            <p:cNvSpPr/>
            <p:nvPr/>
          </p:nvSpPr>
          <p:spPr>
            <a:xfrm>
              <a:off x="4480560" y="4410720"/>
              <a:ext cx="153000" cy="12063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6" h="3352" fill="none">
                  <a:moveTo>
                    <a:pt x="0" y="0"/>
                  </a:moveTo>
                  <a:lnTo>
                    <a:pt x="426" y="505"/>
                  </a:lnTo>
                  <a:lnTo>
                    <a:pt x="426" y="680"/>
                  </a:lnTo>
                  <a:lnTo>
                    <a:pt x="9" y="248"/>
                  </a:lnTo>
                  <a:lnTo>
                    <a:pt x="9" y="335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4585319" y="4604400"/>
              <a:ext cx="0" cy="68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509544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514296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5189400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5237279" y="4254120"/>
              <a:ext cx="0" cy="976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68"/>
            <p:cNvSpPr/>
            <p:nvPr/>
          </p:nvSpPr>
          <p:spPr>
            <a:xfrm>
              <a:off x="4965120" y="4209480"/>
              <a:ext cx="554400" cy="112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41" h="3132" fill="none">
                  <a:moveTo>
                    <a:pt x="0" y="3132"/>
                  </a:moveTo>
                  <a:lnTo>
                    <a:pt x="0" y="0"/>
                  </a:lnTo>
                  <a:lnTo>
                    <a:pt x="1098" y="0"/>
                  </a:lnTo>
                  <a:lnTo>
                    <a:pt x="1098" y="1908"/>
                  </a:lnTo>
                  <a:lnTo>
                    <a:pt x="1541" y="190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Freeform: Shape 69"/>
            <p:cNvSpPr/>
            <p:nvPr/>
          </p:nvSpPr>
          <p:spPr>
            <a:xfrm>
              <a:off x="5239080" y="5090759"/>
              <a:ext cx="630720" cy="485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53" h="1349" fill="none">
                  <a:moveTo>
                    <a:pt x="0" y="514"/>
                  </a:moveTo>
                  <a:lnTo>
                    <a:pt x="0" y="0"/>
                  </a:lnTo>
                  <a:lnTo>
                    <a:pt x="1059" y="0"/>
                  </a:lnTo>
                  <a:lnTo>
                    <a:pt x="1059" y="1349"/>
                  </a:lnTo>
                  <a:lnTo>
                    <a:pt x="1753" y="88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Straight Connector 206"/>
            <p:cNvSpPr/>
            <p:nvPr/>
          </p:nvSpPr>
          <p:spPr>
            <a:xfrm>
              <a:off x="5522760" y="4630680"/>
              <a:ext cx="0" cy="452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71"/>
            <p:cNvSpPr/>
            <p:nvPr/>
          </p:nvSpPr>
          <p:spPr>
            <a:xfrm>
              <a:off x="5569200" y="4282560"/>
              <a:ext cx="82080" cy="80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2224" fill="none">
                  <a:moveTo>
                    <a:pt x="0" y="2224"/>
                  </a:moveTo>
                  <a:lnTo>
                    <a:pt x="0" y="0"/>
                  </a:lnTo>
                  <a:lnTo>
                    <a:pt x="229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72"/>
            <p:cNvSpPr/>
            <p:nvPr/>
          </p:nvSpPr>
          <p:spPr>
            <a:xfrm>
              <a:off x="5025240" y="3963600"/>
              <a:ext cx="275040" cy="200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65" h="559">
                  <a:moveTo>
                    <a:pt x="382" y="559"/>
                  </a:moveTo>
                  <a:lnTo>
                    <a:pt x="0" y="559"/>
                  </a:lnTo>
                  <a:lnTo>
                    <a:pt x="0" y="0"/>
                  </a:lnTo>
                  <a:lnTo>
                    <a:pt x="765" y="0"/>
                  </a:lnTo>
                  <a:lnTo>
                    <a:pt x="765" y="55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Straight Connector 209"/>
            <p:cNvSpPr/>
            <p:nvPr/>
          </p:nvSpPr>
          <p:spPr>
            <a:xfrm>
              <a:off x="5039280" y="3888360"/>
              <a:ext cx="2602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74"/>
            <p:cNvSpPr/>
            <p:nvPr/>
          </p:nvSpPr>
          <p:spPr>
            <a:xfrm>
              <a:off x="5062680" y="3632400"/>
              <a:ext cx="84960" cy="327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7" h="911">
                  <a:moveTo>
                    <a:pt x="0" y="911"/>
                  </a:moveTo>
                  <a:lnTo>
                    <a:pt x="0" y="717"/>
                  </a:lnTo>
                  <a:cubicBezTo>
                    <a:pt x="0" y="717"/>
                    <a:pt x="237" y="584"/>
                    <a:pt x="237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75"/>
            <p:cNvSpPr/>
            <p:nvPr/>
          </p:nvSpPr>
          <p:spPr>
            <a:xfrm>
              <a:off x="5193360" y="3629160"/>
              <a:ext cx="79920" cy="330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3" h="920">
                  <a:moveTo>
                    <a:pt x="3" y="0"/>
                  </a:moveTo>
                  <a:cubicBezTo>
                    <a:pt x="3" y="0"/>
                    <a:pt x="-45" y="455"/>
                    <a:pt x="223" y="726"/>
                  </a:cubicBezTo>
                  <a:lnTo>
                    <a:pt x="223" y="92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Straight Connector 212"/>
            <p:cNvSpPr/>
            <p:nvPr/>
          </p:nvSpPr>
          <p:spPr>
            <a:xfrm>
              <a:off x="5123880" y="3624120"/>
              <a:ext cx="92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5137920" y="358560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 flipV="1">
              <a:off x="5169240" y="3200760"/>
              <a:ext cx="0" cy="380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5142960" y="337644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80"/>
            <p:cNvSpPr/>
            <p:nvPr/>
          </p:nvSpPr>
          <p:spPr>
            <a:xfrm>
              <a:off x="4542479" y="5340960"/>
              <a:ext cx="720000" cy="242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01" h="674">
                  <a:moveTo>
                    <a:pt x="1001" y="674"/>
                  </a:moveTo>
                  <a:lnTo>
                    <a:pt x="0" y="674"/>
                  </a:lnTo>
                  <a:lnTo>
                    <a:pt x="0" y="0"/>
                  </a:lnTo>
                  <a:lnTo>
                    <a:pt x="2001" y="0"/>
                  </a:lnTo>
                  <a:lnTo>
                    <a:pt x="2001" y="6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Freeform: Shape 81"/>
            <p:cNvSpPr/>
            <p:nvPr/>
          </p:nvSpPr>
          <p:spPr>
            <a:xfrm>
              <a:off x="5844600" y="4279680"/>
              <a:ext cx="252720" cy="1171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3" h="3256" fill="none">
                  <a:moveTo>
                    <a:pt x="0" y="0"/>
                  </a:moveTo>
                  <a:lnTo>
                    <a:pt x="223" y="0"/>
                  </a:lnTo>
                  <a:lnTo>
                    <a:pt x="223" y="3256"/>
                  </a:lnTo>
                  <a:lnTo>
                    <a:pt x="703" y="3256"/>
                  </a:lnTo>
                  <a:lnTo>
                    <a:pt x="703" y="1100"/>
                  </a:lnTo>
                  <a:lnTo>
                    <a:pt x="234" y="110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82"/>
            <p:cNvSpPr/>
            <p:nvPr/>
          </p:nvSpPr>
          <p:spPr>
            <a:xfrm>
              <a:off x="5649480" y="4415760"/>
              <a:ext cx="192960" cy="636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7" h="1769" fill="none">
                  <a:moveTo>
                    <a:pt x="0" y="1763"/>
                  </a:moveTo>
                  <a:lnTo>
                    <a:pt x="0" y="0"/>
                  </a:lnTo>
                  <a:lnTo>
                    <a:pt x="537" y="0"/>
                  </a:lnTo>
                  <a:lnTo>
                    <a:pt x="537" y="17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Freeform: Shape 83"/>
            <p:cNvSpPr/>
            <p:nvPr/>
          </p:nvSpPr>
          <p:spPr>
            <a:xfrm>
              <a:off x="5714640" y="3956400"/>
              <a:ext cx="65520" cy="4517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3" h="1256">
                  <a:moveTo>
                    <a:pt x="0" y="1250"/>
                  </a:moveTo>
                  <a:lnTo>
                    <a:pt x="0" y="88"/>
                  </a:lnTo>
                  <a:cubicBezTo>
                    <a:pt x="0" y="88"/>
                    <a:pt x="-6" y="0"/>
                    <a:pt x="90" y="0"/>
                  </a:cubicBezTo>
                  <a:cubicBezTo>
                    <a:pt x="192" y="0"/>
                    <a:pt x="183" y="88"/>
                    <a:pt x="183" y="88"/>
                  </a:cubicBezTo>
                  <a:lnTo>
                    <a:pt x="183" y="125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Freeform: Shape 84"/>
            <p:cNvSpPr/>
            <p:nvPr/>
          </p:nvSpPr>
          <p:spPr>
            <a:xfrm>
              <a:off x="5657760" y="3903480"/>
              <a:ext cx="178920" cy="462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8" h="1287">
                  <a:moveTo>
                    <a:pt x="1" y="1287"/>
                  </a:moveTo>
                  <a:lnTo>
                    <a:pt x="1" y="218"/>
                  </a:lnTo>
                  <a:cubicBezTo>
                    <a:pt x="1" y="218"/>
                    <a:pt x="-25" y="0"/>
                    <a:pt x="249" y="0"/>
                  </a:cubicBezTo>
                  <a:cubicBezTo>
                    <a:pt x="522" y="0"/>
                    <a:pt x="498" y="221"/>
                    <a:pt x="498" y="221"/>
                  </a:cubicBezTo>
                  <a:lnTo>
                    <a:pt x="498" y="12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Freeform: Shape 85"/>
            <p:cNvSpPr/>
            <p:nvPr/>
          </p:nvSpPr>
          <p:spPr>
            <a:xfrm>
              <a:off x="5616000" y="3839760"/>
              <a:ext cx="261000" cy="439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6" h="1222">
                  <a:moveTo>
                    <a:pt x="0" y="1222"/>
                  </a:moveTo>
                  <a:lnTo>
                    <a:pt x="0" y="200"/>
                  </a:lnTo>
                  <a:lnTo>
                    <a:pt x="141" y="200"/>
                  </a:lnTo>
                  <a:cubicBezTo>
                    <a:pt x="141" y="200"/>
                    <a:pt x="178" y="0"/>
                    <a:pt x="361" y="0"/>
                  </a:cubicBezTo>
                  <a:cubicBezTo>
                    <a:pt x="542" y="0"/>
                    <a:pt x="579" y="197"/>
                    <a:pt x="579" y="197"/>
                  </a:cubicBezTo>
                  <a:lnTo>
                    <a:pt x="726" y="197"/>
                  </a:lnTo>
                  <a:lnTo>
                    <a:pt x="726" y="12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Freeform: Shape 86"/>
            <p:cNvSpPr/>
            <p:nvPr/>
          </p:nvSpPr>
          <p:spPr>
            <a:xfrm>
              <a:off x="5650560" y="3751200"/>
              <a:ext cx="78840" cy="155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0" h="432">
                  <a:moveTo>
                    <a:pt x="0" y="432"/>
                  </a:moveTo>
                  <a:cubicBezTo>
                    <a:pt x="0" y="432"/>
                    <a:pt x="-5" y="79"/>
                    <a:pt x="22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Freeform: Shape 87"/>
            <p:cNvSpPr/>
            <p:nvPr/>
          </p:nvSpPr>
          <p:spPr>
            <a:xfrm>
              <a:off x="5766480" y="3752280"/>
              <a:ext cx="77760" cy="156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437">
                  <a:moveTo>
                    <a:pt x="0" y="0"/>
                  </a:moveTo>
                  <a:cubicBezTo>
                    <a:pt x="0" y="0"/>
                    <a:pt x="217" y="39"/>
                    <a:pt x="217" y="437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Freeform: Shape 88"/>
            <p:cNvSpPr/>
            <p:nvPr/>
          </p:nvSpPr>
          <p:spPr>
            <a:xfrm>
              <a:off x="5689080" y="3663000"/>
              <a:ext cx="11664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25" h="321">
                  <a:moveTo>
                    <a:pt x="0" y="302"/>
                  </a:moveTo>
                  <a:cubicBezTo>
                    <a:pt x="0" y="302"/>
                    <a:pt x="3" y="90"/>
                    <a:pt x="167" y="0"/>
                  </a:cubicBezTo>
                  <a:cubicBezTo>
                    <a:pt x="167" y="0"/>
                    <a:pt x="322" y="64"/>
                    <a:pt x="325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 flipV="1">
              <a:off x="5749200" y="3480120"/>
              <a:ext cx="0" cy="181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5705640" y="5169240"/>
              <a:ext cx="0" cy="263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Freeform: Shape 91"/>
            <p:cNvSpPr/>
            <p:nvPr/>
          </p:nvSpPr>
          <p:spPr>
            <a:xfrm>
              <a:off x="7290360" y="4978080"/>
              <a:ext cx="515879" cy="636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4" h="1769">
                  <a:moveTo>
                    <a:pt x="717" y="1769"/>
                  </a:moveTo>
                  <a:lnTo>
                    <a:pt x="0" y="1769"/>
                  </a:lnTo>
                  <a:lnTo>
                    <a:pt x="0" y="0"/>
                  </a:lnTo>
                  <a:lnTo>
                    <a:pt x="1434" y="0"/>
                  </a:lnTo>
                  <a:lnTo>
                    <a:pt x="1434" y="17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Freeform: Shape 92"/>
            <p:cNvSpPr/>
            <p:nvPr/>
          </p:nvSpPr>
          <p:spPr>
            <a:xfrm>
              <a:off x="7873560" y="4957920"/>
              <a:ext cx="134640" cy="664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5" h="1848">
                  <a:moveTo>
                    <a:pt x="188" y="1848"/>
                  </a:moveTo>
                  <a:lnTo>
                    <a:pt x="0" y="1848"/>
                  </a:lnTo>
                  <a:lnTo>
                    <a:pt x="0" y="0"/>
                  </a:lnTo>
                  <a:lnTo>
                    <a:pt x="375" y="0"/>
                  </a:lnTo>
                  <a:lnTo>
                    <a:pt x="375" y="1848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Freeform: Shape 93"/>
            <p:cNvSpPr/>
            <p:nvPr/>
          </p:nvSpPr>
          <p:spPr>
            <a:xfrm>
              <a:off x="6774120" y="5575320"/>
              <a:ext cx="66960" cy="92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7" h="257">
                  <a:moveTo>
                    <a:pt x="94" y="257"/>
                  </a:moveTo>
                  <a:cubicBezTo>
                    <a:pt x="43" y="257"/>
                    <a:pt x="0" y="215"/>
                    <a:pt x="0" y="164"/>
                  </a:cubicBezTo>
                  <a:lnTo>
                    <a:pt x="0" y="94"/>
                  </a:lnTo>
                  <a:cubicBezTo>
                    <a:pt x="0" y="43"/>
                    <a:pt x="43" y="0"/>
                    <a:pt x="94" y="0"/>
                  </a:cubicBezTo>
                  <a:cubicBezTo>
                    <a:pt x="144" y="0"/>
                    <a:pt x="187" y="43"/>
                    <a:pt x="187" y="94"/>
                  </a:cubicBezTo>
                  <a:lnTo>
                    <a:pt x="187" y="164"/>
                  </a:lnTo>
                  <a:cubicBezTo>
                    <a:pt x="187" y="215"/>
                    <a:pt x="144" y="257"/>
                    <a:pt x="94" y="25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Straight Connector 230"/>
            <p:cNvSpPr/>
            <p:nvPr/>
          </p:nvSpPr>
          <p:spPr>
            <a:xfrm>
              <a:off x="5510520" y="5680079"/>
              <a:ext cx="712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95"/>
            <p:cNvSpPr/>
            <p:nvPr/>
          </p:nvSpPr>
          <p:spPr>
            <a:xfrm>
              <a:off x="5834520" y="4135320"/>
              <a:ext cx="876239" cy="1562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5" h="4340" fill="none">
                  <a:moveTo>
                    <a:pt x="1245" y="4340"/>
                  </a:moveTo>
                  <a:lnTo>
                    <a:pt x="1245" y="4080"/>
                  </a:lnTo>
                  <a:lnTo>
                    <a:pt x="0" y="4080"/>
                  </a:lnTo>
                  <a:lnTo>
                    <a:pt x="308" y="3877"/>
                  </a:lnTo>
                  <a:lnTo>
                    <a:pt x="1002" y="3877"/>
                  </a:lnTo>
                  <a:lnTo>
                    <a:pt x="1002" y="367"/>
                  </a:lnTo>
                  <a:lnTo>
                    <a:pt x="1357" y="0"/>
                  </a:lnTo>
                  <a:lnTo>
                    <a:pt x="2054" y="0"/>
                  </a:lnTo>
                  <a:lnTo>
                    <a:pt x="2435" y="243"/>
                  </a:lnTo>
                  <a:lnTo>
                    <a:pt x="2435" y="32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Straight Connector 232"/>
            <p:cNvSpPr/>
            <p:nvPr/>
          </p:nvSpPr>
          <p:spPr>
            <a:xfrm>
              <a:off x="6335280" y="4214520"/>
              <a:ext cx="0" cy="1013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6410520" y="4204440"/>
              <a:ext cx="89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Freeform: Shape 98"/>
            <p:cNvSpPr/>
            <p:nvPr/>
          </p:nvSpPr>
          <p:spPr>
            <a:xfrm>
              <a:off x="6573960" y="4135320"/>
              <a:ext cx="330840" cy="1173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0" h="3262" fill="none">
                  <a:moveTo>
                    <a:pt x="0" y="0"/>
                  </a:moveTo>
                  <a:lnTo>
                    <a:pt x="0" y="3262"/>
                  </a:lnTo>
                  <a:lnTo>
                    <a:pt x="920" y="32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6775200" y="5112360"/>
              <a:ext cx="0" cy="18971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Freeform: Shape 100"/>
            <p:cNvSpPr/>
            <p:nvPr/>
          </p:nvSpPr>
          <p:spPr>
            <a:xfrm>
              <a:off x="6239880" y="5280840"/>
              <a:ext cx="137880" cy="324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4" h="903">
                  <a:moveTo>
                    <a:pt x="0" y="48"/>
                  </a:moveTo>
                  <a:lnTo>
                    <a:pt x="0" y="612"/>
                  </a:lnTo>
                  <a:lnTo>
                    <a:pt x="384" y="903"/>
                  </a:lnTo>
                  <a:lnTo>
                    <a:pt x="384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Straight Connector 237"/>
            <p:cNvSpPr/>
            <p:nvPr/>
          </p:nvSpPr>
          <p:spPr>
            <a:xfrm>
              <a:off x="6433920" y="5569560"/>
              <a:ext cx="300600" cy="15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Freeform: Shape 102"/>
            <p:cNvSpPr/>
            <p:nvPr/>
          </p:nvSpPr>
          <p:spPr>
            <a:xfrm>
              <a:off x="6325200" y="5683320"/>
              <a:ext cx="265680" cy="69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94">
                  <a:moveTo>
                    <a:pt x="0" y="194"/>
                  </a:moveTo>
                  <a:cubicBezTo>
                    <a:pt x="0" y="87"/>
                    <a:pt x="88" y="0"/>
                    <a:pt x="195" y="0"/>
                  </a:cubicBezTo>
                  <a:lnTo>
                    <a:pt x="545" y="0"/>
                  </a:lnTo>
                  <a:cubicBezTo>
                    <a:pt x="652" y="0"/>
                    <a:pt x="739" y="87"/>
                    <a:pt x="739" y="19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Freeform: Shape 103"/>
            <p:cNvSpPr/>
            <p:nvPr/>
          </p:nvSpPr>
          <p:spPr>
            <a:xfrm>
              <a:off x="6630120" y="5458680"/>
              <a:ext cx="653760" cy="69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817" h="195" fill="none">
                  <a:moveTo>
                    <a:pt x="194" y="0"/>
                  </a:moveTo>
                  <a:lnTo>
                    <a:pt x="0" y="195"/>
                  </a:lnTo>
                  <a:lnTo>
                    <a:pt x="1817" y="19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Freeform: Shape 104"/>
            <p:cNvSpPr/>
            <p:nvPr/>
          </p:nvSpPr>
          <p:spPr>
            <a:xfrm>
              <a:off x="6915600" y="5178240"/>
              <a:ext cx="373320" cy="288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8" h="801" fill="none">
                  <a:moveTo>
                    <a:pt x="714" y="0"/>
                  </a:moveTo>
                  <a:lnTo>
                    <a:pt x="0" y="0"/>
                  </a:lnTo>
                  <a:lnTo>
                    <a:pt x="0" y="801"/>
                  </a:lnTo>
                  <a:lnTo>
                    <a:pt x="1038" y="80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Freeform: Shape 105"/>
            <p:cNvSpPr/>
            <p:nvPr/>
          </p:nvSpPr>
          <p:spPr>
            <a:xfrm>
              <a:off x="7174439" y="5074560"/>
              <a:ext cx="111600" cy="38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11" h="1070" fill="none">
                  <a:moveTo>
                    <a:pt x="0" y="1070"/>
                  </a:moveTo>
                  <a:lnTo>
                    <a:pt x="0" y="0"/>
                  </a:lnTo>
                  <a:lnTo>
                    <a:pt x="311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106"/>
            <p:cNvSpPr/>
            <p:nvPr/>
          </p:nvSpPr>
          <p:spPr>
            <a:xfrm>
              <a:off x="7403040" y="4898880"/>
              <a:ext cx="28404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0" h="214" fill="none">
                  <a:moveTo>
                    <a:pt x="0" y="209"/>
                  </a:moveTo>
                  <a:lnTo>
                    <a:pt x="0" y="0"/>
                  </a:lnTo>
                  <a:lnTo>
                    <a:pt x="790" y="0"/>
                  </a:lnTo>
                  <a:lnTo>
                    <a:pt x="790" y="2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Freeform: Shape 107"/>
            <p:cNvSpPr/>
            <p:nvPr/>
          </p:nvSpPr>
          <p:spPr>
            <a:xfrm>
              <a:off x="7574760" y="4848120"/>
              <a:ext cx="49320" cy="47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8" h="133" fill="none">
                  <a:moveTo>
                    <a:pt x="0" y="133"/>
                  </a:moveTo>
                  <a:lnTo>
                    <a:pt x="0" y="0"/>
                  </a:lnTo>
                  <a:lnTo>
                    <a:pt x="138" y="0"/>
                  </a:lnTo>
                  <a:lnTo>
                    <a:pt x="138" y="12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Straight Connector 244"/>
            <p:cNvSpPr/>
            <p:nvPr/>
          </p:nvSpPr>
          <p:spPr>
            <a:xfrm>
              <a:off x="7744320" y="5073480"/>
              <a:ext cx="0" cy="412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Straight Connector 245"/>
            <p:cNvSpPr/>
            <p:nvPr/>
          </p:nvSpPr>
          <p:spPr>
            <a:xfrm>
              <a:off x="7820640" y="5380560"/>
              <a:ext cx="43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Straight Connector 246"/>
            <p:cNvSpPr/>
            <p:nvPr/>
          </p:nvSpPr>
          <p:spPr>
            <a:xfrm>
              <a:off x="8219880" y="5549040"/>
              <a:ext cx="0" cy="88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Straight Connector 247"/>
            <p:cNvSpPr/>
            <p:nvPr/>
          </p:nvSpPr>
          <p:spPr>
            <a:xfrm>
              <a:off x="8786880" y="5693400"/>
              <a:ext cx="0" cy="88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112"/>
            <p:cNvSpPr/>
            <p:nvPr/>
          </p:nvSpPr>
          <p:spPr>
            <a:xfrm>
              <a:off x="8052479" y="5644440"/>
              <a:ext cx="23004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0" h="311" fill="none">
                  <a:moveTo>
                    <a:pt x="0" y="311"/>
                  </a:moveTo>
                  <a:lnTo>
                    <a:pt x="0" y="0"/>
                  </a:lnTo>
                  <a:lnTo>
                    <a:pt x="640" y="0"/>
                  </a:lnTo>
                  <a:lnTo>
                    <a:pt x="640" y="30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113"/>
            <p:cNvSpPr/>
            <p:nvPr/>
          </p:nvSpPr>
          <p:spPr>
            <a:xfrm>
              <a:off x="7600320" y="5686200"/>
              <a:ext cx="272880" cy="83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9" h="234">
                  <a:moveTo>
                    <a:pt x="0" y="217"/>
                  </a:moveTo>
                  <a:cubicBezTo>
                    <a:pt x="0" y="99"/>
                    <a:pt x="96" y="0"/>
                    <a:pt x="217" y="0"/>
                  </a:cubicBezTo>
                  <a:lnTo>
                    <a:pt x="525" y="0"/>
                  </a:lnTo>
                  <a:cubicBezTo>
                    <a:pt x="654" y="0"/>
                    <a:pt x="759" y="104"/>
                    <a:pt x="759" y="23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Straight Connector 250"/>
            <p:cNvSpPr/>
            <p:nvPr/>
          </p:nvSpPr>
          <p:spPr>
            <a:xfrm>
              <a:off x="7081200" y="5584680"/>
              <a:ext cx="0" cy="83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Straight Connector 251"/>
            <p:cNvSpPr/>
            <p:nvPr/>
          </p:nvSpPr>
          <p:spPr>
            <a:xfrm>
              <a:off x="7151040" y="5577480"/>
              <a:ext cx="0" cy="114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Straight Connector 252"/>
            <p:cNvSpPr/>
            <p:nvPr/>
          </p:nvSpPr>
          <p:spPr>
            <a:xfrm>
              <a:off x="6996600" y="5111279"/>
              <a:ext cx="0" cy="658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117"/>
            <p:cNvSpPr/>
            <p:nvPr/>
          </p:nvSpPr>
          <p:spPr>
            <a:xfrm>
              <a:off x="8174160" y="4755600"/>
              <a:ext cx="694800" cy="69443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31" h="1930">
                  <a:moveTo>
                    <a:pt x="1931" y="965"/>
                  </a:moveTo>
                  <a:cubicBezTo>
                    <a:pt x="1931" y="1143"/>
                    <a:pt x="1890" y="1294"/>
                    <a:pt x="1801" y="1448"/>
                  </a:cubicBezTo>
                  <a:cubicBezTo>
                    <a:pt x="1712" y="1602"/>
                    <a:pt x="1602" y="1712"/>
                    <a:pt x="1448" y="1801"/>
                  </a:cubicBezTo>
                  <a:cubicBezTo>
                    <a:pt x="1294" y="1890"/>
                    <a:pt x="1142" y="1930"/>
                    <a:pt x="965" y="1930"/>
                  </a:cubicBezTo>
                  <a:cubicBezTo>
                    <a:pt x="787" y="1930"/>
                    <a:pt x="637" y="1890"/>
                    <a:pt x="483" y="1801"/>
                  </a:cubicBezTo>
                  <a:cubicBezTo>
                    <a:pt x="329" y="1712"/>
                    <a:pt x="218" y="1602"/>
                    <a:pt x="130" y="1448"/>
                  </a:cubicBezTo>
                  <a:cubicBezTo>
                    <a:pt x="41" y="1294"/>
                    <a:pt x="0" y="1142"/>
                    <a:pt x="0" y="965"/>
                  </a:cubicBezTo>
                  <a:cubicBezTo>
                    <a:pt x="0" y="787"/>
                    <a:pt x="41" y="637"/>
                    <a:pt x="130" y="483"/>
                  </a:cubicBezTo>
                  <a:cubicBezTo>
                    <a:pt x="218" y="329"/>
                    <a:pt x="329" y="217"/>
                    <a:pt x="483" y="129"/>
                  </a:cubicBezTo>
                  <a:cubicBezTo>
                    <a:pt x="637" y="40"/>
                    <a:pt x="788" y="0"/>
                    <a:pt x="965" y="0"/>
                  </a:cubicBezTo>
                  <a:cubicBezTo>
                    <a:pt x="1143" y="0"/>
                    <a:pt x="1294" y="40"/>
                    <a:pt x="1448" y="129"/>
                  </a:cubicBezTo>
                  <a:cubicBezTo>
                    <a:pt x="1602" y="217"/>
                    <a:pt x="1712" y="329"/>
                    <a:pt x="1801" y="483"/>
                  </a:cubicBezTo>
                  <a:cubicBezTo>
                    <a:pt x="1890" y="637"/>
                    <a:pt x="1931" y="788"/>
                    <a:pt x="1931" y="965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Straight Connector 254"/>
            <p:cNvSpPr/>
            <p:nvPr/>
          </p:nvSpPr>
          <p:spPr>
            <a:xfrm>
              <a:off x="8521560" y="4740480"/>
              <a:ext cx="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Straight Connector 255"/>
            <p:cNvSpPr/>
            <p:nvPr/>
          </p:nvSpPr>
          <p:spPr>
            <a:xfrm>
              <a:off x="8521560" y="5434200"/>
              <a:ext cx="0" cy="45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Straight Connector 256"/>
            <p:cNvSpPr/>
            <p:nvPr/>
          </p:nvSpPr>
          <p:spPr>
            <a:xfrm>
              <a:off x="8381519" y="4767839"/>
              <a:ext cx="17281" cy="4248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Straight Connector 257"/>
            <p:cNvSpPr/>
            <p:nvPr/>
          </p:nvSpPr>
          <p:spPr>
            <a:xfrm>
              <a:off x="8644680" y="5409720"/>
              <a:ext cx="17280" cy="4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Straight Connector 258"/>
            <p:cNvSpPr/>
            <p:nvPr/>
          </p:nvSpPr>
          <p:spPr>
            <a:xfrm>
              <a:off x="8258399" y="4850280"/>
              <a:ext cx="32761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Straight Connector 259"/>
            <p:cNvSpPr/>
            <p:nvPr/>
          </p:nvSpPr>
          <p:spPr>
            <a:xfrm>
              <a:off x="8752320" y="5337720"/>
              <a:ext cx="32400" cy="31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Straight Connector 260"/>
            <p:cNvSpPr/>
            <p:nvPr/>
          </p:nvSpPr>
          <p:spPr>
            <a:xfrm>
              <a:off x="8179200" y="4970880"/>
              <a:ext cx="41760" cy="16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Straight Connector 261"/>
            <p:cNvSpPr/>
            <p:nvPr/>
          </p:nvSpPr>
          <p:spPr>
            <a:xfrm>
              <a:off x="8822520" y="5232240"/>
              <a:ext cx="42480" cy="17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Straight Connector 262"/>
            <p:cNvSpPr/>
            <p:nvPr/>
          </p:nvSpPr>
          <p:spPr>
            <a:xfrm>
              <a:off x="8845920" y="5111279"/>
              <a:ext cx="45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Straight Connector 263"/>
            <p:cNvSpPr/>
            <p:nvPr/>
          </p:nvSpPr>
          <p:spPr>
            <a:xfrm>
              <a:off x="8151840" y="5111279"/>
              <a:ext cx="446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Straight Connector 264"/>
            <p:cNvSpPr/>
            <p:nvPr/>
          </p:nvSpPr>
          <p:spPr>
            <a:xfrm flipV="1">
              <a:off x="8178480" y="5232240"/>
              <a:ext cx="42480" cy="162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Straight Connector 265"/>
            <p:cNvSpPr/>
            <p:nvPr/>
          </p:nvSpPr>
          <p:spPr>
            <a:xfrm flipV="1">
              <a:off x="8822520" y="4970880"/>
              <a:ext cx="42480" cy="17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Straight Connector 266"/>
            <p:cNvSpPr/>
            <p:nvPr/>
          </p:nvSpPr>
          <p:spPr>
            <a:xfrm flipH="1">
              <a:off x="8750160" y="4847040"/>
              <a:ext cx="31680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Straight Connector 267"/>
            <p:cNvSpPr/>
            <p:nvPr/>
          </p:nvSpPr>
          <p:spPr>
            <a:xfrm flipH="1">
              <a:off x="8261639" y="5340960"/>
              <a:ext cx="32401" cy="32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Straight Connector 268"/>
            <p:cNvSpPr/>
            <p:nvPr/>
          </p:nvSpPr>
          <p:spPr>
            <a:xfrm flipH="1">
              <a:off x="8651880" y="4770720"/>
              <a:ext cx="18000" cy="41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Straight Connector 269"/>
            <p:cNvSpPr/>
            <p:nvPr/>
          </p:nvSpPr>
          <p:spPr>
            <a:xfrm flipH="1">
              <a:off x="8373240" y="5406840"/>
              <a:ext cx="18360" cy="41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134"/>
            <p:cNvSpPr/>
            <p:nvPr/>
          </p:nvSpPr>
          <p:spPr>
            <a:xfrm>
              <a:off x="8429400" y="5096880"/>
              <a:ext cx="217800" cy="648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06" h="1801" fill="none">
                  <a:moveTo>
                    <a:pt x="606" y="1801"/>
                  </a:moveTo>
                  <a:lnTo>
                    <a:pt x="262" y="0"/>
                  </a:lnTo>
                  <a:lnTo>
                    <a:pt x="0" y="14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15120" tIns="15120" rIns="15120" bIns="1512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66864755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6435749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2763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3598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5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08101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23767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25239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17249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89628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61768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735780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76175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43351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1"/>
            <a:ext cx="0" cy="3984625"/>
          </a:xfrm>
          <a:prstGeom prst="line">
            <a:avLst/>
          </a:prstGeom>
          <a:ln w="38100" cap="flat" cmpd="sng">
            <a:solidFill>
              <a:srgbClr val="004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61"/>
            <a:ext cx="3820348" cy="2265389"/>
          </a:xfrm>
        </p:spPr>
        <p:txBody>
          <a:bodyPr lIns="61715" tIns="34288" rIns="61715" bIns="34288" rtlCol="0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55555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2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326651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151952" y="3800884"/>
            <a:ext cx="8840097" cy="1216152"/>
            <a:chOff x="-5539320" y="3765960"/>
            <a:chExt cx="9964800" cy="1370880"/>
          </a:xfrm>
        </p:grpSpPr>
        <p:sp>
          <p:nvSpPr>
            <p:cNvPr id="7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2407269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Whit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 userDrawn="1"/>
        </p:nvGrpSpPr>
        <p:grpSpPr>
          <a:xfrm>
            <a:off x="151952" y="3800884"/>
            <a:ext cx="8840097" cy="1216152"/>
            <a:chOff x="-5539320" y="3765960"/>
            <a:chExt cx="9964800" cy="1370880"/>
          </a:xfrm>
        </p:grpSpPr>
        <p:sp>
          <p:nvSpPr>
            <p:cNvPr id="7" name="Freeform: Shape 2"/>
            <p:cNvSpPr/>
            <p:nvPr/>
          </p:nvSpPr>
          <p:spPr>
            <a:xfrm>
              <a:off x="-777239" y="4393080"/>
              <a:ext cx="321840" cy="32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95" h="895">
                  <a:moveTo>
                    <a:pt x="895" y="448"/>
                  </a:moveTo>
                  <a:cubicBezTo>
                    <a:pt x="895" y="530"/>
                    <a:pt x="876" y="600"/>
                    <a:pt x="835" y="672"/>
                  </a:cubicBezTo>
                  <a:cubicBezTo>
                    <a:pt x="794" y="743"/>
                    <a:pt x="742" y="793"/>
                    <a:pt x="671" y="835"/>
                  </a:cubicBezTo>
                  <a:cubicBezTo>
                    <a:pt x="599" y="876"/>
                    <a:pt x="529" y="895"/>
                    <a:pt x="447" y="895"/>
                  </a:cubicBezTo>
                  <a:cubicBezTo>
                    <a:pt x="364" y="895"/>
                    <a:pt x="294" y="876"/>
                    <a:pt x="223" y="835"/>
                  </a:cubicBezTo>
                  <a:cubicBezTo>
                    <a:pt x="151" y="793"/>
                    <a:pt x="101" y="743"/>
                    <a:pt x="60" y="672"/>
                  </a:cubicBezTo>
                  <a:cubicBezTo>
                    <a:pt x="18" y="600"/>
                    <a:pt x="0" y="530"/>
                    <a:pt x="0" y="448"/>
                  </a:cubicBezTo>
                  <a:cubicBezTo>
                    <a:pt x="0" y="365"/>
                    <a:pt x="18" y="295"/>
                    <a:pt x="60" y="224"/>
                  </a:cubicBezTo>
                  <a:cubicBezTo>
                    <a:pt x="101" y="153"/>
                    <a:pt x="151" y="101"/>
                    <a:pt x="223" y="60"/>
                  </a:cubicBezTo>
                  <a:cubicBezTo>
                    <a:pt x="294" y="19"/>
                    <a:pt x="365" y="0"/>
                    <a:pt x="447" y="0"/>
                  </a:cubicBezTo>
                  <a:cubicBezTo>
                    <a:pt x="530" y="0"/>
                    <a:pt x="599" y="19"/>
                    <a:pt x="671" y="60"/>
                  </a:cubicBezTo>
                  <a:cubicBezTo>
                    <a:pt x="742" y="101"/>
                    <a:pt x="794" y="153"/>
                    <a:pt x="835" y="224"/>
                  </a:cubicBezTo>
                  <a:cubicBezTo>
                    <a:pt x="876" y="295"/>
                    <a:pt x="895" y="365"/>
                    <a:pt x="895" y="44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" name="Straight Connector 7"/>
            <p:cNvSpPr/>
            <p:nvPr/>
          </p:nvSpPr>
          <p:spPr>
            <a:xfrm>
              <a:off x="-616320" y="4386240"/>
              <a:ext cx="0" cy="212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" name="Straight Connector 8"/>
            <p:cNvSpPr/>
            <p:nvPr/>
          </p:nvSpPr>
          <p:spPr>
            <a:xfrm>
              <a:off x="-616320" y="4707360"/>
              <a:ext cx="0" cy="2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" name="Straight Connector 9"/>
            <p:cNvSpPr/>
            <p:nvPr/>
          </p:nvSpPr>
          <p:spPr>
            <a:xfrm flipH="1">
              <a:off x="-559080" y="4399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" name="Straight Connector 10"/>
            <p:cNvSpPr/>
            <p:nvPr/>
          </p:nvSpPr>
          <p:spPr>
            <a:xfrm flipH="1">
              <a:off x="-681120" y="4696200"/>
              <a:ext cx="792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" name="Straight Connector 11"/>
            <p:cNvSpPr/>
            <p:nvPr/>
          </p:nvSpPr>
          <p:spPr>
            <a:xfrm flipH="1">
              <a:off x="-509399" y="44373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" name="Straight Connector 12"/>
            <p:cNvSpPr/>
            <p:nvPr/>
          </p:nvSpPr>
          <p:spPr>
            <a:xfrm flipH="1">
              <a:off x="-737999" y="4663080"/>
              <a:ext cx="15119" cy="14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" name="Straight Connector 13"/>
            <p:cNvSpPr/>
            <p:nvPr/>
          </p:nvSpPr>
          <p:spPr>
            <a:xfrm flipH="1">
              <a:off x="-477360" y="4492800"/>
              <a:ext cx="1944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" name="Straight Connector 14"/>
            <p:cNvSpPr/>
            <p:nvPr/>
          </p:nvSpPr>
          <p:spPr>
            <a:xfrm flipH="1">
              <a:off x="-775080" y="46137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Straight Connector 15"/>
            <p:cNvSpPr/>
            <p:nvPr/>
          </p:nvSpPr>
          <p:spPr>
            <a:xfrm flipH="1">
              <a:off x="-466560" y="4556880"/>
              <a:ext cx="21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Straight Connector 16"/>
            <p:cNvSpPr/>
            <p:nvPr/>
          </p:nvSpPr>
          <p:spPr>
            <a:xfrm flipH="1">
              <a:off x="-787320" y="4557600"/>
              <a:ext cx="208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Straight Connector 17"/>
            <p:cNvSpPr/>
            <p:nvPr/>
          </p:nvSpPr>
          <p:spPr>
            <a:xfrm flipH="1" flipV="1">
              <a:off x="-477360" y="4613760"/>
              <a:ext cx="19801" cy="75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Straight Connector 18"/>
            <p:cNvSpPr/>
            <p:nvPr/>
          </p:nvSpPr>
          <p:spPr>
            <a:xfrm flipH="1" flipV="1">
              <a:off x="-775080" y="4493160"/>
              <a:ext cx="19800" cy="7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Straight Connector 19"/>
            <p:cNvSpPr/>
            <p:nvPr/>
          </p:nvSpPr>
          <p:spPr>
            <a:xfrm>
              <a:off x="-736559" y="443592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Straight Connector 20"/>
            <p:cNvSpPr/>
            <p:nvPr/>
          </p:nvSpPr>
          <p:spPr>
            <a:xfrm>
              <a:off x="-510839" y="4664160"/>
              <a:ext cx="14759" cy="147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Straight Connector 21"/>
            <p:cNvSpPr/>
            <p:nvPr/>
          </p:nvSpPr>
          <p:spPr>
            <a:xfrm>
              <a:off x="-685079" y="4400639"/>
              <a:ext cx="8639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Straight Connector 22"/>
            <p:cNvSpPr/>
            <p:nvPr/>
          </p:nvSpPr>
          <p:spPr>
            <a:xfrm>
              <a:off x="-555840" y="4694759"/>
              <a:ext cx="828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9"/>
            <p:cNvSpPr/>
            <p:nvPr/>
          </p:nvSpPr>
          <p:spPr>
            <a:xfrm>
              <a:off x="-667080" y="4551120"/>
              <a:ext cx="100800" cy="29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81" h="834" fill="none">
                  <a:moveTo>
                    <a:pt x="0" y="834"/>
                  </a:moveTo>
                  <a:lnTo>
                    <a:pt x="159" y="0"/>
                  </a:lnTo>
                  <a:lnTo>
                    <a:pt x="281" y="65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Straight Connector 24"/>
            <p:cNvSpPr/>
            <p:nvPr/>
          </p:nvSpPr>
          <p:spPr>
            <a:xfrm>
              <a:off x="-765000" y="4831200"/>
              <a:ext cx="0" cy="10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" name="Freeform: Shape 21"/>
            <p:cNvSpPr/>
            <p:nvPr/>
          </p:nvSpPr>
          <p:spPr>
            <a:xfrm>
              <a:off x="-37548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" name="Freeform: Shape 22"/>
            <p:cNvSpPr/>
            <p:nvPr/>
          </p:nvSpPr>
          <p:spPr>
            <a:xfrm>
              <a:off x="-3441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60" y="0"/>
                  </a:lnTo>
                  <a:cubicBezTo>
                    <a:pt x="206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" name="Straight Connector 27"/>
            <p:cNvSpPr/>
            <p:nvPr/>
          </p:nvSpPr>
          <p:spPr>
            <a:xfrm>
              <a:off x="-353880" y="4683240"/>
              <a:ext cx="106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" name="Freeform: Shape 24"/>
            <p:cNvSpPr/>
            <p:nvPr/>
          </p:nvSpPr>
          <p:spPr>
            <a:xfrm>
              <a:off x="-737280" y="4592880"/>
              <a:ext cx="35532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8" h="860">
                  <a:moveTo>
                    <a:pt x="988" y="0"/>
                  </a:moveTo>
                  <a:cubicBezTo>
                    <a:pt x="909" y="478"/>
                    <a:pt x="499" y="846"/>
                    <a:pt x="0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-563400" y="4858560"/>
              <a:ext cx="170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" name="Freeform: Shape 26"/>
            <p:cNvSpPr/>
            <p:nvPr/>
          </p:nvSpPr>
          <p:spPr>
            <a:xfrm>
              <a:off x="314280" y="4592880"/>
              <a:ext cx="354960" cy="30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87" h="860">
                  <a:moveTo>
                    <a:pt x="0" y="0"/>
                  </a:moveTo>
                  <a:cubicBezTo>
                    <a:pt x="79" y="478"/>
                    <a:pt x="489" y="846"/>
                    <a:pt x="987" y="86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" name="Straight Connector 31"/>
            <p:cNvSpPr/>
            <p:nvPr/>
          </p:nvSpPr>
          <p:spPr>
            <a:xfrm flipH="1">
              <a:off x="325080" y="4858560"/>
              <a:ext cx="171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" name="Straight Connector 32"/>
            <p:cNvSpPr/>
            <p:nvPr/>
          </p:nvSpPr>
          <p:spPr>
            <a:xfrm>
              <a:off x="-723959" y="4946040"/>
              <a:ext cx="201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" name="Straight Connector 33"/>
            <p:cNvSpPr/>
            <p:nvPr/>
          </p:nvSpPr>
          <p:spPr>
            <a:xfrm>
              <a:off x="-225720" y="46026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" name="Straight Connector 34"/>
            <p:cNvSpPr/>
            <p:nvPr/>
          </p:nvSpPr>
          <p:spPr>
            <a:xfrm>
              <a:off x="-225720" y="462780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" name="Straight Connector 35"/>
            <p:cNvSpPr/>
            <p:nvPr/>
          </p:nvSpPr>
          <p:spPr>
            <a:xfrm>
              <a:off x="-225720" y="46756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" name="Straight Connector 36"/>
            <p:cNvSpPr/>
            <p:nvPr/>
          </p:nvSpPr>
          <p:spPr>
            <a:xfrm>
              <a:off x="-225720" y="484632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" name="Straight Connector 37"/>
            <p:cNvSpPr/>
            <p:nvPr/>
          </p:nvSpPr>
          <p:spPr>
            <a:xfrm>
              <a:off x="-225720" y="4895280"/>
              <a:ext cx="380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" name="Freeform: Shape 34"/>
            <p:cNvSpPr/>
            <p:nvPr/>
          </p:nvSpPr>
          <p:spPr>
            <a:xfrm>
              <a:off x="-37872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2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" name="Freeform: Shape 35"/>
            <p:cNvSpPr/>
            <p:nvPr/>
          </p:nvSpPr>
          <p:spPr>
            <a:xfrm>
              <a:off x="-25776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0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" name="Freeform: Shape 36"/>
            <p:cNvSpPr/>
            <p:nvPr/>
          </p:nvSpPr>
          <p:spPr>
            <a:xfrm>
              <a:off x="-35460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49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" name="Freeform: Shape 37"/>
            <p:cNvSpPr/>
            <p:nvPr/>
          </p:nvSpPr>
          <p:spPr>
            <a:xfrm>
              <a:off x="-31464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" name="Freeform: Shape 38"/>
            <p:cNvSpPr/>
            <p:nvPr/>
          </p:nvSpPr>
          <p:spPr>
            <a:xfrm>
              <a:off x="158040" y="4592880"/>
              <a:ext cx="149400" cy="335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934" fill="none">
                  <a:moveTo>
                    <a:pt x="0" y="934"/>
                  </a:moveTo>
                  <a:lnTo>
                    <a:pt x="0" y="0"/>
                  </a:lnTo>
                  <a:lnTo>
                    <a:pt x="416" y="0"/>
                  </a:lnTo>
                  <a:lnTo>
                    <a:pt x="416" y="93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" name="Freeform: Shape 39"/>
            <p:cNvSpPr/>
            <p:nvPr/>
          </p:nvSpPr>
          <p:spPr>
            <a:xfrm>
              <a:off x="189360" y="4791600"/>
              <a:ext cx="87120" cy="143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3" h="399">
                  <a:moveTo>
                    <a:pt x="0" y="399"/>
                  </a:moveTo>
                  <a:lnTo>
                    <a:pt x="0" y="83"/>
                  </a:lnTo>
                  <a:cubicBezTo>
                    <a:pt x="0" y="37"/>
                    <a:pt x="37" y="0"/>
                    <a:pt x="83" y="0"/>
                  </a:cubicBezTo>
                  <a:lnTo>
                    <a:pt x="159" y="0"/>
                  </a:lnTo>
                  <a:cubicBezTo>
                    <a:pt x="205" y="0"/>
                    <a:pt x="243" y="37"/>
                    <a:pt x="243" y="83"/>
                  </a:cubicBezTo>
                  <a:lnTo>
                    <a:pt x="243" y="39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" name="Straight Connector 44"/>
            <p:cNvSpPr/>
            <p:nvPr/>
          </p:nvSpPr>
          <p:spPr>
            <a:xfrm>
              <a:off x="179280" y="4683240"/>
              <a:ext cx="107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" name="Freeform: Shape 41"/>
            <p:cNvSpPr/>
            <p:nvPr/>
          </p:nvSpPr>
          <p:spPr>
            <a:xfrm>
              <a:off x="154800" y="4497840"/>
              <a:ext cx="3636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" h="183">
                  <a:moveTo>
                    <a:pt x="52" y="0"/>
                  </a:moveTo>
                  <a:lnTo>
                    <a:pt x="0" y="183"/>
                  </a:lnTo>
                  <a:lnTo>
                    <a:pt x="102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" name="Freeform: Shape 42"/>
            <p:cNvSpPr/>
            <p:nvPr/>
          </p:nvSpPr>
          <p:spPr>
            <a:xfrm>
              <a:off x="275400" y="4497840"/>
              <a:ext cx="36720" cy="65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3" h="183">
                  <a:moveTo>
                    <a:pt x="51" y="0"/>
                  </a:moveTo>
                  <a:lnTo>
                    <a:pt x="0" y="183"/>
                  </a:lnTo>
                  <a:lnTo>
                    <a:pt x="103" y="1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" name="Freeform: Shape 43"/>
            <p:cNvSpPr/>
            <p:nvPr/>
          </p:nvSpPr>
          <p:spPr>
            <a:xfrm>
              <a:off x="178560" y="4426560"/>
              <a:ext cx="107640" cy="13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0" h="382">
                  <a:moveTo>
                    <a:pt x="151" y="0"/>
                  </a:moveTo>
                  <a:lnTo>
                    <a:pt x="0" y="382"/>
                  </a:lnTo>
                  <a:lnTo>
                    <a:pt x="300" y="38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" name="Freeform: Shape 44"/>
            <p:cNvSpPr/>
            <p:nvPr/>
          </p:nvSpPr>
          <p:spPr>
            <a:xfrm>
              <a:off x="1934639" y="4760280"/>
              <a:ext cx="25668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14" h="107">
                  <a:moveTo>
                    <a:pt x="357" y="0"/>
                  </a:moveTo>
                  <a:lnTo>
                    <a:pt x="0" y="107"/>
                  </a:lnTo>
                  <a:lnTo>
                    <a:pt x="714" y="10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" name="Freeform: Shape 45"/>
            <p:cNvSpPr/>
            <p:nvPr/>
          </p:nvSpPr>
          <p:spPr>
            <a:xfrm>
              <a:off x="218880" y="4617720"/>
              <a:ext cx="27720" cy="33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8" h="93">
                  <a:moveTo>
                    <a:pt x="39" y="93"/>
                  </a:moveTo>
                  <a:lnTo>
                    <a:pt x="0" y="93"/>
                  </a:lnTo>
                  <a:lnTo>
                    <a:pt x="0" y="0"/>
                  </a:lnTo>
                  <a:lnTo>
                    <a:pt x="78" y="0"/>
                  </a:lnTo>
                  <a:lnTo>
                    <a:pt x="78" y="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" name="Straight Connector 50"/>
            <p:cNvSpPr/>
            <p:nvPr/>
          </p:nvSpPr>
          <p:spPr>
            <a:xfrm>
              <a:off x="-419760" y="4946040"/>
              <a:ext cx="748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" name="Straight Connector 51"/>
            <p:cNvSpPr/>
            <p:nvPr/>
          </p:nvSpPr>
          <p:spPr>
            <a:xfrm>
              <a:off x="-309960" y="4977720"/>
              <a:ext cx="0" cy="51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" name="Straight Connector 52"/>
            <p:cNvSpPr/>
            <p:nvPr/>
          </p:nvSpPr>
          <p:spPr>
            <a:xfrm>
              <a:off x="-252000" y="4975200"/>
              <a:ext cx="429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" name="Straight Connector 53"/>
            <p:cNvSpPr/>
            <p:nvPr/>
          </p:nvSpPr>
          <p:spPr>
            <a:xfrm>
              <a:off x="-122400" y="5016960"/>
              <a:ext cx="15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" name="Straight Connector 54"/>
            <p:cNvSpPr/>
            <p:nvPr/>
          </p:nvSpPr>
          <p:spPr>
            <a:xfrm>
              <a:off x="-78480" y="50436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" name="Straight Connector 55"/>
            <p:cNvSpPr/>
            <p:nvPr/>
          </p:nvSpPr>
          <p:spPr>
            <a:xfrm>
              <a:off x="1734119" y="5067000"/>
              <a:ext cx="156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" name="Straight Connector 56"/>
            <p:cNvSpPr/>
            <p:nvPr/>
          </p:nvSpPr>
          <p:spPr>
            <a:xfrm>
              <a:off x="1778040" y="5094000"/>
              <a:ext cx="75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" name="Straight Connector 57"/>
            <p:cNvSpPr/>
            <p:nvPr/>
          </p:nvSpPr>
          <p:spPr>
            <a:xfrm>
              <a:off x="1966680" y="5038920"/>
              <a:ext cx="3779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9" name="Straight Connector 58"/>
            <p:cNvSpPr/>
            <p:nvPr/>
          </p:nvSpPr>
          <p:spPr>
            <a:xfrm>
              <a:off x="321480" y="4970160"/>
              <a:ext cx="0" cy="75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Straight Connector 59"/>
            <p:cNvSpPr/>
            <p:nvPr/>
          </p:nvSpPr>
          <p:spPr>
            <a:xfrm flipH="1">
              <a:off x="344880" y="4979880"/>
              <a:ext cx="34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Straight Connector 60"/>
            <p:cNvSpPr/>
            <p:nvPr/>
          </p:nvSpPr>
          <p:spPr>
            <a:xfrm flipV="1">
              <a:off x="344880" y="4865040"/>
              <a:ext cx="0" cy="431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2" name="Freeform: Shape 57"/>
            <p:cNvSpPr/>
            <p:nvPr/>
          </p:nvSpPr>
          <p:spPr>
            <a:xfrm>
              <a:off x="382680" y="4920480"/>
              <a:ext cx="286560" cy="39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7" h="112">
                  <a:moveTo>
                    <a:pt x="399" y="112"/>
                  </a:moveTo>
                  <a:lnTo>
                    <a:pt x="0" y="112"/>
                  </a:lnTo>
                  <a:lnTo>
                    <a:pt x="0" y="0"/>
                  </a:lnTo>
                  <a:lnTo>
                    <a:pt x="797" y="0"/>
                  </a:lnTo>
                  <a:lnTo>
                    <a:pt x="797" y="11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3" name="Freeform: Shape 58"/>
            <p:cNvSpPr/>
            <p:nvPr/>
          </p:nvSpPr>
          <p:spPr>
            <a:xfrm>
              <a:off x="473760" y="4308120"/>
              <a:ext cx="79200" cy="556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1" h="1548" fill="none">
                  <a:moveTo>
                    <a:pt x="0" y="1421"/>
                  </a:moveTo>
                  <a:lnTo>
                    <a:pt x="0" y="0"/>
                  </a:lnTo>
                  <a:lnTo>
                    <a:pt x="221" y="0"/>
                  </a:lnTo>
                  <a:lnTo>
                    <a:pt x="221" y="154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4" name="Freeform: Shape 59"/>
            <p:cNvSpPr/>
            <p:nvPr/>
          </p:nvSpPr>
          <p:spPr>
            <a:xfrm>
              <a:off x="523079" y="4191479"/>
              <a:ext cx="269640" cy="69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0" h="1922" fill="none">
                  <a:moveTo>
                    <a:pt x="0" y="1839"/>
                  </a:moveTo>
                  <a:lnTo>
                    <a:pt x="0" y="0"/>
                  </a:lnTo>
                  <a:lnTo>
                    <a:pt x="276" y="0"/>
                  </a:lnTo>
                  <a:lnTo>
                    <a:pt x="276" y="1922"/>
                  </a:lnTo>
                  <a:lnTo>
                    <a:pt x="750" y="1922"/>
                  </a:lnTo>
                  <a:lnTo>
                    <a:pt x="550" y="1831"/>
                  </a:lnTo>
                  <a:lnTo>
                    <a:pt x="407" y="183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5" name="Freeform: Shape 60"/>
            <p:cNvSpPr/>
            <p:nvPr/>
          </p:nvSpPr>
          <p:spPr>
            <a:xfrm>
              <a:off x="553320" y="4240440"/>
              <a:ext cx="99000" cy="624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6" h="1736" fill="none">
                  <a:moveTo>
                    <a:pt x="276" y="1736"/>
                  </a:moveTo>
                  <a:lnTo>
                    <a:pt x="276" y="0"/>
                  </a:lnTo>
                  <a:lnTo>
                    <a:pt x="0" y="0"/>
                  </a:lnTo>
                  <a:lnTo>
                    <a:pt x="0" y="19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6" name="Straight Connector 65"/>
            <p:cNvSpPr/>
            <p:nvPr/>
          </p:nvSpPr>
          <p:spPr>
            <a:xfrm>
              <a:off x="673560" y="4639680"/>
              <a:ext cx="28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Straight Connector 66"/>
            <p:cNvSpPr/>
            <p:nvPr/>
          </p:nvSpPr>
          <p:spPr>
            <a:xfrm>
              <a:off x="686160" y="4679280"/>
              <a:ext cx="0" cy="20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eform: Shape 63"/>
            <p:cNvSpPr/>
            <p:nvPr/>
          </p:nvSpPr>
          <p:spPr>
            <a:xfrm>
              <a:off x="721080" y="4161240"/>
              <a:ext cx="72000" cy="689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1" h="1915" fill="none">
                  <a:moveTo>
                    <a:pt x="0" y="1915"/>
                  </a:moveTo>
                  <a:lnTo>
                    <a:pt x="0" y="617"/>
                  </a:lnTo>
                  <a:lnTo>
                    <a:pt x="201" y="474"/>
                  </a:lnTo>
                  <a:lnTo>
                    <a:pt x="95" y="474"/>
                  </a:lnTo>
                  <a:lnTo>
                    <a:pt x="95" y="0"/>
                  </a:lnTo>
                  <a:lnTo>
                    <a:pt x="20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9" name="Freeform: Shape 64"/>
            <p:cNvSpPr/>
            <p:nvPr/>
          </p:nvSpPr>
          <p:spPr>
            <a:xfrm>
              <a:off x="793440" y="3839400"/>
              <a:ext cx="105840" cy="1087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5" h="3023" fill="none">
                  <a:moveTo>
                    <a:pt x="0" y="3023"/>
                  </a:moveTo>
                  <a:lnTo>
                    <a:pt x="0" y="503"/>
                  </a:lnTo>
                  <a:lnTo>
                    <a:pt x="198" y="306"/>
                  </a:lnTo>
                  <a:lnTo>
                    <a:pt x="198" y="0"/>
                  </a:lnTo>
                  <a:lnTo>
                    <a:pt x="295" y="190"/>
                  </a:lnTo>
                  <a:lnTo>
                    <a:pt x="295" y="89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0" name="Straight Connector 69"/>
            <p:cNvSpPr/>
            <p:nvPr/>
          </p:nvSpPr>
          <p:spPr>
            <a:xfrm>
              <a:off x="813960" y="4029480"/>
              <a:ext cx="0" cy="898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eform: Shape 66"/>
            <p:cNvSpPr/>
            <p:nvPr/>
          </p:nvSpPr>
          <p:spPr>
            <a:xfrm>
              <a:off x="793440" y="4106520"/>
              <a:ext cx="152640" cy="82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5" h="2283" fill="none">
                  <a:moveTo>
                    <a:pt x="0" y="2283"/>
                  </a:moveTo>
                  <a:lnTo>
                    <a:pt x="138" y="2283"/>
                  </a:lnTo>
                  <a:lnTo>
                    <a:pt x="138" y="356"/>
                  </a:lnTo>
                  <a:lnTo>
                    <a:pt x="425" y="70"/>
                  </a:lnTo>
                  <a:lnTo>
                    <a:pt x="295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2" name="Freeform: Shape 67"/>
            <p:cNvSpPr/>
            <p:nvPr/>
          </p:nvSpPr>
          <p:spPr>
            <a:xfrm>
              <a:off x="899639" y="4081320"/>
              <a:ext cx="106920" cy="6893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916" fill="none">
                  <a:moveTo>
                    <a:pt x="0" y="0"/>
                  </a:moveTo>
                  <a:lnTo>
                    <a:pt x="200" y="106"/>
                  </a:lnTo>
                  <a:lnTo>
                    <a:pt x="200" y="1916"/>
                  </a:lnTo>
                  <a:lnTo>
                    <a:pt x="298" y="1916"/>
                  </a:lnTo>
                  <a:lnTo>
                    <a:pt x="298" y="654"/>
                  </a:lnTo>
                  <a:lnTo>
                    <a:pt x="207" y="58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3" name="Straight Connector 72"/>
            <p:cNvSpPr/>
            <p:nvPr/>
          </p:nvSpPr>
          <p:spPr>
            <a:xfrm>
              <a:off x="939240" y="4200120"/>
              <a:ext cx="0" cy="551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4" name="Freeform: Shape 69"/>
            <p:cNvSpPr/>
            <p:nvPr/>
          </p:nvSpPr>
          <p:spPr>
            <a:xfrm>
              <a:off x="897119" y="4787640"/>
              <a:ext cx="377280" cy="138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49" h="385" fill="none">
                  <a:moveTo>
                    <a:pt x="0" y="385"/>
                  </a:moveTo>
                  <a:lnTo>
                    <a:pt x="0" y="0"/>
                  </a:lnTo>
                  <a:lnTo>
                    <a:pt x="437" y="0"/>
                  </a:lnTo>
                  <a:lnTo>
                    <a:pt x="437" y="335"/>
                  </a:lnTo>
                  <a:lnTo>
                    <a:pt x="512" y="335"/>
                  </a:lnTo>
                  <a:lnTo>
                    <a:pt x="512" y="0"/>
                  </a:lnTo>
                  <a:lnTo>
                    <a:pt x="793" y="0"/>
                  </a:lnTo>
                  <a:lnTo>
                    <a:pt x="793" y="344"/>
                  </a:lnTo>
                  <a:lnTo>
                    <a:pt x="1049" y="34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5" name="Straight Connector 74"/>
            <p:cNvSpPr/>
            <p:nvPr/>
          </p:nvSpPr>
          <p:spPr>
            <a:xfrm>
              <a:off x="779760" y="4958280"/>
              <a:ext cx="185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6" name="Straight Connector 75"/>
            <p:cNvSpPr/>
            <p:nvPr/>
          </p:nvSpPr>
          <p:spPr>
            <a:xfrm>
              <a:off x="762480" y="4970160"/>
              <a:ext cx="0" cy="56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Straight Connector 76"/>
            <p:cNvSpPr/>
            <p:nvPr/>
          </p:nvSpPr>
          <p:spPr>
            <a:xfrm>
              <a:off x="1021679" y="4606560"/>
              <a:ext cx="748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Straight Connector 77"/>
            <p:cNvSpPr/>
            <p:nvPr/>
          </p:nvSpPr>
          <p:spPr>
            <a:xfrm>
              <a:off x="1042919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9" name="Straight Connector 78"/>
            <p:cNvSpPr/>
            <p:nvPr/>
          </p:nvSpPr>
          <p:spPr>
            <a:xfrm>
              <a:off x="1065600" y="4552560"/>
              <a:ext cx="0" cy="54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0" name="Freeform: Shape 75"/>
            <p:cNvSpPr/>
            <p:nvPr/>
          </p:nvSpPr>
          <p:spPr>
            <a:xfrm>
              <a:off x="1042919" y="4679280"/>
              <a:ext cx="38160" cy="8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7" h="240">
                  <a:moveTo>
                    <a:pt x="54" y="240"/>
                  </a:moveTo>
                  <a:lnTo>
                    <a:pt x="0" y="240"/>
                  </a:lnTo>
                  <a:lnTo>
                    <a:pt x="0" y="0"/>
                  </a:lnTo>
                  <a:lnTo>
                    <a:pt x="107" y="0"/>
                  </a:lnTo>
                  <a:lnTo>
                    <a:pt x="107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1" name="Freeform: Shape 76"/>
            <p:cNvSpPr/>
            <p:nvPr/>
          </p:nvSpPr>
          <p:spPr>
            <a:xfrm>
              <a:off x="934199" y="4899960"/>
              <a:ext cx="72720" cy="29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03" h="84">
                  <a:moveTo>
                    <a:pt x="101" y="84"/>
                  </a:moveTo>
                  <a:lnTo>
                    <a:pt x="0" y="84"/>
                  </a:lnTo>
                  <a:lnTo>
                    <a:pt x="0" y="0"/>
                  </a:lnTo>
                  <a:lnTo>
                    <a:pt x="203" y="0"/>
                  </a:lnTo>
                  <a:lnTo>
                    <a:pt x="203" y="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2" name="Freeform: Shape 77"/>
            <p:cNvSpPr/>
            <p:nvPr/>
          </p:nvSpPr>
          <p:spPr>
            <a:xfrm>
              <a:off x="1074600" y="4926240"/>
              <a:ext cx="168840" cy="41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0" h="117">
                  <a:moveTo>
                    <a:pt x="235" y="117"/>
                  </a:moveTo>
                  <a:lnTo>
                    <a:pt x="0" y="117"/>
                  </a:lnTo>
                  <a:lnTo>
                    <a:pt x="0" y="0"/>
                  </a:lnTo>
                  <a:lnTo>
                    <a:pt x="470" y="0"/>
                  </a:lnTo>
                  <a:lnTo>
                    <a:pt x="470" y="117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3" name="Freeform: Shape 78"/>
            <p:cNvSpPr/>
            <p:nvPr/>
          </p:nvSpPr>
          <p:spPr>
            <a:xfrm>
              <a:off x="741600" y="4759200"/>
              <a:ext cx="51480" cy="85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4" h="238" fill="none">
                  <a:moveTo>
                    <a:pt x="14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144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4" name="Straight Connector 83"/>
            <p:cNvSpPr/>
            <p:nvPr/>
          </p:nvSpPr>
          <p:spPr>
            <a:xfrm>
              <a:off x="736200" y="43902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5" name="Straight Connector 84"/>
            <p:cNvSpPr/>
            <p:nvPr/>
          </p:nvSpPr>
          <p:spPr>
            <a:xfrm>
              <a:off x="736200" y="44190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6" name="Straight Connector 85"/>
            <p:cNvSpPr/>
            <p:nvPr/>
          </p:nvSpPr>
          <p:spPr>
            <a:xfrm>
              <a:off x="736200" y="44478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7" name="Straight Connector 86"/>
            <p:cNvSpPr/>
            <p:nvPr/>
          </p:nvSpPr>
          <p:spPr>
            <a:xfrm>
              <a:off x="736200" y="4476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8" name="Straight Connector 87"/>
            <p:cNvSpPr/>
            <p:nvPr/>
          </p:nvSpPr>
          <p:spPr>
            <a:xfrm>
              <a:off x="736200" y="45050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89" name="Straight Connector 88"/>
            <p:cNvSpPr/>
            <p:nvPr/>
          </p:nvSpPr>
          <p:spPr>
            <a:xfrm>
              <a:off x="736200" y="4533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0" name="Straight Connector 89"/>
            <p:cNvSpPr/>
            <p:nvPr/>
          </p:nvSpPr>
          <p:spPr>
            <a:xfrm>
              <a:off x="736200" y="4562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1" name="Straight Connector 90"/>
            <p:cNvSpPr/>
            <p:nvPr/>
          </p:nvSpPr>
          <p:spPr>
            <a:xfrm>
              <a:off x="736200" y="45914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2" name="Straight Connector 91"/>
            <p:cNvSpPr/>
            <p:nvPr/>
          </p:nvSpPr>
          <p:spPr>
            <a:xfrm>
              <a:off x="736200" y="46202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3" name="Straight Connector 92"/>
            <p:cNvSpPr/>
            <p:nvPr/>
          </p:nvSpPr>
          <p:spPr>
            <a:xfrm>
              <a:off x="736200" y="464940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4" name="Straight Connector 93"/>
            <p:cNvSpPr/>
            <p:nvPr/>
          </p:nvSpPr>
          <p:spPr>
            <a:xfrm>
              <a:off x="736200" y="46778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5" name="Straight Connector 94"/>
            <p:cNvSpPr/>
            <p:nvPr/>
          </p:nvSpPr>
          <p:spPr>
            <a:xfrm>
              <a:off x="736200" y="4706640"/>
              <a:ext cx="56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6" name="Straight Connector 95"/>
            <p:cNvSpPr/>
            <p:nvPr/>
          </p:nvSpPr>
          <p:spPr>
            <a:xfrm>
              <a:off x="974160" y="4316760"/>
              <a:ext cx="32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7" name="Straight Connector 96"/>
            <p:cNvSpPr/>
            <p:nvPr/>
          </p:nvSpPr>
          <p:spPr>
            <a:xfrm>
              <a:off x="1169640" y="4992480"/>
              <a:ext cx="207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8" name="Straight Connector 97"/>
            <p:cNvSpPr/>
            <p:nvPr/>
          </p:nvSpPr>
          <p:spPr>
            <a:xfrm>
              <a:off x="1305000" y="4922640"/>
              <a:ext cx="250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99" name="Freeform: Shape 94"/>
            <p:cNvSpPr/>
            <p:nvPr/>
          </p:nvSpPr>
          <p:spPr>
            <a:xfrm>
              <a:off x="1096560" y="4136760"/>
              <a:ext cx="285480" cy="740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94" h="2058">
                  <a:moveTo>
                    <a:pt x="0" y="1774"/>
                  </a:moveTo>
                  <a:lnTo>
                    <a:pt x="0" y="0"/>
                  </a:lnTo>
                  <a:lnTo>
                    <a:pt x="541" y="0"/>
                  </a:lnTo>
                  <a:lnTo>
                    <a:pt x="794" y="1518"/>
                  </a:lnTo>
                  <a:lnTo>
                    <a:pt x="655" y="1518"/>
                  </a:lnTo>
                  <a:lnTo>
                    <a:pt x="655" y="1746"/>
                  </a:lnTo>
                  <a:lnTo>
                    <a:pt x="541" y="1746"/>
                  </a:lnTo>
                  <a:lnTo>
                    <a:pt x="541" y="2058"/>
                  </a:lnTo>
                  <a:lnTo>
                    <a:pt x="456" y="2058"/>
                  </a:lnTo>
                  <a:lnTo>
                    <a:pt x="158" y="78"/>
                  </a:lnTo>
                  <a:lnTo>
                    <a:pt x="77" y="78"/>
                  </a:lnTo>
                  <a:lnTo>
                    <a:pt x="77" y="177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0" name="Freeform: Shape 95"/>
            <p:cNvSpPr/>
            <p:nvPr/>
          </p:nvSpPr>
          <p:spPr>
            <a:xfrm>
              <a:off x="1348920" y="4669560"/>
              <a:ext cx="316440" cy="212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0" h="592" fill="none">
                  <a:moveTo>
                    <a:pt x="0" y="85"/>
                  </a:moveTo>
                  <a:lnTo>
                    <a:pt x="275" y="85"/>
                  </a:lnTo>
                  <a:lnTo>
                    <a:pt x="275" y="0"/>
                  </a:lnTo>
                  <a:lnTo>
                    <a:pt x="412" y="0"/>
                  </a:lnTo>
                  <a:lnTo>
                    <a:pt x="412" y="209"/>
                  </a:lnTo>
                  <a:lnTo>
                    <a:pt x="582" y="209"/>
                  </a:lnTo>
                  <a:lnTo>
                    <a:pt x="582" y="592"/>
                  </a:lnTo>
                  <a:lnTo>
                    <a:pt x="880" y="59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1" name="Straight Connector 100"/>
            <p:cNvSpPr/>
            <p:nvPr/>
          </p:nvSpPr>
          <p:spPr>
            <a:xfrm>
              <a:off x="1428120" y="4977720"/>
              <a:ext cx="516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2" name="Freeform: Shape 97"/>
            <p:cNvSpPr/>
            <p:nvPr/>
          </p:nvSpPr>
          <p:spPr>
            <a:xfrm>
              <a:off x="1352520" y="4721760"/>
              <a:ext cx="54000" cy="176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490">
                  <a:moveTo>
                    <a:pt x="76" y="490"/>
                  </a:moveTo>
                  <a:lnTo>
                    <a:pt x="0" y="490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49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3" name="Freeform: Shape 98"/>
            <p:cNvSpPr/>
            <p:nvPr/>
          </p:nvSpPr>
          <p:spPr>
            <a:xfrm>
              <a:off x="1435320" y="4842720"/>
              <a:ext cx="104760" cy="24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2" h="69">
                  <a:moveTo>
                    <a:pt x="146" y="69"/>
                  </a:moveTo>
                  <a:lnTo>
                    <a:pt x="0" y="69"/>
                  </a:lnTo>
                  <a:lnTo>
                    <a:pt x="0" y="0"/>
                  </a:lnTo>
                  <a:lnTo>
                    <a:pt x="292" y="0"/>
                  </a:lnTo>
                  <a:lnTo>
                    <a:pt x="292" y="6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4" name="Straight Connector 103"/>
            <p:cNvSpPr/>
            <p:nvPr/>
          </p:nvSpPr>
          <p:spPr>
            <a:xfrm>
              <a:off x="1377359" y="4548239"/>
              <a:ext cx="0" cy="31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5" name="Freeform: Shape 100"/>
            <p:cNvSpPr/>
            <p:nvPr/>
          </p:nvSpPr>
          <p:spPr>
            <a:xfrm>
              <a:off x="1396439" y="4129200"/>
              <a:ext cx="240480" cy="694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69" h="1929">
                  <a:moveTo>
                    <a:pt x="4" y="1419"/>
                  </a:moveTo>
                  <a:cubicBezTo>
                    <a:pt x="4" y="1419"/>
                    <a:pt x="-63" y="664"/>
                    <a:pt x="337" y="0"/>
                  </a:cubicBezTo>
                  <a:cubicBezTo>
                    <a:pt x="337" y="0"/>
                    <a:pt x="845" y="812"/>
                    <a:pt x="603" y="192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6" name="Freeform: Shape 101"/>
            <p:cNvSpPr/>
            <p:nvPr/>
          </p:nvSpPr>
          <p:spPr>
            <a:xfrm>
              <a:off x="1485359" y="4201560"/>
              <a:ext cx="99360" cy="11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7" h="320">
                  <a:moveTo>
                    <a:pt x="0" y="0"/>
                  </a:moveTo>
                  <a:cubicBezTo>
                    <a:pt x="0" y="0"/>
                    <a:pt x="103" y="215"/>
                    <a:pt x="277" y="32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7" name="Freeform: Shape 102"/>
            <p:cNvSpPr/>
            <p:nvPr/>
          </p:nvSpPr>
          <p:spPr>
            <a:xfrm>
              <a:off x="1468800" y="42796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0" y="0"/>
                  </a:moveTo>
                  <a:cubicBezTo>
                    <a:pt x="0" y="0"/>
                    <a:pt x="132" y="269"/>
                    <a:pt x="354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8" name="Freeform: Shape 103"/>
            <p:cNvSpPr/>
            <p:nvPr/>
          </p:nvSpPr>
          <p:spPr>
            <a:xfrm>
              <a:off x="1452240" y="4358520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0" y="0"/>
                  </a:moveTo>
                  <a:cubicBezTo>
                    <a:pt x="0" y="0"/>
                    <a:pt x="155" y="315"/>
                    <a:pt x="416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09" name="Freeform: Shape 104"/>
            <p:cNvSpPr/>
            <p:nvPr/>
          </p:nvSpPr>
          <p:spPr>
            <a:xfrm>
              <a:off x="1435320" y="4435920"/>
              <a:ext cx="17532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8" h="543">
                  <a:moveTo>
                    <a:pt x="0" y="0"/>
                  </a:moveTo>
                  <a:cubicBezTo>
                    <a:pt x="0" y="0"/>
                    <a:pt x="181" y="365"/>
                    <a:pt x="488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0" name="Freeform: Shape 105"/>
            <p:cNvSpPr/>
            <p:nvPr/>
          </p:nvSpPr>
          <p:spPr>
            <a:xfrm>
              <a:off x="1418760" y="4515480"/>
              <a:ext cx="194400" cy="217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41" h="606">
                  <a:moveTo>
                    <a:pt x="0" y="0"/>
                  </a:moveTo>
                  <a:cubicBezTo>
                    <a:pt x="0" y="0"/>
                    <a:pt x="202" y="407"/>
                    <a:pt x="541" y="60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1" name="Freeform: Shape 106"/>
            <p:cNvSpPr/>
            <p:nvPr/>
          </p:nvSpPr>
          <p:spPr>
            <a:xfrm>
              <a:off x="1449719" y="4208760"/>
              <a:ext cx="99720" cy="115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321">
                  <a:moveTo>
                    <a:pt x="278" y="0"/>
                  </a:moveTo>
                  <a:cubicBezTo>
                    <a:pt x="278" y="0"/>
                    <a:pt x="174" y="216"/>
                    <a:pt x="0" y="32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2" name="Freeform: Shape 107"/>
            <p:cNvSpPr/>
            <p:nvPr/>
          </p:nvSpPr>
          <p:spPr>
            <a:xfrm>
              <a:off x="1438559" y="4286880"/>
              <a:ext cx="127080" cy="144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4" h="401">
                  <a:moveTo>
                    <a:pt x="354" y="0"/>
                  </a:moveTo>
                  <a:cubicBezTo>
                    <a:pt x="354" y="0"/>
                    <a:pt x="222" y="270"/>
                    <a:pt x="0" y="40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3" name="Freeform: Shape 108"/>
            <p:cNvSpPr/>
            <p:nvPr/>
          </p:nvSpPr>
          <p:spPr>
            <a:xfrm>
              <a:off x="1432800" y="4366079"/>
              <a:ext cx="149400" cy="168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6" h="469">
                  <a:moveTo>
                    <a:pt x="416" y="0"/>
                  </a:moveTo>
                  <a:cubicBezTo>
                    <a:pt x="416" y="0"/>
                    <a:pt x="261" y="315"/>
                    <a:pt x="0" y="46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4" name="Freeform: Shape 109"/>
            <p:cNvSpPr/>
            <p:nvPr/>
          </p:nvSpPr>
          <p:spPr>
            <a:xfrm>
              <a:off x="1424159" y="4443120"/>
              <a:ext cx="174960" cy="195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87" h="543">
                  <a:moveTo>
                    <a:pt x="487" y="0"/>
                  </a:moveTo>
                  <a:cubicBezTo>
                    <a:pt x="487" y="0"/>
                    <a:pt x="306" y="365"/>
                    <a:pt x="0" y="543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5" name="Freeform: Shape 110"/>
            <p:cNvSpPr/>
            <p:nvPr/>
          </p:nvSpPr>
          <p:spPr>
            <a:xfrm>
              <a:off x="1510199" y="4523040"/>
              <a:ext cx="105480" cy="146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4" h="409">
                  <a:moveTo>
                    <a:pt x="294" y="0"/>
                  </a:moveTo>
                  <a:cubicBezTo>
                    <a:pt x="294" y="0"/>
                    <a:pt x="188" y="215"/>
                    <a:pt x="0" y="409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6" name="Freeform: Shape 111"/>
            <p:cNvSpPr/>
            <p:nvPr/>
          </p:nvSpPr>
          <p:spPr>
            <a:xfrm>
              <a:off x="1690919" y="4317120"/>
              <a:ext cx="233280" cy="557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9" h="1549">
                  <a:moveTo>
                    <a:pt x="67" y="1549"/>
                  </a:moveTo>
                  <a:cubicBezTo>
                    <a:pt x="67" y="1549"/>
                    <a:pt x="-71" y="262"/>
                    <a:pt x="48" y="48"/>
                  </a:cubicBezTo>
                  <a:cubicBezTo>
                    <a:pt x="48" y="48"/>
                    <a:pt x="366" y="-69"/>
                    <a:pt x="605" y="61"/>
                  </a:cubicBezTo>
                  <a:cubicBezTo>
                    <a:pt x="605" y="61"/>
                    <a:pt x="723" y="431"/>
                    <a:pt x="573" y="1548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7" name="Freeform: Shape 112"/>
            <p:cNvSpPr/>
            <p:nvPr/>
          </p:nvSpPr>
          <p:spPr>
            <a:xfrm>
              <a:off x="1654919" y="4283280"/>
              <a:ext cx="54000" cy="585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1" h="1626">
                  <a:moveTo>
                    <a:pt x="79" y="1626"/>
                  </a:moveTo>
                  <a:cubicBezTo>
                    <a:pt x="79" y="1626"/>
                    <a:pt x="-95" y="347"/>
                    <a:pt x="73" y="0"/>
                  </a:cubicBezTo>
                  <a:lnTo>
                    <a:pt x="151" y="11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8" name="Freeform: Shape 113"/>
            <p:cNvSpPr/>
            <p:nvPr/>
          </p:nvSpPr>
          <p:spPr>
            <a:xfrm>
              <a:off x="1689479" y="4257720"/>
              <a:ext cx="252360" cy="511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2" h="1422">
                  <a:moveTo>
                    <a:pt x="0" y="47"/>
                  </a:moveTo>
                  <a:cubicBezTo>
                    <a:pt x="0" y="47"/>
                    <a:pt x="380" y="-73"/>
                    <a:pt x="608" y="71"/>
                  </a:cubicBezTo>
                  <a:cubicBezTo>
                    <a:pt x="608" y="71"/>
                    <a:pt x="782" y="185"/>
                    <a:pt x="657" y="142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19" name="Straight Connector 118"/>
            <p:cNvSpPr/>
            <p:nvPr/>
          </p:nvSpPr>
          <p:spPr>
            <a:xfrm flipV="1">
              <a:off x="1715039" y="4365000"/>
              <a:ext cx="188641" cy="107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0" name="Straight Connector 119"/>
            <p:cNvSpPr/>
            <p:nvPr/>
          </p:nvSpPr>
          <p:spPr>
            <a:xfrm flipV="1">
              <a:off x="1716480" y="4392720"/>
              <a:ext cx="18576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1" name="Straight Connector 120"/>
            <p:cNvSpPr/>
            <p:nvPr/>
          </p:nvSpPr>
          <p:spPr>
            <a:xfrm flipV="1">
              <a:off x="1718280" y="4420440"/>
              <a:ext cx="18252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2" name="Straight Connector 121"/>
            <p:cNvSpPr/>
            <p:nvPr/>
          </p:nvSpPr>
          <p:spPr>
            <a:xfrm flipV="1">
              <a:off x="1720080" y="4448160"/>
              <a:ext cx="179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3" name="Straight Connector 122"/>
            <p:cNvSpPr/>
            <p:nvPr/>
          </p:nvSpPr>
          <p:spPr>
            <a:xfrm flipV="1">
              <a:off x="1721880" y="4475520"/>
              <a:ext cx="17640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4" name="Straight Connector 123"/>
            <p:cNvSpPr/>
            <p:nvPr/>
          </p:nvSpPr>
          <p:spPr>
            <a:xfrm flipV="1">
              <a:off x="1723680" y="4503240"/>
              <a:ext cx="17316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5" name="Straight Connector 124"/>
            <p:cNvSpPr/>
            <p:nvPr/>
          </p:nvSpPr>
          <p:spPr>
            <a:xfrm flipV="1">
              <a:off x="1725480" y="4530960"/>
              <a:ext cx="170280" cy="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6" name="Straight Connector 125"/>
            <p:cNvSpPr/>
            <p:nvPr/>
          </p:nvSpPr>
          <p:spPr>
            <a:xfrm flipV="1">
              <a:off x="1727280" y="4558680"/>
              <a:ext cx="16668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7" name="Straight Connector 126"/>
            <p:cNvSpPr/>
            <p:nvPr/>
          </p:nvSpPr>
          <p:spPr>
            <a:xfrm flipV="1">
              <a:off x="1728719" y="4586399"/>
              <a:ext cx="16380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8" name="Straight Connector 127"/>
            <p:cNvSpPr/>
            <p:nvPr/>
          </p:nvSpPr>
          <p:spPr>
            <a:xfrm flipV="1">
              <a:off x="1730519" y="4614120"/>
              <a:ext cx="160920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29" name="Straight Connector 128"/>
            <p:cNvSpPr/>
            <p:nvPr/>
          </p:nvSpPr>
          <p:spPr>
            <a:xfrm flipV="1">
              <a:off x="1732319" y="4641840"/>
              <a:ext cx="157681" cy="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0" name="Straight Connector 129"/>
            <p:cNvSpPr/>
            <p:nvPr/>
          </p:nvSpPr>
          <p:spPr>
            <a:xfrm>
              <a:off x="1734119" y="4669560"/>
              <a:ext cx="1548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1" name="Straight Connector 130"/>
            <p:cNvSpPr/>
            <p:nvPr/>
          </p:nvSpPr>
          <p:spPr>
            <a:xfrm flipV="1">
              <a:off x="1735919" y="4697279"/>
              <a:ext cx="151561" cy="3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2" name="Straight Connector 131"/>
            <p:cNvSpPr/>
            <p:nvPr/>
          </p:nvSpPr>
          <p:spPr>
            <a:xfrm>
              <a:off x="1737719" y="4725000"/>
              <a:ext cx="1483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3" name="Straight Connector 132"/>
            <p:cNvSpPr/>
            <p:nvPr/>
          </p:nvSpPr>
          <p:spPr>
            <a:xfrm>
              <a:off x="1739160" y="4752720"/>
              <a:ext cx="145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4" name="Straight Connector 133"/>
            <p:cNvSpPr/>
            <p:nvPr/>
          </p:nvSpPr>
          <p:spPr>
            <a:xfrm>
              <a:off x="1740960" y="4780440"/>
              <a:ext cx="142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5" name="Straight Connector 134"/>
            <p:cNvSpPr/>
            <p:nvPr/>
          </p:nvSpPr>
          <p:spPr>
            <a:xfrm>
              <a:off x="1742760" y="4808160"/>
              <a:ext cx="139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6" name="Straight Connector 135"/>
            <p:cNvSpPr/>
            <p:nvPr/>
          </p:nvSpPr>
          <p:spPr>
            <a:xfrm>
              <a:off x="1744560" y="4835880"/>
              <a:ext cx="1360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7" name="Straight Connector 136"/>
            <p:cNvSpPr/>
            <p:nvPr/>
          </p:nvSpPr>
          <p:spPr>
            <a:xfrm>
              <a:off x="1745999" y="4863600"/>
              <a:ext cx="1332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8" name="Straight Connector 137"/>
            <p:cNvSpPr/>
            <p:nvPr/>
          </p:nvSpPr>
          <p:spPr>
            <a:xfrm>
              <a:off x="1628999" y="4732560"/>
              <a:ext cx="392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39" name="Straight Connector 138"/>
            <p:cNvSpPr/>
            <p:nvPr/>
          </p:nvSpPr>
          <p:spPr>
            <a:xfrm>
              <a:off x="1646640" y="4785120"/>
              <a:ext cx="0" cy="57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0" name="Straight Connector 139"/>
            <p:cNvSpPr/>
            <p:nvPr/>
          </p:nvSpPr>
          <p:spPr>
            <a:xfrm>
              <a:off x="1704240" y="4898160"/>
              <a:ext cx="1537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1" name="Straight Connector 140"/>
            <p:cNvSpPr/>
            <p:nvPr/>
          </p:nvSpPr>
          <p:spPr>
            <a:xfrm>
              <a:off x="1907280" y="4919400"/>
              <a:ext cx="46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2" name="Straight Connector 141"/>
            <p:cNvSpPr/>
            <p:nvPr/>
          </p:nvSpPr>
          <p:spPr>
            <a:xfrm>
              <a:off x="2045880" y="4927680"/>
              <a:ext cx="0" cy="82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3" name="Straight Connector 142"/>
            <p:cNvSpPr/>
            <p:nvPr/>
          </p:nvSpPr>
          <p:spPr>
            <a:xfrm>
              <a:off x="2111760" y="4963320"/>
              <a:ext cx="655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4" name="Straight Connector 143"/>
            <p:cNvSpPr/>
            <p:nvPr/>
          </p:nvSpPr>
          <p:spPr>
            <a:xfrm>
              <a:off x="2116800" y="4997160"/>
              <a:ext cx="5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5" name="Straight Connector 144"/>
            <p:cNvSpPr/>
            <p:nvPr/>
          </p:nvSpPr>
          <p:spPr>
            <a:xfrm>
              <a:off x="1916639" y="4771440"/>
              <a:ext cx="878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6" name="Straight Connector 145"/>
            <p:cNvSpPr/>
            <p:nvPr/>
          </p:nvSpPr>
          <p:spPr>
            <a:xfrm>
              <a:off x="2136240" y="4767839"/>
              <a:ext cx="511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7" name="Straight Connector 146"/>
            <p:cNvSpPr/>
            <p:nvPr/>
          </p:nvSpPr>
          <p:spPr>
            <a:xfrm>
              <a:off x="2167920" y="4729319"/>
              <a:ext cx="0" cy="38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8" name="Straight Connector 147"/>
            <p:cNvSpPr/>
            <p:nvPr/>
          </p:nvSpPr>
          <p:spPr>
            <a:xfrm>
              <a:off x="2180160" y="4842720"/>
              <a:ext cx="0" cy="69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49" name="Straight Connector 148"/>
            <p:cNvSpPr/>
            <p:nvPr/>
          </p:nvSpPr>
          <p:spPr>
            <a:xfrm>
              <a:off x="1990079" y="4697279"/>
              <a:ext cx="0" cy="486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0" name="Straight Connector 149"/>
            <p:cNvSpPr/>
            <p:nvPr/>
          </p:nvSpPr>
          <p:spPr>
            <a:xfrm>
              <a:off x="201420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1" name="Straight Connector 150"/>
            <p:cNvSpPr/>
            <p:nvPr/>
          </p:nvSpPr>
          <p:spPr>
            <a:xfrm>
              <a:off x="2038679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2" name="Straight Connector 151"/>
            <p:cNvSpPr/>
            <p:nvPr/>
          </p:nvSpPr>
          <p:spPr>
            <a:xfrm>
              <a:off x="2063160" y="4697640"/>
              <a:ext cx="0" cy="48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3" name="Straight Connector 152"/>
            <p:cNvSpPr/>
            <p:nvPr/>
          </p:nvSpPr>
          <p:spPr>
            <a:xfrm>
              <a:off x="208764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4" name="Straight Connector 153"/>
            <p:cNvSpPr/>
            <p:nvPr/>
          </p:nvSpPr>
          <p:spPr>
            <a:xfrm>
              <a:off x="2111760" y="4698000"/>
              <a:ext cx="0" cy="4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5" name="Straight Connector 154"/>
            <p:cNvSpPr/>
            <p:nvPr/>
          </p:nvSpPr>
          <p:spPr>
            <a:xfrm>
              <a:off x="2136240" y="4698360"/>
              <a:ext cx="0" cy="47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6" name="Straight Connector 155"/>
            <p:cNvSpPr/>
            <p:nvPr/>
          </p:nvSpPr>
          <p:spPr>
            <a:xfrm>
              <a:off x="19713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7" name="Straight Connector 156"/>
            <p:cNvSpPr/>
            <p:nvPr/>
          </p:nvSpPr>
          <p:spPr>
            <a:xfrm>
              <a:off x="2156760" y="479880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8" name="Straight Connector 157"/>
            <p:cNvSpPr/>
            <p:nvPr/>
          </p:nvSpPr>
          <p:spPr>
            <a:xfrm>
              <a:off x="1979640" y="467280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59" name="Freeform: Shape 154"/>
            <p:cNvSpPr/>
            <p:nvPr/>
          </p:nvSpPr>
          <p:spPr>
            <a:xfrm>
              <a:off x="1982160" y="4551480"/>
              <a:ext cx="160920" cy="96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48" h="268">
                  <a:moveTo>
                    <a:pt x="448" y="268"/>
                  </a:moveTo>
                  <a:lnTo>
                    <a:pt x="0" y="268"/>
                  </a:lnTo>
                  <a:cubicBezTo>
                    <a:pt x="0" y="268"/>
                    <a:pt x="60" y="0"/>
                    <a:pt x="225" y="0"/>
                  </a:cubicBezTo>
                  <a:cubicBezTo>
                    <a:pt x="390" y="0"/>
                    <a:pt x="448" y="268"/>
                    <a:pt x="448" y="268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0" name="Straight Connector 159"/>
            <p:cNvSpPr/>
            <p:nvPr/>
          </p:nvSpPr>
          <p:spPr>
            <a:xfrm>
              <a:off x="2045880" y="4528440"/>
              <a:ext cx="34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1" name="Straight Connector 160"/>
            <p:cNvSpPr/>
            <p:nvPr/>
          </p:nvSpPr>
          <p:spPr>
            <a:xfrm>
              <a:off x="2052000" y="4505760"/>
              <a:ext cx="24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2" name="Straight Connector 161"/>
            <p:cNvSpPr/>
            <p:nvPr/>
          </p:nvSpPr>
          <p:spPr>
            <a:xfrm>
              <a:off x="2064240" y="4431960"/>
              <a:ext cx="0" cy="439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3" name="Straight Connector 162"/>
            <p:cNvSpPr/>
            <p:nvPr/>
          </p:nvSpPr>
          <p:spPr>
            <a:xfrm>
              <a:off x="2031480" y="4878720"/>
              <a:ext cx="644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4" name="Straight Connector 163"/>
            <p:cNvSpPr/>
            <p:nvPr/>
          </p:nvSpPr>
          <p:spPr>
            <a:xfrm>
              <a:off x="2223360" y="4723559"/>
              <a:ext cx="72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5" name="Straight Connector 164"/>
            <p:cNvSpPr/>
            <p:nvPr/>
          </p:nvSpPr>
          <p:spPr>
            <a:xfrm>
              <a:off x="221004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6" name="Straight Connector 165"/>
            <p:cNvSpPr/>
            <p:nvPr/>
          </p:nvSpPr>
          <p:spPr>
            <a:xfrm>
              <a:off x="2305080" y="4627440"/>
              <a:ext cx="0" cy="849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7" name="Straight Connector 166"/>
            <p:cNvSpPr/>
            <p:nvPr/>
          </p:nvSpPr>
          <p:spPr>
            <a:xfrm>
              <a:off x="2214719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8" name="Straight Connector 167"/>
            <p:cNvSpPr/>
            <p:nvPr/>
          </p:nvSpPr>
          <p:spPr>
            <a:xfrm>
              <a:off x="223704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9" name="Straight Connector 168"/>
            <p:cNvSpPr/>
            <p:nvPr/>
          </p:nvSpPr>
          <p:spPr>
            <a:xfrm>
              <a:off x="225900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0" name="Straight Connector 169"/>
            <p:cNvSpPr/>
            <p:nvPr/>
          </p:nvSpPr>
          <p:spPr>
            <a:xfrm>
              <a:off x="228096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1" name="Straight Connector 170"/>
            <p:cNvSpPr/>
            <p:nvPr/>
          </p:nvSpPr>
          <p:spPr>
            <a:xfrm>
              <a:off x="2302920" y="4734360"/>
              <a:ext cx="0" cy="216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2" name="Freeform: Shape 167"/>
            <p:cNvSpPr/>
            <p:nvPr/>
          </p:nvSpPr>
          <p:spPr>
            <a:xfrm>
              <a:off x="2206440" y="4525560"/>
              <a:ext cx="99720" cy="85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8" h="239" fill="none">
                  <a:moveTo>
                    <a:pt x="0" y="239"/>
                  </a:moveTo>
                  <a:lnTo>
                    <a:pt x="72" y="123"/>
                  </a:lnTo>
                  <a:lnTo>
                    <a:pt x="72" y="0"/>
                  </a:lnTo>
                  <a:lnTo>
                    <a:pt x="204" y="0"/>
                  </a:lnTo>
                  <a:lnTo>
                    <a:pt x="204" y="119"/>
                  </a:lnTo>
                  <a:lnTo>
                    <a:pt x="278" y="2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3" name="Freeform: Shape 168"/>
            <p:cNvSpPr/>
            <p:nvPr/>
          </p:nvSpPr>
          <p:spPr>
            <a:xfrm>
              <a:off x="2235960" y="4650120"/>
              <a:ext cx="43920" cy="43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3" h="123">
                  <a:moveTo>
                    <a:pt x="123" y="61"/>
                  </a:moveTo>
                  <a:cubicBezTo>
                    <a:pt x="123" y="73"/>
                    <a:pt x="121" y="82"/>
                    <a:pt x="115" y="92"/>
                  </a:cubicBezTo>
                  <a:cubicBezTo>
                    <a:pt x="109" y="102"/>
                    <a:pt x="101" y="109"/>
                    <a:pt x="92" y="115"/>
                  </a:cubicBezTo>
                  <a:cubicBezTo>
                    <a:pt x="82" y="120"/>
                    <a:pt x="73" y="123"/>
                    <a:pt x="62" y="123"/>
                  </a:cubicBezTo>
                  <a:cubicBezTo>
                    <a:pt x="50" y="123"/>
                    <a:pt x="41" y="120"/>
                    <a:pt x="31" y="115"/>
                  </a:cubicBezTo>
                  <a:cubicBezTo>
                    <a:pt x="21" y="109"/>
                    <a:pt x="14" y="102"/>
                    <a:pt x="8" y="92"/>
                  </a:cubicBezTo>
                  <a:cubicBezTo>
                    <a:pt x="2" y="82"/>
                    <a:pt x="0" y="72"/>
                    <a:pt x="0" y="61"/>
                  </a:cubicBezTo>
                  <a:cubicBezTo>
                    <a:pt x="0" y="49"/>
                    <a:pt x="2" y="40"/>
                    <a:pt x="8" y="30"/>
                  </a:cubicBezTo>
                  <a:cubicBezTo>
                    <a:pt x="14" y="20"/>
                    <a:pt x="21" y="14"/>
                    <a:pt x="31" y="8"/>
                  </a:cubicBezTo>
                  <a:cubicBezTo>
                    <a:pt x="41" y="2"/>
                    <a:pt x="50" y="0"/>
                    <a:pt x="62" y="0"/>
                  </a:cubicBezTo>
                  <a:cubicBezTo>
                    <a:pt x="73" y="0"/>
                    <a:pt x="82" y="2"/>
                    <a:pt x="92" y="8"/>
                  </a:cubicBezTo>
                  <a:cubicBezTo>
                    <a:pt x="101" y="14"/>
                    <a:pt x="109" y="20"/>
                    <a:pt x="115" y="30"/>
                  </a:cubicBezTo>
                  <a:cubicBezTo>
                    <a:pt x="121" y="39"/>
                    <a:pt x="123" y="50"/>
                    <a:pt x="123" y="61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4" name="Straight Connector 173"/>
            <p:cNvSpPr/>
            <p:nvPr/>
          </p:nvSpPr>
          <p:spPr>
            <a:xfrm>
              <a:off x="2231640" y="46033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5" name="Straight Connector 174"/>
            <p:cNvSpPr/>
            <p:nvPr/>
          </p:nvSpPr>
          <p:spPr>
            <a:xfrm>
              <a:off x="2231640" y="462060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6" name="Straight Connector 175"/>
            <p:cNvSpPr/>
            <p:nvPr/>
          </p:nvSpPr>
          <p:spPr>
            <a:xfrm>
              <a:off x="2232360" y="4569840"/>
              <a:ext cx="478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7" name="Freeform: Shape 172"/>
            <p:cNvSpPr/>
            <p:nvPr/>
          </p:nvSpPr>
          <p:spPr>
            <a:xfrm>
              <a:off x="2232360" y="4487760"/>
              <a:ext cx="47160" cy="3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2" h="105" fill="none">
                  <a:moveTo>
                    <a:pt x="0" y="105"/>
                  </a:moveTo>
                  <a:lnTo>
                    <a:pt x="67" y="0"/>
                  </a:lnTo>
                  <a:lnTo>
                    <a:pt x="132" y="10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8" name="Straight Connector 177"/>
            <p:cNvSpPr/>
            <p:nvPr/>
          </p:nvSpPr>
          <p:spPr>
            <a:xfrm>
              <a:off x="2257200" y="4539600"/>
              <a:ext cx="0" cy="20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9" name="Straight Connector 178"/>
            <p:cNvSpPr/>
            <p:nvPr/>
          </p:nvSpPr>
          <p:spPr>
            <a:xfrm flipV="1">
              <a:off x="2256480" y="4451760"/>
              <a:ext cx="0" cy="36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0" name="Straight Connector 179"/>
            <p:cNvSpPr/>
            <p:nvPr/>
          </p:nvSpPr>
          <p:spPr>
            <a:xfrm>
              <a:off x="2345039" y="4777560"/>
              <a:ext cx="0" cy="81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1" name="Straight Connector 180"/>
            <p:cNvSpPr/>
            <p:nvPr/>
          </p:nvSpPr>
          <p:spPr>
            <a:xfrm>
              <a:off x="2319120" y="4858920"/>
              <a:ext cx="507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2" name="Straight Connector 181"/>
            <p:cNvSpPr/>
            <p:nvPr/>
          </p:nvSpPr>
          <p:spPr>
            <a:xfrm>
              <a:off x="2247480" y="4997160"/>
              <a:ext cx="4143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3" name="Freeform: Shape 178"/>
            <p:cNvSpPr/>
            <p:nvPr/>
          </p:nvSpPr>
          <p:spPr>
            <a:xfrm>
              <a:off x="2357280" y="3765960"/>
              <a:ext cx="304200" cy="121355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6" h="3372" fill="none">
                  <a:moveTo>
                    <a:pt x="0" y="3372"/>
                  </a:moveTo>
                  <a:lnTo>
                    <a:pt x="348" y="0"/>
                  </a:lnTo>
                  <a:lnTo>
                    <a:pt x="408" y="169"/>
                  </a:lnTo>
                  <a:lnTo>
                    <a:pt x="468" y="0"/>
                  </a:lnTo>
                  <a:lnTo>
                    <a:pt x="846" y="336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4" name="Straight Connector 183"/>
            <p:cNvSpPr/>
            <p:nvPr/>
          </p:nvSpPr>
          <p:spPr>
            <a:xfrm>
              <a:off x="2508841" y="3855598"/>
              <a:ext cx="123081" cy="1116006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5" name="Straight Connector 184"/>
            <p:cNvSpPr/>
            <p:nvPr/>
          </p:nvSpPr>
          <p:spPr>
            <a:xfrm>
              <a:off x="2644560" y="4823280"/>
              <a:ext cx="121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6" name="Straight Connector 185"/>
            <p:cNvSpPr/>
            <p:nvPr/>
          </p:nvSpPr>
          <p:spPr>
            <a:xfrm>
              <a:off x="26935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7" name="Straight Connector 186"/>
            <p:cNvSpPr/>
            <p:nvPr/>
          </p:nvSpPr>
          <p:spPr>
            <a:xfrm>
              <a:off x="3372120" y="4893480"/>
              <a:ext cx="0" cy="11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8" name="Straight Connector 187"/>
            <p:cNvSpPr/>
            <p:nvPr/>
          </p:nvSpPr>
          <p:spPr>
            <a:xfrm>
              <a:off x="2856960" y="4997160"/>
              <a:ext cx="2509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9" name="Straight Connector 188"/>
            <p:cNvSpPr/>
            <p:nvPr/>
          </p:nvSpPr>
          <p:spPr>
            <a:xfrm>
              <a:off x="2905560" y="5026680"/>
              <a:ext cx="72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0" name="Straight Connector 189"/>
            <p:cNvSpPr/>
            <p:nvPr/>
          </p:nvSpPr>
          <p:spPr>
            <a:xfrm>
              <a:off x="2657880" y="4673160"/>
              <a:ext cx="64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1" name="Straight Connector 190"/>
            <p:cNvSpPr/>
            <p:nvPr/>
          </p:nvSpPr>
          <p:spPr>
            <a:xfrm>
              <a:off x="2809800" y="4673160"/>
              <a:ext cx="1411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2" name="Straight Connector 191"/>
            <p:cNvSpPr/>
            <p:nvPr/>
          </p:nvSpPr>
          <p:spPr>
            <a:xfrm>
              <a:off x="272448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3" name="Freeform: Shape 188"/>
            <p:cNvSpPr/>
            <p:nvPr/>
          </p:nvSpPr>
          <p:spPr>
            <a:xfrm>
              <a:off x="2809800" y="4582440"/>
              <a:ext cx="333720" cy="3074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8" h="855" fill="none">
                  <a:moveTo>
                    <a:pt x="0" y="0"/>
                  </a:moveTo>
                  <a:lnTo>
                    <a:pt x="0" y="855"/>
                  </a:lnTo>
                  <a:lnTo>
                    <a:pt x="928" y="855"/>
                  </a:lnTo>
                  <a:lnTo>
                    <a:pt x="883" y="782"/>
                  </a:lnTo>
                  <a:lnTo>
                    <a:pt x="77" y="78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4" name="Straight Connector 193"/>
            <p:cNvSpPr/>
            <p:nvPr/>
          </p:nvSpPr>
          <p:spPr>
            <a:xfrm>
              <a:off x="276588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5" name="Straight Connector 194"/>
            <p:cNvSpPr/>
            <p:nvPr/>
          </p:nvSpPr>
          <p:spPr>
            <a:xfrm>
              <a:off x="276588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6" name="Straight Connector 195"/>
            <p:cNvSpPr/>
            <p:nvPr/>
          </p:nvSpPr>
          <p:spPr>
            <a:xfrm>
              <a:off x="2700000" y="4565160"/>
              <a:ext cx="13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7" name="Freeform: Shape 192"/>
            <p:cNvSpPr/>
            <p:nvPr/>
          </p:nvSpPr>
          <p:spPr>
            <a:xfrm>
              <a:off x="2710800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8" name="Straight Connector 197"/>
            <p:cNvSpPr/>
            <p:nvPr/>
          </p:nvSpPr>
          <p:spPr>
            <a:xfrm>
              <a:off x="276696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9" name="Freeform: Shape 194"/>
            <p:cNvSpPr/>
            <p:nvPr/>
          </p:nvSpPr>
          <p:spPr>
            <a:xfrm>
              <a:off x="3039120" y="4673160"/>
              <a:ext cx="411480" cy="626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44" h="175" fill="none">
                  <a:moveTo>
                    <a:pt x="0" y="0"/>
                  </a:moveTo>
                  <a:lnTo>
                    <a:pt x="1144" y="0"/>
                  </a:lnTo>
                  <a:lnTo>
                    <a:pt x="1144" y="175"/>
                  </a:lnTo>
                  <a:lnTo>
                    <a:pt x="780" y="175"/>
                  </a:lnTo>
                  <a:lnTo>
                    <a:pt x="780" y="8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0" name="Straight Connector 199"/>
            <p:cNvSpPr/>
            <p:nvPr/>
          </p:nvSpPr>
          <p:spPr>
            <a:xfrm>
              <a:off x="295380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1" name="Straight Connector 200"/>
            <p:cNvSpPr/>
            <p:nvPr/>
          </p:nvSpPr>
          <p:spPr>
            <a:xfrm>
              <a:off x="3039120" y="4582440"/>
              <a:ext cx="0" cy="189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2" name="Straight Connector 201"/>
            <p:cNvSpPr/>
            <p:nvPr/>
          </p:nvSpPr>
          <p:spPr>
            <a:xfrm>
              <a:off x="2995560" y="4582440"/>
              <a:ext cx="0" cy="421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3" name="Straight Connector 202"/>
            <p:cNvSpPr/>
            <p:nvPr/>
          </p:nvSpPr>
          <p:spPr>
            <a:xfrm>
              <a:off x="2995560" y="4669920"/>
              <a:ext cx="0" cy="18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4" name="Straight Connector 203"/>
            <p:cNvSpPr/>
            <p:nvPr/>
          </p:nvSpPr>
          <p:spPr>
            <a:xfrm>
              <a:off x="2929679" y="4565160"/>
              <a:ext cx="133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5" name="Freeform: Shape 200"/>
            <p:cNvSpPr/>
            <p:nvPr/>
          </p:nvSpPr>
          <p:spPr>
            <a:xfrm>
              <a:off x="2940479" y="4506840"/>
              <a:ext cx="106920" cy="44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98" h="124">
                  <a:moveTo>
                    <a:pt x="0" y="124"/>
                  </a:moveTo>
                  <a:cubicBezTo>
                    <a:pt x="0" y="124"/>
                    <a:pt x="31" y="0"/>
                    <a:pt x="156" y="0"/>
                  </a:cubicBezTo>
                  <a:cubicBezTo>
                    <a:pt x="281" y="0"/>
                    <a:pt x="298" y="124"/>
                    <a:pt x="298" y="124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6" name="Straight Connector 205"/>
            <p:cNvSpPr/>
            <p:nvPr/>
          </p:nvSpPr>
          <p:spPr>
            <a:xfrm>
              <a:off x="2996640" y="4424040"/>
              <a:ext cx="0" cy="83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7" name="Freeform: Shape 202"/>
            <p:cNvSpPr/>
            <p:nvPr/>
          </p:nvSpPr>
          <p:spPr>
            <a:xfrm>
              <a:off x="306432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8" name="Freeform: Shape 203"/>
            <p:cNvSpPr/>
            <p:nvPr/>
          </p:nvSpPr>
          <p:spPr>
            <a:xfrm>
              <a:off x="315144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9" name="Freeform: Shape 204"/>
            <p:cNvSpPr/>
            <p:nvPr/>
          </p:nvSpPr>
          <p:spPr>
            <a:xfrm>
              <a:off x="3238560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0" name="Freeform: Shape 205"/>
            <p:cNvSpPr/>
            <p:nvPr/>
          </p:nvSpPr>
          <p:spPr>
            <a:xfrm>
              <a:off x="3325679" y="4788000"/>
              <a:ext cx="43200" cy="37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1" h="104" fill="none">
                  <a:moveTo>
                    <a:pt x="121" y="0"/>
                  </a:moveTo>
                  <a:lnTo>
                    <a:pt x="121" y="104"/>
                  </a:lnTo>
                  <a:lnTo>
                    <a:pt x="0" y="104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1" name="Freeform: Shape 206"/>
            <p:cNvSpPr/>
            <p:nvPr/>
          </p:nvSpPr>
          <p:spPr>
            <a:xfrm>
              <a:off x="271404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2" name="Freeform: Shape 207"/>
            <p:cNvSpPr/>
            <p:nvPr/>
          </p:nvSpPr>
          <p:spPr>
            <a:xfrm>
              <a:off x="2940120" y="4930200"/>
              <a:ext cx="18864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5" h="132">
                  <a:moveTo>
                    <a:pt x="0" y="132"/>
                  </a:moveTo>
                  <a:cubicBezTo>
                    <a:pt x="0" y="132"/>
                    <a:pt x="62" y="0"/>
                    <a:pt x="276" y="0"/>
                  </a:cubicBezTo>
                  <a:cubicBezTo>
                    <a:pt x="490" y="0"/>
                    <a:pt x="525" y="132"/>
                    <a:pt x="525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3" name="Freeform: Shape 208"/>
            <p:cNvSpPr/>
            <p:nvPr/>
          </p:nvSpPr>
          <p:spPr>
            <a:xfrm>
              <a:off x="3166200" y="4930200"/>
              <a:ext cx="1890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26" h="132">
                  <a:moveTo>
                    <a:pt x="0" y="132"/>
                  </a:moveTo>
                  <a:cubicBezTo>
                    <a:pt x="0" y="132"/>
                    <a:pt x="63" y="0"/>
                    <a:pt x="277" y="0"/>
                  </a:cubicBezTo>
                  <a:cubicBezTo>
                    <a:pt x="491" y="0"/>
                    <a:pt x="526" y="132"/>
                    <a:pt x="526" y="132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4" name="Straight Connector 213"/>
            <p:cNvSpPr/>
            <p:nvPr/>
          </p:nvSpPr>
          <p:spPr>
            <a:xfrm>
              <a:off x="3506039" y="4715280"/>
              <a:ext cx="5212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5" name="Straight Connector 214"/>
            <p:cNvSpPr/>
            <p:nvPr/>
          </p:nvSpPr>
          <p:spPr>
            <a:xfrm>
              <a:off x="3629160" y="4756680"/>
              <a:ext cx="274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6" name="Straight Connector 215"/>
            <p:cNvSpPr/>
            <p:nvPr/>
          </p:nvSpPr>
          <p:spPr>
            <a:xfrm>
              <a:off x="3711960" y="4797360"/>
              <a:ext cx="10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7" name="Freeform: Shape 212"/>
            <p:cNvSpPr/>
            <p:nvPr/>
          </p:nvSpPr>
          <p:spPr>
            <a:xfrm>
              <a:off x="4082040" y="4701600"/>
              <a:ext cx="54720" cy="1368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381">
                  <a:moveTo>
                    <a:pt x="153" y="0"/>
                  </a:moveTo>
                  <a:lnTo>
                    <a:pt x="153" y="381"/>
                  </a:lnTo>
                  <a:lnTo>
                    <a:pt x="0" y="25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8" name="Straight Connector 217"/>
            <p:cNvSpPr/>
            <p:nvPr/>
          </p:nvSpPr>
          <p:spPr>
            <a:xfrm>
              <a:off x="4082040" y="4852440"/>
              <a:ext cx="41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9" name="Freeform: Shape 214"/>
            <p:cNvSpPr/>
            <p:nvPr/>
          </p:nvSpPr>
          <p:spPr>
            <a:xfrm>
              <a:off x="3835440" y="4838760"/>
              <a:ext cx="95400" cy="191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6" h="533">
                  <a:moveTo>
                    <a:pt x="266" y="0"/>
                  </a:moveTo>
                  <a:lnTo>
                    <a:pt x="266" y="533"/>
                  </a:lnTo>
                  <a:lnTo>
                    <a:pt x="0" y="35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0" name="Straight Connector 219"/>
            <p:cNvSpPr/>
            <p:nvPr/>
          </p:nvSpPr>
          <p:spPr>
            <a:xfrm>
              <a:off x="3835440" y="5044320"/>
              <a:ext cx="547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1" name="Straight Connector 220"/>
            <p:cNvSpPr/>
            <p:nvPr/>
          </p:nvSpPr>
          <p:spPr>
            <a:xfrm>
              <a:off x="3506039" y="4866120"/>
              <a:ext cx="1094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2" name="Straight Connector 221"/>
            <p:cNvSpPr/>
            <p:nvPr/>
          </p:nvSpPr>
          <p:spPr>
            <a:xfrm>
              <a:off x="3409920" y="4618440"/>
              <a:ext cx="0" cy="55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3" name="Straight Connector 222"/>
            <p:cNvSpPr/>
            <p:nvPr/>
          </p:nvSpPr>
          <p:spPr>
            <a:xfrm>
              <a:off x="4205880" y="4715280"/>
              <a:ext cx="219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4" name="Straight Connector 223"/>
            <p:cNvSpPr/>
            <p:nvPr/>
          </p:nvSpPr>
          <p:spPr>
            <a:xfrm>
              <a:off x="-5216400" y="4862160"/>
              <a:ext cx="190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5" name="Straight Connector 224"/>
            <p:cNvSpPr/>
            <p:nvPr/>
          </p:nvSpPr>
          <p:spPr>
            <a:xfrm>
              <a:off x="-5132520" y="4893480"/>
              <a:ext cx="0" cy="11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6" name="Straight Connector 225"/>
            <p:cNvSpPr/>
            <p:nvPr/>
          </p:nvSpPr>
          <p:spPr>
            <a:xfrm>
              <a:off x="-4992480" y="4796640"/>
              <a:ext cx="535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7" name="Straight Connector 226"/>
            <p:cNvSpPr/>
            <p:nvPr/>
          </p:nvSpPr>
          <p:spPr>
            <a:xfrm>
              <a:off x="-4873320" y="4839120"/>
              <a:ext cx="289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8" name="Straight Connector 227"/>
            <p:cNvSpPr/>
            <p:nvPr/>
          </p:nvSpPr>
          <p:spPr>
            <a:xfrm>
              <a:off x="-4781520" y="4879440"/>
              <a:ext cx="106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9" name="Straight Connector 228"/>
            <p:cNvSpPr/>
            <p:nvPr/>
          </p:nvSpPr>
          <p:spPr>
            <a:xfrm>
              <a:off x="-4398840" y="4768559"/>
              <a:ext cx="0" cy="3276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0" name="Straight Connector 229"/>
            <p:cNvSpPr/>
            <p:nvPr/>
          </p:nvSpPr>
          <p:spPr>
            <a:xfrm>
              <a:off x="-4361040" y="4801320"/>
              <a:ext cx="358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1" name="Freeform: Shape 226"/>
            <p:cNvSpPr/>
            <p:nvPr/>
          </p:nvSpPr>
          <p:spPr>
            <a:xfrm>
              <a:off x="-4316040" y="4453920"/>
              <a:ext cx="516599" cy="330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36" h="918" fill="none">
                  <a:moveTo>
                    <a:pt x="0" y="918"/>
                  </a:moveTo>
                  <a:lnTo>
                    <a:pt x="718" y="0"/>
                  </a:lnTo>
                  <a:lnTo>
                    <a:pt x="1436" y="918"/>
                  </a:lnTo>
                  <a:lnTo>
                    <a:pt x="1436" y="75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2" name="Freeform: Shape 227"/>
            <p:cNvSpPr/>
            <p:nvPr/>
          </p:nvSpPr>
          <p:spPr>
            <a:xfrm>
              <a:off x="-3766320" y="4149360"/>
              <a:ext cx="319680" cy="673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89" h="1872" fill="none">
                  <a:moveTo>
                    <a:pt x="0" y="1872"/>
                  </a:moveTo>
                  <a:lnTo>
                    <a:pt x="0" y="0"/>
                  </a:lnTo>
                  <a:lnTo>
                    <a:pt x="889" y="0"/>
                  </a:lnTo>
                  <a:lnTo>
                    <a:pt x="889" y="142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3" name="Freeform: Shape 228"/>
            <p:cNvSpPr/>
            <p:nvPr/>
          </p:nvSpPr>
          <p:spPr>
            <a:xfrm>
              <a:off x="-3577320" y="4686480"/>
              <a:ext cx="262080" cy="20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29" h="570" fill="none">
                  <a:moveTo>
                    <a:pt x="0" y="570"/>
                  </a:moveTo>
                  <a:lnTo>
                    <a:pt x="0" y="0"/>
                  </a:lnTo>
                  <a:lnTo>
                    <a:pt x="729" y="0"/>
                  </a:lnTo>
                  <a:lnTo>
                    <a:pt x="729" y="56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4" name="Straight Connector 233"/>
            <p:cNvSpPr/>
            <p:nvPr/>
          </p:nvSpPr>
          <p:spPr>
            <a:xfrm>
              <a:off x="-3409920" y="4643280"/>
              <a:ext cx="7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5" name="Straight Connector 234"/>
            <p:cNvSpPr/>
            <p:nvPr/>
          </p:nvSpPr>
          <p:spPr>
            <a:xfrm>
              <a:off x="-3385440" y="459504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6" name="Straight Connector 235"/>
            <p:cNvSpPr/>
            <p:nvPr/>
          </p:nvSpPr>
          <p:spPr>
            <a:xfrm>
              <a:off x="-3625560" y="4035240"/>
              <a:ext cx="399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7" name="Straight Connector 236"/>
            <p:cNvSpPr/>
            <p:nvPr/>
          </p:nvSpPr>
          <p:spPr>
            <a:xfrm>
              <a:off x="-3654360" y="4070160"/>
              <a:ext cx="97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8" name="Freeform: Shape 233"/>
            <p:cNvSpPr/>
            <p:nvPr/>
          </p:nvSpPr>
          <p:spPr>
            <a:xfrm>
              <a:off x="-3675959" y="4097160"/>
              <a:ext cx="142920" cy="51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98" h="145" fill="none">
                  <a:moveTo>
                    <a:pt x="0" y="145"/>
                  </a:moveTo>
                  <a:lnTo>
                    <a:pt x="0" y="0"/>
                  </a:lnTo>
                  <a:lnTo>
                    <a:pt x="398" y="0"/>
                  </a:lnTo>
                  <a:lnTo>
                    <a:pt x="398" y="145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9" name="Straight Connector 238"/>
            <p:cNvSpPr/>
            <p:nvPr/>
          </p:nvSpPr>
          <p:spPr>
            <a:xfrm>
              <a:off x="-3684600" y="4907520"/>
              <a:ext cx="186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0" name="Straight Connector 239"/>
            <p:cNvSpPr/>
            <p:nvPr/>
          </p:nvSpPr>
          <p:spPr>
            <a:xfrm flipV="1">
              <a:off x="-3395520" y="4727159"/>
              <a:ext cx="0" cy="15840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1" name="Straight Connector 240"/>
            <p:cNvSpPr/>
            <p:nvPr/>
          </p:nvSpPr>
          <p:spPr>
            <a:xfrm flipV="1">
              <a:off x="-3260880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2" name="Straight Connector 241"/>
            <p:cNvSpPr/>
            <p:nvPr/>
          </p:nvSpPr>
          <p:spPr>
            <a:xfrm flipV="1">
              <a:off x="-3137039" y="4207320"/>
              <a:ext cx="0" cy="4978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3" name="Freeform: Shape 238"/>
            <p:cNvSpPr/>
            <p:nvPr/>
          </p:nvSpPr>
          <p:spPr>
            <a:xfrm>
              <a:off x="-3254759" y="4184639"/>
              <a:ext cx="110160" cy="33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95" fill="none">
                  <a:moveTo>
                    <a:pt x="0" y="95"/>
                  </a:moveTo>
                  <a:lnTo>
                    <a:pt x="155" y="0"/>
                  </a:lnTo>
                  <a:lnTo>
                    <a:pt x="307" y="9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4" name="Straight Connector 243"/>
            <p:cNvSpPr/>
            <p:nvPr/>
          </p:nvSpPr>
          <p:spPr>
            <a:xfrm flipV="1">
              <a:off x="-3198960" y="4076640"/>
              <a:ext cx="0" cy="1079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5" name="Freeform: Shape 240"/>
            <p:cNvSpPr/>
            <p:nvPr/>
          </p:nvSpPr>
          <p:spPr>
            <a:xfrm>
              <a:off x="-3226680" y="4241520"/>
              <a:ext cx="54720" cy="30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3" h="85">
                  <a:moveTo>
                    <a:pt x="76" y="85"/>
                  </a:moveTo>
                  <a:lnTo>
                    <a:pt x="0" y="85"/>
                  </a:lnTo>
                  <a:lnTo>
                    <a:pt x="0" y="0"/>
                  </a:lnTo>
                  <a:lnTo>
                    <a:pt x="153" y="0"/>
                  </a:lnTo>
                  <a:lnTo>
                    <a:pt x="153" y="8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6" name="Freeform: Shape 241"/>
            <p:cNvSpPr/>
            <p:nvPr/>
          </p:nvSpPr>
          <p:spPr>
            <a:xfrm>
              <a:off x="-3241080" y="4300560"/>
              <a:ext cx="82080" cy="154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9" h="44">
                  <a:moveTo>
                    <a:pt x="115" y="44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229" y="0"/>
                  </a:lnTo>
                  <a:lnTo>
                    <a:pt x="229" y="4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7" name="Freeform: Shape 242"/>
            <p:cNvSpPr/>
            <p:nvPr/>
          </p:nvSpPr>
          <p:spPr>
            <a:xfrm>
              <a:off x="-3244320" y="43383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8" name="Freeform: Shape 243"/>
            <p:cNvSpPr/>
            <p:nvPr/>
          </p:nvSpPr>
          <p:spPr>
            <a:xfrm>
              <a:off x="-3244320" y="436823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9" name="Freeform: Shape 244"/>
            <p:cNvSpPr/>
            <p:nvPr/>
          </p:nvSpPr>
          <p:spPr>
            <a:xfrm>
              <a:off x="-3244320" y="439776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0" name="Freeform: Shape 245"/>
            <p:cNvSpPr/>
            <p:nvPr/>
          </p:nvSpPr>
          <p:spPr>
            <a:xfrm>
              <a:off x="-3244320" y="442727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1" name="Freeform: Shape 246"/>
            <p:cNvSpPr/>
            <p:nvPr/>
          </p:nvSpPr>
          <p:spPr>
            <a:xfrm>
              <a:off x="-3244320" y="445680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2" name="Freeform: Shape 247"/>
            <p:cNvSpPr/>
            <p:nvPr/>
          </p:nvSpPr>
          <p:spPr>
            <a:xfrm>
              <a:off x="-3244320" y="44863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3" name="Freeform: Shape 248"/>
            <p:cNvSpPr/>
            <p:nvPr/>
          </p:nvSpPr>
          <p:spPr>
            <a:xfrm>
              <a:off x="-3244320" y="45158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4" name="Freeform: Shape 249"/>
            <p:cNvSpPr/>
            <p:nvPr/>
          </p:nvSpPr>
          <p:spPr>
            <a:xfrm>
              <a:off x="-3244320" y="45457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5" name="Freeform: Shape 250"/>
            <p:cNvSpPr/>
            <p:nvPr/>
          </p:nvSpPr>
          <p:spPr>
            <a:xfrm>
              <a:off x="-3244320" y="45752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6" name="Freeform: Shape 251"/>
            <p:cNvSpPr/>
            <p:nvPr/>
          </p:nvSpPr>
          <p:spPr>
            <a:xfrm>
              <a:off x="-3244320" y="4604759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7" name="Freeform: Shape 252"/>
            <p:cNvSpPr/>
            <p:nvPr/>
          </p:nvSpPr>
          <p:spPr>
            <a:xfrm>
              <a:off x="-3244320" y="46346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8" name="Freeform: Shape 253"/>
            <p:cNvSpPr/>
            <p:nvPr/>
          </p:nvSpPr>
          <p:spPr>
            <a:xfrm>
              <a:off x="-3244320" y="466452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9" name="Freeform: Shape 254"/>
            <p:cNvSpPr/>
            <p:nvPr/>
          </p:nvSpPr>
          <p:spPr>
            <a:xfrm>
              <a:off x="-3244320" y="4694040"/>
              <a:ext cx="8928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49">
                  <a:moveTo>
                    <a:pt x="249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0" name="Freeform: Shape 255"/>
            <p:cNvSpPr/>
            <p:nvPr/>
          </p:nvSpPr>
          <p:spPr>
            <a:xfrm>
              <a:off x="-3121200" y="44125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1" name="Freeform: Shape 256"/>
            <p:cNvSpPr/>
            <p:nvPr/>
          </p:nvSpPr>
          <p:spPr>
            <a:xfrm>
              <a:off x="-3121200" y="44326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2" name="Freeform: Shape 257"/>
            <p:cNvSpPr/>
            <p:nvPr/>
          </p:nvSpPr>
          <p:spPr>
            <a:xfrm>
              <a:off x="-3121200" y="44524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3" name="Freeform: Shape 258"/>
            <p:cNvSpPr/>
            <p:nvPr/>
          </p:nvSpPr>
          <p:spPr>
            <a:xfrm>
              <a:off x="-3121200" y="4472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4" name="Freeform: Shape 259"/>
            <p:cNvSpPr/>
            <p:nvPr/>
          </p:nvSpPr>
          <p:spPr>
            <a:xfrm>
              <a:off x="-3121200" y="44928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5" name="Freeform: Shape 260"/>
            <p:cNvSpPr/>
            <p:nvPr/>
          </p:nvSpPr>
          <p:spPr>
            <a:xfrm>
              <a:off x="-3121200" y="45129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6" name="Freeform: Shape 261"/>
            <p:cNvSpPr/>
            <p:nvPr/>
          </p:nvSpPr>
          <p:spPr>
            <a:xfrm>
              <a:off x="-3121200" y="45331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7" name="Freeform: Shape 262"/>
            <p:cNvSpPr/>
            <p:nvPr/>
          </p:nvSpPr>
          <p:spPr>
            <a:xfrm>
              <a:off x="-3121200" y="45536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8" name="Freeform: Shape 263"/>
            <p:cNvSpPr/>
            <p:nvPr/>
          </p:nvSpPr>
          <p:spPr>
            <a:xfrm>
              <a:off x="-3121200" y="45734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69" name="Freeform: Shape 264"/>
            <p:cNvSpPr/>
            <p:nvPr/>
          </p:nvSpPr>
          <p:spPr>
            <a:xfrm>
              <a:off x="-3121200" y="459360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0" name="Freeform: Shape 265"/>
            <p:cNvSpPr/>
            <p:nvPr/>
          </p:nvSpPr>
          <p:spPr>
            <a:xfrm>
              <a:off x="-3121200" y="461376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1" name="Freeform: Shape 266"/>
            <p:cNvSpPr/>
            <p:nvPr/>
          </p:nvSpPr>
          <p:spPr>
            <a:xfrm>
              <a:off x="-3121200" y="463392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2" name="Freeform: Shape 267"/>
            <p:cNvSpPr/>
            <p:nvPr/>
          </p:nvSpPr>
          <p:spPr>
            <a:xfrm>
              <a:off x="-3121200" y="465408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3" name="Freeform: Shape 268"/>
            <p:cNvSpPr/>
            <p:nvPr/>
          </p:nvSpPr>
          <p:spPr>
            <a:xfrm>
              <a:off x="-3121200" y="4674240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4" name="Freeform: Shape 269"/>
            <p:cNvSpPr/>
            <p:nvPr/>
          </p:nvSpPr>
          <p:spPr>
            <a:xfrm>
              <a:off x="-3121200" y="4694759"/>
              <a:ext cx="131760" cy="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7">
                  <a:moveTo>
                    <a:pt x="367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5" name="Straight Connector 274"/>
            <p:cNvSpPr/>
            <p:nvPr/>
          </p:nvSpPr>
          <p:spPr>
            <a:xfrm>
              <a:off x="-2967839" y="4408200"/>
              <a:ext cx="0" cy="2912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6" name="Freeform: Shape 271"/>
            <p:cNvSpPr/>
            <p:nvPr/>
          </p:nvSpPr>
          <p:spPr>
            <a:xfrm>
              <a:off x="-3223800" y="4715640"/>
              <a:ext cx="615240" cy="1000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10" h="279" fill="none">
                  <a:moveTo>
                    <a:pt x="0" y="0"/>
                  </a:moveTo>
                  <a:lnTo>
                    <a:pt x="1034" y="0"/>
                  </a:lnTo>
                  <a:lnTo>
                    <a:pt x="1034" y="170"/>
                  </a:lnTo>
                  <a:lnTo>
                    <a:pt x="1710" y="170"/>
                  </a:lnTo>
                  <a:lnTo>
                    <a:pt x="1710" y="27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7" name="Freeform: Shape 272"/>
            <p:cNvSpPr/>
            <p:nvPr/>
          </p:nvSpPr>
          <p:spPr>
            <a:xfrm>
              <a:off x="-2857680" y="4826160"/>
              <a:ext cx="456119" cy="49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268" h="138" fill="none">
                  <a:moveTo>
                    <a:pt x="0" y="0"/>
                  </a:moveTo>
                  <a:lnTo>
                    <a:pt x="491" y="0"/>
                  </a:lnTo>
                  <a:lnTo>
                    <a:pt x="491" y="138"/>
                  </a:lnTo>
                  <a:lnTo>
                    <a:pt x="1268" y="138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8" name="Straight Connector 277"/>
            <p:cNvSpPr/>
            <p:nvPr/>
          </p:nvSpPr>
          <p:spPr>
            <a:xfrm>
              <a:off x="-329652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79" name="Straight Connector 278"/>
            <p:cNvSpPr/>
            <p:nvPr/>
          </p:nvSpPr>
          <p:spPr>
            <a:xfrm>
              <a:off x="-3279600" y="4572360"/>
              <a:ext cx="0" cy="136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0" name="Freeform: Shape 275"/>
            <p:cNvSpPr/>
            <p:nvPr/>
          </p:nvSpPr>
          <p:spPr>
            <a:xfrm>
              <a:off x="-3272400" y="4766040"/>
              <a:ext cx="179280" cy="957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99" h="267" fill="none">
                  <a:moveTo>
                    <a:pt x="0" y="267"/>
                  </a:moveTo>
                  <a:lnTo>
                    <a:pt x="0" y="0"/>
                  </a:lnTo>
                  <a:lnTo>
                    <a:pt x="499" y="0"/>
                  </a:lnTo>
                  <a:lnTo>
                    <a:pt x="499" y="26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1" name="Freeform: Shape 276"/>
            <p:cNvSpPr/>
            <p:nvPr/>
          </p:nvSpPr>
          <p:spPr>
            <a:xfrm>
              <a:off x="-3244320" y="4791240"/>
              <a:ext cx="97200" cy="248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1" h="70">
                  <a:moveTo>
                    <a:pt x="135" y="70"/>
                  </a:moveTo>
                  <a:lnTo>
                    <a:pt x="0" y="70"/>
                  </a:lnTo>
                  <a:lnTo>
                    <a:pt x="0" y="0"/>
                  </a:lnTo>
                  <a:lnTo>
                    <a:pt x="271" y="0"/>
                  </a:lnTo>
                  <a:lnTo>
                    <a:pt x="271" y="7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2" name="Freeform: Shape 277"/>
            <p:cNvSpPr/>
            <p:nvPr/>
          </p:nvSpPr>
          <p:spPr>
            <a:xfrm>
              <a:off x="-3013560" y="4733279"/>
              <a:ext cx="13824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85" h="64">
                  <a:moveTo>
                    <a:pt x="192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385" y="0"/>
                  </a:lnTo>
                  <a:lnTo>
                    <a:pt x="385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3" name="Freeform: Shape 278"/>
            <p:cNvSpPr/>
            <p:nvPr/>
          </p:nvSpPr>
          <p:spPr>
            <a:xfrm>
              <a:off x="-2806920" y="4721760"/>
              <a:ext cx="83880" cy="22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34" h="64">
                  <a:moveTo>
                    <a:pt x="117" y="64"/>
                  </a:moveTo>
                  <a:lnTo>
                    <a:pt x="0" y="64"/>
                  </a:lnTo>
                  <a:lnTo>
                    <a:pt x="0" y="0"/>
                  </a:lnTo>
                  <a:lnTo>
                    <a:pt x="234" y="0"/>
                  </a:lnTo>
                  <a:lnTo>
                    <a:pt x="234" y="6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4" name="Freeform: Shape 279"/>
            <p:cNvSpPr/>
            <p:nvPr/>
          </p:nvSpPr>
          <p:spPr>
            <a:xfrm>
              <a:off x="-2592360" y="4716000"/>
              <a:ext cx="77760" cy="52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7" h="146">
                  <a:moveTo>
                    <a:pt x="109" y="146"/>
                  </a:moveTo>
                  <a:lnTo>
                    <a:pt x="0" y="146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17" y="14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5" name="Freeform: Shape 280"/>
            <p:cNvSpPr/>
            <p:nvPr/>
          </p:nvSpPr>
          <p:spPr>
            <a:xfrm>
              <a:off x="-2577240" y="4798080"/>
              <a:ext cx="29520" cy="50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3" h="141">
                  <a:moveTo>
                    <a:pt x="42" y="141"/>
                  </a:moveTo>
                  <a:lnTo>
                    <a:pt x="0" y="141"/>
                  </a:lnTo>
                  <a:lnTo>
                    <a:pt x="0" y="0"/>
                  </a:lnTo>
                  <a:lnTo>
                    <a:pt x="83" y="0"/>
                  </a:lnTo>
                  <a:lnTo>
                    <a:pt x="83" y="141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6" name="Freeform: Shape 281"/>
            <p:cNvSpPr/>
            <p:nvPr/>
          </p:nvSpPr>
          <p:spPr>
            <a:xfrm>
              <a:off x="-2904480" y="4563000"/>
              <a:ext cx="56880" cy="187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9" h="53">
                  <a:moveTo>
                    <a:pt x="80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159" y="0"/>
                  </a:lnTo>
                  <a:lnTo>
                    <a:pt x="159" y="5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7" name="Freeform: Shape 282"/>
            <p:cNvSpPr/>
            <p:nvPr/>
          </p:nvSpPr>
          <p:spPr>
            <a:xfrm>
              <a:off x="-2922479" y="4545720"/>
              <a:ext cx="129240" cy="1512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60" h="421" fill="none">
                  <a:moveTo>
                    <a:pt x="0" y="421"/>
                  </a:moveTo>
                  <a:lnTo>
                    <a:pt x="0" y="0"/>
                  </a:lnTo>
                  <a:lnTo>
                    <a:pt x="360" y="0"/>
                  </a:lnTo>
                  <a:lnTo>
                    <a:pt x="360" y="42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8" name="Freeform: Shape 283"/>
            <p:cNvSpPr/>
            <p:nvPr/>
          </p:nvSpPr>
          <p:spPr>
            <a:xfrm>
              <a:off x="-3839400" y="4632120"/>
              <a:ext cx="39960" cy="57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" h="162">
                  <a:moveTo>
                    <a:pt x="56" y="162"/>
                  </a:moveTo>
                  <a:lnTo>
                    <a:pt x="0" y="162"/>
                  </a:lnTo>
                  <a:lnTo>
                    <a:pt x="0" y="0"/>
                  </a:lnTo>
                  <a:lnTo>
                    <a:pt x="112" y="0"/>
                  </a:lnTo>
                  <a:lnTo>
                    <a:pt x="112" y="16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89" name="Freeform: Shape 284"/>
            <p:cNvSpPr/>
            <p:nvPr/>
          </p:nvSpPr>
          <p:spPr>
            <a:xfrm>
              <a:off x="-3866039" y="4824360"/>
              <a:ext cx="69840" cy="23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95" h="65">
                  <a:moveTo>
                    <a:pt x="98" y="65"/>
                  </a:moveTo>
                  <a:lnTo>
                    <a:pt x="0" y="65"/>
                  </a:lnTo>
                  <a:lnTo>
                    <a:pt x="0" y="0"/>
                  </a:lnTo>
                  <a:lnTo>
                    <a:pt x="195" y="0"/>
                  </a:lnTo>
                  <a:lnTo>
                    <a:pt x="195" y="65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0" name="Freeform: Shape 285"/>
            <p:cNvSpPr/>
            <p:nvPr/>
          </p:nvSpPr>
          <p:spPr>
            <a:xfrm>
              <a:off x="-1710720" y="4671000"/>
              <a:ext cx="32400" cy="594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" h="166">
                  <a:moveTo>
                    <a:pt x="46" y="166"/>
                  </a:moveTo>
                  <a:lnTo>
                    <a:pt x="0" y="166"/>
                  </a:lnTo>
                  <a:lnTo>
                    <a:pt x="0" y="0"/>
                  </a:lnTo>
                  <a:lnTo>
                    <a:pt x="91" y="0"/>
                  </a:lnTo>
                  <a:lnTo>
                    <a:pt x="91" y="166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1" name="Freeform: Shape 286"/>
            <p:cNvSpPr/>
            <p:nvPr/>
          </p:nvSpPr>
          <p:spPr>
            <a:xfrm>
              <a:off x="-1661759" y="4772520"/>
              <a:ext cx="56160" cy="21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7" h="60">
                  <a:moveTo>
                    <a:pt x="79" y="60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157" y="0"/>
                  </a:lnTo>
                  <a:lnTo>
                    <a:pt x="157" y="6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2" name="Freeform: Shape 287"/>
            <p:cNvSpPr/>
            <p:nvPr/>
          </p:nvSpPr>
          <p:spPr>
            <a:xfrm>
              <a:off x="-1556279" y="4707360"/>
              <a:ext cx="151200" cy="47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1" h="132">
                  <a:moveTo>
                    <a:pt x="211" y="132"/>
                  </a:moveTo>
                  <a:lnTo>
                    <a:pt x="0" y="132"/>
                  </a:lnTo>
                  <a:lnTo>
                    <a:pt x="0" y="0"/>
                  </a:lnTo>
                  <a:lnTo>
                    <a:pt x="421" y="0"/>
                  </a:lnTo>
                  <a:lnTo>
                    <a:pt x="421" y="132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3" name="Straight Connector 292"/>
            <p:cNvSpPr/>
            <p:nvPr/>
          </p:nvSpPr>
          <p:spPr>
            <a:xfrm>
              <a:off x="-3120120" y="433620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4" name="Straight Connector 293"/>
            <p:cNvSpPr/>
            <p:nvPr/>
          </p:nvSpPr>
          <p:spPr>
            <a:xfrm>
              <a:off x="-3120120" y="436068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5" name="Straight Connector 294"/>
            <p:cNvSpPr/>
            <p:nvPr/>
          </p:nvSpPr>
          <p:spPr>
            <a:xfrm>
              <a:off x="-3120120" y="4385520"/>
              <a:ext cx="47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6" name="Straight Connector 295"/>
            <p:cNvSpPr/>
            <p:nvPr/>
          </p:nvSpPr>
          <p:spPr>
            <a:xfrm>
              <a:off x="-3106079" y="4290480"/>
              <a:ext cx="0" cy="27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7" name="Straight Connector 296"/>
            <p:cNvSpPr/>
            <p:nvPr/>
          </p:nvSpPr>
          <p:spPr>
            <a:xfrm>
              <a:off x="-27385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8" name="Straight Connector 297"/>
            <p:cNvSpPr/>
            <p:nvPr/>
          </p:nvSpPr>
          <p:spPr>
            <a:xfrm>
              <a:off x="-271764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99" name="Straight Connector 298"/>
            <p:cNvSpPr/>
            <p:nvPr/>
          </p:nvSpPr>
          <p:spPr>
            <a:xfrm>
              <a:off x="-26967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0" name="Straight Connector 299"/>
            <p:cNvSpPr/>
            <p:nvPr/>
          </p:nvSpPr>
          <p:spPr>
            <a:xfrm>
              <a:off x="-2675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1" name="Straight Connector 300"/>
            <p:cNvSpPr/>
            <p:nvPr/>
          </p:nvSpPr>
          <p:spPr>
            <a:xfrm>
              <a:off x="-265500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2" name="Straight Connector 301"/>
            <p:cNvSpPr/>
            <p:nvPr/>
          </p:nvSpPr>
          <p:spPr>
            <a:xfrm>
              <a:off x="-2634119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3" name="Straight Connector 302"/>
            <p:cNvSpPr/>
            <p:nvPr/>
          </p:nvSpPr>
          <p:spPr>
            <a:xfrm>
              <a:off x="-261288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4" name="Straight Connector 303"/>
            <p:cNvSpPr/>
            <p:nvPr/>
          </p:nvSpPr>
          <p:spPr>
            <a:xfrm>
              <a:off x="-2592360" y="4237560"/>
              <a:ext cx="0" cy="467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5" name="Straight Connector 304"/>
            <p:cNvSpPr/>
            <p:nvPr/>
          </p:nvSpPr>
          <p:spPr>
            <a:xfrm>
              <a:off x="-190152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6" name="Straight Connector 305"/>
            <p:cNvSpPr/>
            <p:nvPr/>
          </p:nvSpPr>
          <p:spPr>
            <a:xfrm>
              <a:off x="-1745640" y="4359240"/>
              <a:ext cx="0" cy="460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7" name="Freeform: Shape 302"/>
            <p:cNvSpPr/>
            <p:nvPr/>
          </p:nvSpPr>
          <p:spPr>
            <a:xfrm>
              <a:off x="-2757960" y="4209840"/>
              <a:ext cx="182520" cy="5000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08" h="1390" fill="none">
                  <a:moveTo>
                    <a:pt x="0" y="1390"/>
                  </a:moveTo>
                  <a:lnTo>
                    <a:pt x="0" y="0"/>
                  </a:lnTo>
                  <a:lnTo>
                    <a:pt x="508" y="0"/>
                  </a:lnTo>
                  <a:lnTo>
                    <a:pt x="508" y="138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8" name="Straight Connector 307"/>
            <p:cNvSpPr/>
            <p:nvPr/>
          </p:nvSpPr>
          <p:spPr>
            <a:xfrm>
              <a:off x="-2769480" y="4182479"/>
              <a:ext cx="208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09" name="Straight Connector 308"/>
            <p:cNvSpPr/>
            <p:nvPr/>
          </p:nvSpPr>
          <p:spPr>
            <a:xfrm>
              <a:off x="-2526480" y="4595040"/>
              <a:ext cx="0" cy="51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0" name="Straight Connector 309"/>
            <p:cNvSpPr/>
            <p:nvPr/>
          </p:nvSpPr>
          <p:spPr>
            <a:xfrm>
              <a:off x="-2555640" y="4651560"/>
              <a:ext cx="58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1" name="Straight Connector 310"/>
            <p:cNvSpPr/>
            <p:nvPr/>
          </p:nvSpPr>
          <p:spPr>
            <a:xfrm>
              <a:off x="-2212560" y="4663800"/>
              <a:ext cx="10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2" name="Straight Connector 311"/>
            <p:cNvSpPr/>
            <p:nvPr/>
          </p:nvSpPr>
          <p:spPr>
            <a:xfrm>
              <a:off x="-2124720" y="4632120"/>
              <a:ext cx="0" cy="2915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3" name="Straight Connector 312"/>
            <p:cNvSpPr/>
            <p:nvPr/>
          </p:nvSpPr>
          <p:spPr>
            <a:xfrm>
              <a:off x="-2022840" y="4656600"/>
              <a:ext cx="1094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4" name="Straight Connector 313"/>
            <p:cNvSpPr/>
            <p:nvPr/>
          </p:nvSpPr>
          <p:spPr>
            <a:xfrm>
              <a:off x="-1966680" y="4598640"/>
              <a:ext cx="0" cy="424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5" name="Straight Connector 314"/>
            <p:cNvSpPr/>
            <p:nvPr/>
          </p:nvSpPr>
          <p:spPr>
            <a:xfrm>
              <a:off x="-1980360" y="4830480"/>
              <a:ext cx="0" cy="80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6" name="Straight Connector 315"/>
            <p:cNvSpPr/>
            <p:nvPr/>
          </p:nvSpPr>
          <p:spPr>
            <a:xfrm>
              <a:off x="-1877760" y="4881960"/>
              <a:ext cx="175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7" name="Straight Connector 316"/>
            <p:cNvSpPr/>
            <p:nvPr/>
          </p:nvSpPr>
          <p:spPr>
            <a:xfrm>
              <a:off x="-1885680" y="479412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8" name="Straight Connector 317"/>
            <p:cNvSpPr/>
            <p:nvPr/>
          </p:nvSpPr>
          <p:spPr>
            <a:xfrm>
              <a:off x="-1885680" y="464364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19" name="Straight Connector 318"/>
            <p:cNvSpPr/>
            <p:nvPr/>
          </p:nvSpPr>
          <p:spPr>
            <a:xfrm>
              <a:off x="-1885680" y="4496760"/>
              <a:ext cx="124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0" name="Straight Connector 319"/>
            <p:cNvSpPr/>
            <p:nvPr/>
          </p:nvSpPr>
          <p:spPr>
            <a:xfrm>
              <a:off x="-18665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1" name="Straight Connector 320"/>
            <p:cNvSpPr/>
            <p:nvPr/>
          </p:nvSpPr>
          <p:spPr>
            <a:xfrm>
              <a:off x="-18377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2" name="Straight Connector 321"/>
            <p:cNvSpPr/>
            <p:nvPr/>
          </p:nvSpPr>
          <p:spPr>
            <a:xfrm>
              <a:off x="-1808999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3" name="Straight Connector 322"/>
            <p:cNvSpPr/>
            <p:nvPr/>
          </p:nvSpPr>
          <p:spPr>
            <a:xfrm>
              <a:off x="-1780560" y="4663800"/>
              <a:ext cx="0" cy="108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4" name="Straight Connector 323"/>
            <p:cNvSpPr/>
            <p:nvPr/>
          </p:nvSpPr>
          <p:spPr>
            <a:xfrm>
              <a:off x="-18665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5" name="Straight Connector 324"/>
            <p:cNvSpPr/>
            <p:nvPr/>
          </p:nvSpPr>
          <p:spPr>
            <a:xfrm>
              <a:off x="-18377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6" name="Straight Connector 325"/>
            <p:cNvSpPr/>
            <p:nvPr/>
          </p:nvSpPr>
          <p:spPr>
            <a:xfrm>
              <a:off x="-1808999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7" name="Straight Connector 326"/>
            <p:cNvSpPr/>
            <p:nvPr/>
          </p:nvSpPr>
          <p:spPr>
            <a:xfrm>
              <a:off x="-1780560" y="451512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8" name="Straight Connector 327"/>
            <p:cNvSpPr/>
            <p:nvPr/>
          </p:nvSpPr>
          <p:spPr>
            <a:xfrm>
              <a:off x="-18665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29" name="Straight Connector 328"/>
            <p:cNvSpPr/>
            <p:nvPr/>
          </p:nvSpPr>
          <p:spPr>
            <a:xfrm>
              <a:off x="-18377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0" name="Straight Connector 329"/>
            <p:cNvSpPr/>
            <p:nvPr/>
          </p:nvSpPr>
          <p:spPr>
            <a:xfrm>
              <a:off x="-1808999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1" name="Straight Connector 330"/>
            <p:cNvSpPr/>
            <p:nvPr/>
          </p:nvSpPr>
          <p:spPr>
            <a:xfrm>
              <a:off x="-1780560" y="4370040"/>
              <a:ext cx="0" cy="1083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2" name="Freeform: Shape 327"/>
            <p:cNvSpPr/>
            <p:nvPr/>
          </p:nvSpPr>
          <p:spPr>
            <a:xfrm>
              <a:off x="-1891800" y="4267800"/>
              <a:ext cx="136080" cy="781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79" h="218">
                  <a:moveTo>
                    <a:pt x="0" y="218"/>
                  </a:moveTo>
                  <a:lnTo>
                    <a:pt x="379" y="218"/>
                  </a:lnTo>
                  <a:lnTo>
                    <a:pt x="309" y="0"/>
                  </a:lnTo>
                  <a:lnTo>
                    <a:pt x="57" y="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3" name="Freeform: Shape 328"/>
            <p:cNvSpPr/>
            <p:nvPr/>
          </p:nvSpPr>
          <p:spPr>
            <a:xfrm>
              <a:off x="-3009240" y="4879440"/>
              <a:ext cx="981000" cy="39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726" h="111" fill="none">
                  <a:moveTo>
                    <a:pt x="0" y="90"/>
                  </a:moveTo>
                  <a:lnTo>
                    <a:pt x="190" y="0"/>
                  </a:lnTo>
                  <a:lnTo>
                    <a:pt x="782" y="0"/>
                  </a:lnTo>
                  <a:lnTo>
                    <a:pt x="782" y="111"/>
                  </a:lnTo>
                  <a:lnTo>
                    <a:pt x="2726" y="11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4" name="Freeform: Shape 329"/>
            <p:cNvSpPr/>
            <p:nvPr/>
          </p:nvSpPr>
          <p:spPr>
            <a:xfrm>
              <a:off x="-2525400" y="4731480"/>
              <a:ext cx="414720" cy="110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53" h="307" fill="none">
                  <a:moveTo>
                    <a:pt x="0" y="307"/>
                  </a:moveTo>
                  <a:lnTo>
                    <a:pt x="658" y="307"/>
                  </a:lnTo>
                  <a:lnTo>
                    <a:pt x="658" y="88"/>
                  </a:lnTo>
                  <a:lnTo>
                    <a:pt x="973" y="88"/>
                  </a:lnTo>
                  <a:lnTo>
                    <a:pt x="973" y="0"/>
                  </a:lnTo>
                  <a:lnTo>
                    <a:pt x="1153" y="0"/>
                  </a:lnTo>
                  <a:lnTo>
                    <a:pt x="1153" y="236"/>
                  </a:lnTo>
                  <a:lnTo>
                    <a:pt x="936" y="236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5" name="Freeform: Shape 330"/>
            <p:cNvSpPr/>
            <p:nvPr/>
          </p:nvSpPr>
          <p:spPr>
            <a:xfrm>
              <a:off x="-2084040" y="4683240"/>
              <a:ext cx="55800" cy="381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6" h="107" fill="none">
                  <a:moveTo>
                    <a:pt x="0" y="95"/>
                  </a:moveTo>
                  <a:lnTo>
                    <a:pt x="0" y="0"/>
                  </a:lnTo>
                  <a:lnTo>
                    <a:pt x="156" y="0"/>
                  </a:lnTo>
                  <a:lnTo>
                    <a:pt x="156" y="107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6" name="Freeform: Shape 331"/>
            <p:cNvSpPr/>
            <p:nvPr/>
          </p:nvSpPr>
          <p:spPr>
            <a:xfrm>
              <a:off x="-2032560" y="4742280"/>
              <a:ext cx="95760" cy="392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67" h="110" fill="none">
                  <a:moveTo>
                    <a:pt x="267" y="0"/>
                  </a:moveTo>
                  <a:lnTo>
                    <a:pt x="0" y="0"/>
                  </a:lnTo>
                  <a:lnTo>
                    <a:pt x="0" y="110"/>
                  </a:lnTo>
                  <a:lnTo>
                    <a:pt x="267" y="11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7" name="Freeform: Shape 332"/>
            <p:cNvSpPr/>
            <p:nvPr/>
          </p:nvSpPr>
          <p:spPr>
            <a:xfrm>
              <a:off x="-1643039" y="4342320"/>
              <a:ext cx="252000" cy="368999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01" h="1026">
                  <a:moveTo>
                    <a:pt x="0" y="1026"/>
                  </a:moveTo>
                  <a:lnTo>
                    <a:pt x="0" y="93"/>
                  </a:lnTo>
                  <a:cubicBezTo>
                    <a:pt x="0" y="93"/>
                    <a:pt x="-13" y="0"/>
                    <a:pt x="340" y="0"/>
                  </a:cubicBezTo>
                  <a:cubicBezTo>
                    <a:pt x="718" y="0"/>
                    <a:pt x="701" y="98"/>
                    <a:pt x="701" y="98"/>
                  </a:cubicBezTo>
                  <a:lnTo>
                    <a:pt x="701" y="1003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8" name="Straight Connector 337"/>
            <p:cNvSpPr/>
            <p:nvPr/>
          </p:nvSpPr>
          <p:spPr>
            <a:xfrm>
              <a:off x="-1589040" y="4842720"/>
              <a:ext cx="806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39" name="Straight Connector 338"/>
            <p:cNvSpPr/>
            <p:nvPr/>
          </p:nvSpPr>
          <p:spPr>
            <a:xfrm>
              <a:off x="-1377000" y="4817160"/>
              <a:ext cx="3128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0" name="Straight Connector 339"/>
            <p:cNvSpPr/>
            <p:nvPr/>
          </p:nvSpPr>
          <p:spPr>
            <a:xfrm>
              <a:off x="-1046520" y="4794120"/>
              <a:ext cx="0" cy="10943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1" name="Freeform: Shape 336"/>
            <p:cNvSpPr/>
            <p:nvPr/>
          </p:nvSpPr>
          <p:spPr>
            <a:xfrm>
              <a:off x="-1307519" y="4671000"/>
              <a:ext cx="417240" cy="1713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60" h="477" fill="none">
                  <a:moveTo>
                    <a:pt x="840" y="282"/>
                  </a:moveTo>
                  <a:lnTo>
                    <a:pt x="840" y="477"/>
                  </a:lnTo>
                  <a:lnTo>
                    <a:pt x="1160" y="477"/>
                  </a:lnTo>
                  <a:lnTo>
                    <a:pt x="1160" y="312"/>
                  </a:lnTo>
                  <a:lnTo>
                    <a:pt x="1020" y="312"/>
                  </a:lnTo>
                  <a:lnTo>
                    <a:pt x="1020" y="176"/>
                  </a:lnTo>
                  <a:lnTo>
                    <a:pt x="288" y="176"/>
                  </a:lnTo>
                  <a:lnTo>
                    <a:pt x="288" y="0"/>
                  </a:lnTo>
                  <a:lnTo>
                    <a:pt x="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2" name="Straight Connector 341"/>
            <p:cNvSpPr/>
            <p:nvPr/>
          </p:nvSpPr>
          <p:spPr>
            <a:xfrm>
              <a:off x="-1122120" y="4694040"/>
              <a:ext cx="0" cy="377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3" name="Straight Connector 342"/>
            <p:cNvSpPr/>
            <p:nvPr/>
          </p:nvSpPr>
          <p:spPr>
            <a:xfrm>
              <a:off x="-1715400" y="4609800"/>
              <a:ext cx="0" cy="262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4" name="Freeform: Shape 339"/>
            <p:cNvSpPr/>
            <p:nvPr/>
          </p:nvSpPr>
          <p:spPr>
            <a:xfrm>
              <a:off x="-1364760" y="4393800"/>
              <a:ext cx="32760" cy="337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2" h="939">
                  <a:moveTo>
                    <a:pt x="46" y="939"/>
                  </a:moveTo>
                  <a:lnTo>
                    <a:pt x="0" y="939"/>
                  </a:lnTo>
                  <a:lnTo>
                    <a:pt x="0" y="0"/>
                  </a:lnTo>
                  <a:lnTo>
                    <a:pt x="92" y="0"/>
                  </a:lnTo>
                  <a:lnTo>
                    <a:pt x="92" y="939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5" name="Straight Connector 344"/>
            <p:cNvSpPr/>
            <p:nvPr/>
          </p:nvSpPr>
          <p:spPr>
            <a:xfrm>
              <a:off x="-3700440" y="4998600"/>
              <a:ext cx="0" cy="720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6" name="Straight Connector 345"/>
            <p:cNvSpPr/>
            <p:nvPr/>
          </p:nvSpPr>
          <p:spPr>
            <a:xfrm>
              <a:off x="-2594520" y="5011200"/>
              <a:ext cx="0" cy="64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7" name="Freeform: Shape 342"/>
            <p:cNvSpPr/>
            <p:nvPr/>
          </p:nvSpPr>
          <p:spPr>
            <a:xfrm>
              <a:off x="-4553279" y="4837680"/>
              <a:ext cx="3673080" cy="1116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0204" h="311">
                  <a:moveTo>
                    <a:pt x="10204" y="309"/>
                  </a:moveTo>
                  <a:lnTo>
                    <a:pt x="3216" y="309"/>
                  </a:lnTo>
                  <a:cubicBezTo>
                    <a:pt x="3216" y="309"/>
                    <a:pt x="0" y="336"/>
                    <a:pt x="0" y="129"/>
                  </a:cubicBezTo>
                  <a:cubicBezTo>
                    <a:pt x="0" y="-37"/>
                    <a:pt x="1652" y="4"/>
                    <a:pt x="1652" y="4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8" name="Freeform: Shape 343"/>
            <p:cNvSpPr/>
            <p:nvPr/>
          </p:nvSpPr>
          <p:spPr>
            <a:xfrm>
              <a:off x="-4382640" y="4862160"/>
              <a:ext cx="478440" cy="3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330" h="87" fill="none">
                  <a:moveTo>
                    <a:pt x="0" y="87"/>
                  </a:moveTo>
                  <a:lnTo>
                    <a:pt x="248" y="0"/>
                  </a:lnTo>
                  <a:lnTo>
                    <a:pt x="1330" y="0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49" name="Straight Connector 348"/>
            <p:cNvSpPr/>
            <p:nvPr/>
          </p:nvSpPr>
          <p:spPr>
            <a:xfrm>
              <a:off x="-4212720" y="4979160"/>
              <a:ext cx="3232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0" name="Straight Connector 349"/>
            <p:cNvSpPr/>
            <p:nvPr/>
          </p:nvSpPr>
          <p:spPr>
            <a:xfrm>
              <a:off x="-4090320" y="5024520"/>
              <a:ext cx="103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1" name="Straight Connector 350"/>
            <p:cNvSpPr/>
            <p:nvPr/>
          </p:nvSpPr>
          <p:spPr>
            <a:xfrm>
              <a:off x="-3622320" y="4978080"/>
              <a:ext cx="148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2" name="Straight Connector 351"/>
            <p:cNvSpPr/>
            <p:nvPr/>
          </p:nvSpPr>
          <p:spPr>
            <a:xfrm>
              <a:off x="-2055960" y="4992840"/>
              <a:ext cx="2952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3" name="Straight Connector 352"/>
            <p:cNvSpPr/>
            <p:nvPr/>
          </p:nvSpPr>
          <p:spPr>
            <a:xfrm>
              <a:off x="-1899720" y="5032800"/>
              <a:ext cx="14940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4" name="Straight Connector 353"/>
            <p:cNvSpPr/>
            <p:nvPr/>
          </p:nvSpPr>
          <p:spPr>
            <a:xfrm>
              <a:off x="-1457280" y="4979160"/>
              <a:ext cx="5522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5" name="Straight Connector 354"/>
            <p:cNvSpPr/>
            <p:nvPr/>
          </p:nvSpPr>
          <p:spPr>
            <a:xfrm>
              <a:off x="-3120120" y="4881960"/>
              <a:ext cx="5004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6" name="Freeform: Shape 351"/>
            <p:cNvSpPr/>
            <p:nvPr/>
          </p:nvSpPr>
          <p:spPr>
            <a:xfrm>
              <a:off x="-2479320" y="4246200"/>
              <a:ext cx="265680" cy="5878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39" h="1634" fill="none">
                  <a:moveTo>
                    <a:pt x="0" y="1634"/>
                  </a:moveTo>
                  <a:lnTo>
                    <a:pt x="0" y="0"/>
                  </a:lnTo>
                  <a:lnTo>
                    <a:pt x="739" y="0"/>
                  </a:lnTo>
                  <a:lnTo>
                    <a:pt x="739" y="1362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7" name="Straight Connector 356"/>
            <p:cNvSpPr/>
            <p:nvPr/>
          </p:nvSpPr>
          <p:spPr>
            <a:xfrm>
              <a:off x="-2479320" y="43326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8" name="Straight Connector 357"/>
            <p:cNvSpPr/>
            <p:nvPr/>
          </p:nvSpPr>
          <p:spPr>
            <a:xfrm>
              <a:off x="-2479320" y="43725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59" name="Straight Connector 358"/>
            <p:cNvSpPr/>
            <p:nvPr/>
          </p:nvSpPr>
          <p:spPr>
            <a:xfrm>
              <a:off x="-2479320" y="440279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0" name="Straight Connector 359"/>
            <p:cNvSpPr/>
            <p:nvPr/>
          </p:nvSpPr>
          <p:spPr>
            <a:xfrm>
              <a:off x="-2479320" y="443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1" name="Straight Connector 360"/>
            <p:cNvSpPr/>
            <p:nvPr/>
          </p:nvSpPr>
          <p:spPr>
            <a:xfrm>
              <a:off x="-2479320" y="44629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2" name="Straight Connector 361"/>
            <p:cNvSpPr/>
            <p:nvPr/>
          </p:nvSpPr>
          <p:spPr>
            <a:xfrm>
              <a:off x="-2479320" y="44928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3" name="Straight Connector 362"/>
            <p:cNvSpPr/>
            <p:nvPr/>
          </p:nvSpPr>
          <p:spPr>
            <a:xfrm>
              <a:off x="-2479320" y="452304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4" name="Straight Connector 363"/>
            <p:cNvSpPr/>
            <p:nvPr/>
          </p:nvSpPr>
          <p:spPr>
            <a:xfrm>
              <a:off x="-2479320" y="455327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5" name="Straight Connector 364"/>
            <p:cNvSpPr/>
            <p:nvPr/>
          </p:nvSpPr>
          <p:spPr>
            <a:xfrm>
              <a:off x="-2479320" y="4583159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6" name="Straight Connector 365"/>
            <p:cNvSpPr/>
            <p:nvPr/>
          </p:nvSpPr>
          <p:spPr>
            <a:xfrm>
              <a:off x="-2479320" y="46134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7" name="Straight Connector 366"/>
            <p:cNvSpPr/>
            <p:nvPr/>
          </p:nvSpPr>
          <p:spPr>
            <a:xfrm>
              <a:off x="-2479320" y="464328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8" name="Straight Connector 367"/>
            <p:cNvSpPr/>
            <p:nvPr/>
          </p:nvSpPr>
          <p:spPr>
            <a:xfrm>
              <a:off x="-2479320" y="467352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69" name="Straight Connector 368"/>
            <p:cNvSpPr/>
            <p:nvPr/>
          </p:nvSpPr>
          <p:spPr>
            <a:xfrm>
              <a:off x="-2479320" y="470376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0" name="Straight Connector 369"/>
            <p:cNvSpPr/>
            <p:nvPr/>
          </p:nvSpPr>
          <p:spPr>
            <a:xfrm>
              <a:off x="-2479320" y="4734000"/>
              <a:ext cx="2660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1" name="Straight Connector 370"/>
            <p:cNvSpPr/>
            <p:nvPr/>
          </p:nvSpPr>
          <p:spPr>
            <a:xfrm>
              <a:off x="-2479320" y="476028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2" name="Straight Connector 371"/>
            <p:cNvSpPr/>
            <p:nvPr/>
          </p:nvSpPr>
          <p:spPr>
            <a:xfrm>
              <a:off x="-2479320" y="479052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3" name="Straight Connector 372"/>
            <p:cNvSpPr/>
            <p:nvPr/>
          </p:nvSpPr>
          <p:spPr>
            <a:xfrm>
              <a:off x="-2479320" y="4820760"/>
              <a:ext cx="1695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4" name="Freeform: Shape 369"/>
            <p:cNvSpPr/>
            <p:nvPr/>
          </p:nvSpPr>
          <p:spPr>
            <a:xfrm>
              <a:off x="-2432880" y="4208760"/>
              <a:ext cx="76680" cy="766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4" h="214">
                  <a:moveTo>
                    <a:pt x="214" y="107"/>
                  </a:moveTo>
                  <a:cubicBezTo>
                    <a:pt x="214" y="126"/>
                    <a:pt x="209" y="143"/>
                    <a:pt x="199" y="160"/>
                  </a:cubicBezTo>
                  <a:cubicBezTo>
                    <a:pt x="189" y="177"/>
                    <a:pt x="177" y="189"/>
                    <a:pt x="160" y="199"/>
                  </a:cubicBezTo>
                  <a:cubicBezTo>
                    <a:pt x="143" y="208"/>
                    <a:pt x="126" y="214"/>
                    <a:pt x="107" y="214"/>
                  </a:cubicBezTo>
                  <a:cubicBezTo>
                    <a:pt x="87" y="214"/>
                    <a:pt x="70" y="208"/>
                    <a:pt x="53" y="199"/>
                  </a:cubicBezTo>
                  <a:cubicBezTo>
                    <a:pt x="36" y="189"/>
                    <a:pt x="24" y="177"/>
                    <a:pt x="14" y="160"/>
                  </a:cubicBezTo>
                  <a:cubicBezTo>
                    <a:pt x="4" y="143"/>
                    <a:pt x="0" y="126"/>
                    <a:pt x="0" y="107"/>
                  </a:cubicBezTo>
                  <a:cubicBezTo>
                    <a:pt x="0" y="87"/>
                    <a:pt x="4" y="70"/>
                    <a:pt x="14" y="53"/>
                  </a:cubicBezTo>
                  <a:cubicBezTo>
                    <a:pt x="24" y="36"/>
                    <a:pt x="36" y="24"/>
                    <a:pt x="53" y="14"/>
                  </a:cubicBezTo>
                  <a:cubicBezTo>
                    <a:pt x="70" y="4"/>
                    <a:pt x="87" y="0"/>
                    <a:pt x="107" y="0"/>
                  </a:cubicBezTo>
                  <a:cubicBezTo>
                    <a:pt x="126" y="0"/>
                    <a:pt x="143" y="4"/>
                    <a:pt x="160" y="14"/>
                  </a:cubicBezTo>
                  <a:cubicBezTo>
                    <a:pt x="177" y="24"/>
                    <a:pt x="189" y="36"/>
                    <a:pt x="199" y="53"/>
                  </a:cubicBezTo>
                  <a:cubicBezTo>
                    <a:pt x="209" y="70"/>
                    <a:pt x="214" y="87"/>
                    <a:pt x="214" y="107"/>
                  </a:cubicBez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5" name="Straight Connector 374"/>
            <p:cNvSpPr/>
            <p:nvPr/>
          </p:nvSpPr>
          <p:spPr>
            <a:xfrm>
              <a:off x="-2336400" y="4272480"/>
              <a:ext cx="730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6" name="Straight Connector 375"/>
            <p:cNvSpPr/>
            <p:nvPr/>
          </p:nvSpPr>
          <p:spPr>
            <a:xfrm>
              <a:off x="-373716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7" name="Straight Connector 376"/>
            <p:cNvSpPr/>
            <p:nvPr/>
          </p:nvSpPr>
          <p:spPr>
            <a:xfrm>
              <a:off x="-373716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8" name="Straight Connector 377"/>
            <p:cNvSpPr/>
            <p:nvPr/>
          </p:nvSpPr>
          <p:spPr>
            <a:xfrm>
              <a:off x="-373716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79" name="Straight Connector 378"/>
            <p:cNvSpPr/>
            <p:nvPr/>
          </p:nvSpPr>
          <p:spPr>
            <a:xfrm>
              <a:off x="-373716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0" name="Straight Connector 379"/>
            <p:cNvSpPr/>
            <p:nvPr/>
          </p:nvSpPr>
          <p:spPr>
            <a:xfrm>
              <a:off x="-373716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1" name="Straight Connector 380"/>
            <p:cNvSpPr/>
            <p:nvPr/>
          </p:nvSpPr>
          <p:spPr>
            <a:xfrm>
              <a:off x="-373716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2" name="Straight Connector 381"/>
            <p:cNvSpPr/>
            <p:nvPr/>
          </p:nvSpPr>
          <p:spPr>
            <a:xfrm>
              <a:off x="-373716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3" name="Straight Connector 382"/>
            <p:cNvSpPr/>
            <p:nvPr/>
          </p:nvSpPr>
          <p:spPr>
            <a:xfrm>
              <a:off x="-373716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4" name="Straight Connector 383"/>
            <p:cNvSpPr/>
            <p:nvPr/>
          </p:nvSpPr>
          <p:spPr>
            <a:xfrm>
              <a:off x="-373716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5" name="Straight Connector 384"/>
            <p:cNvSpPr/>
            <p:nvPr/>
          </p:nvSpPr>
          <p:spPr>
            <a:xfrm>
              <a:off x="-373716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6" name="Straight Connector 385"/>
            <p:cNvSpPr/>
            <p:nvPr/>
          </p:nvSpPr>
          <p:spPr>
            <a:xfrm>
              <a:off x="-373716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7" name="Straight Connector 386"/>
            <p:cNvSpPr/>
            <p:nvPr/>
          </p:nvSpPr>
          <p:spPr>
            <a:xfrm>
              <a:off x="-373716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8" name="Straight Connector 387"/>
            <p:cNvSpPr/>
            <p:nvPr/>
          </p:nvSpPr>
          <p:spPr>
            <a:xfrm>
              <a:off x="-373716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89" name="Straight Connector 388"/>
            <p:cNvSpPr/>
            <p:nvPr/>
          </p:nvSpPr>
          <p:spPr>
            <a:xfrm>
              <a:off x="-373716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0" name="Straight Connector 389"/>
            <p:cNvSpPr/>
            <p:nvPr/>
          </p:nvSpPr>
          <p:spPr>
            <a:xfrm>
              <a:off x="-373716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1" name="Straight Connector 390"/>
            <p:cNvSpPr/>
            <p:nvPr/>
          </p:nvSpPr>
          <p:spPr>
            <a:xfrm>
              <a:off x="-373716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2" name="Straight Connector 391"/>
            <p:cNvSpPr/>
            <p:nvPr/>
          </p:nvSpPr>
          <p:spPr>
            <a:xfrm>
              <a:off x="-373716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3" name="Straight Connector 392"/>
            <p:cNvSpPr/>
            <p:nvPr/>
          </p:nvSpPr>
          <p:spPr>
            <a:xfrm>
              <a:off x="-3708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4" name="Straight Connector 393"/>
            <p:cNvSpPr/>
            <p:nvPr/>
          </p:nvSpPr>
          <p:spPr>
            <a:xfrm>
              <a:off x="-3708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5" name="Straight Connector 394"/>
            <p:cNvSpPr/>
            <p:nvPr/>
          </p:nvSpPr>
          <p:spPr>
            <a:xfrm>
              <a:off x="-3708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6" name="Straight Connector 395"/>
            <p:cNvSpPr/>
            <p:nvPr/>
          </p:nvSpPr>
          <p:spPr>
            <a:xfrm>
              <a:off x="-3708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7" name="Straight Connector 396"/>
            <p:cNvSpPr/>
            <p:nvPr/>
          </p:nvSpPr>
          <p:spPr>
            <a:xfrm>
              <a:off x="-3708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8" name="Straight Connector 397"/>
            <p:cNvSpPr/>
            <p:nvPr/>
          </p:nvSpPr>
          <p:spPr>
            <a:xfrm>
              <a:off x="-3708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399" name="Straight Connector 398"/>
            <p:cNvSpPr/>
            <p:nvPr/>
          </p:nvSpPr>
          <p:spPr>
            <a:xfrm>
              <a:off x="-3708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0" name="Straight Connector 399"/>
            <p:cNvSpPr/>
            <p:nvPr/>
          </p:nvSpPr>
          <p:spPr>
            <a:xfrm>
              <a:off x="-3708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1" name="Straight Connector 400"/>
            <p:cNvSpPr/>
            <p:nvPr/>
          </p:nvSpPr>
          <p:spPr>
            <a:xfrm>
              <a:off x="-3708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2" name="Straight Connector 401"/>
            <p:cNvSpPr/>
            <p:nvPr/>
          </p:nvSpPr>
          <p:spPr>
            <a:xfrm>
              <a:off x="-3708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3" name="Straight Connector 402"/>
            <p:cNvSpPr/>
            <p:nvPr/>
          </p:nvSpPr>
          <p:spPr>
            <a:xfrm>
              <a:off x="-3708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4" name="Straight Connector 403"/>
            <p:cNvSpPr/>
            <p:nvPr/>
          </p:nvSpPr>
          <p:spPr>
            <a:xfrm>
              <a:off x="-3708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5" name="Straight Connector 404"/>
            <p:cNvSpPr/>
            <p:nvPr/>
          </p:nvSpPr>
          <p:spPr>
            <a:xfrm>
              <a:off x="-3708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6" name="Straight Connector 405"/>
            <p:cNvSpPr/>
            <p:nvPr/>
          </p:nvSpPr>
          <p:spPr>
            <a:xfrm>
              <a:off x="-37087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7" name="Straight Connector 406"/>
            <p:cNvSpPr/>
            <p:nvPr/>
          </p:nvSpPr>
          <p:spPr>
            <a:xfrm>
              <a:off x="-37087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8" name="Straight Connector 407"/>
            <p:cNvSpPr/>
            <p:nvPr/>
          </p:nvSpPr>
          <p:spPr>
            <a:xfrm>
              <a:off x="-37087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09" name="Straight Connector 408"/>
            <p:cNvSpPr/>
            <p:nvPr/>
          </p:nvSpPr>
          <p:spPr>
            <a:xfrm>
              <a:off x="-37087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0" name="Straight Connector 409"/>
            <p:cNvSpPr/>
            <p:nvPr/>
          </p:nvSpPr>
          <p:spPr>
            <a:xfrm>
              <a:off x="-36799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1" name="Straight Connector 410"/>
            <p:cNvSpPr/>
            <p:nvPr/>
          </p:nvSpPr>
          <p:spPr>
            <a:xfrm>
              <a:off x="-36799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2" name="Straight Connector 411"/>
            <p:cNvSpPr/>
            <p:nvPr/>
          </p:nvSpPr>
          <p:spPr>
            <a:xfrm>
              <a:off x="-36799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3" name="Straight Connector 412"/>
            <p:cNvSpPr/>
            <p:nvPr/>
          </p:nvSpPr>
          <p:spPr>
            <a:xfrm>
              <a:off x="-36799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4" name="Straight Connector 413"/>
            <p:cNvSpPr/>
            <p:nvPr/>
          </p:nvSpPr>
          <p:spPr>
            <a:xfrm>
              <a:off x="-36799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5" name="Straight Connector 414"/>
            <p:cNvSpPr/>
            <p:nvPr/>
          </p:nvSpPr>
          <p:spPr>
            <a:xfrm>
              <a:off x="-36799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6" name="Straight Connector 415"/>
            <p:cNvSpPr/>
            <p:nvPr/>
          </p:nvSpPr>
          <p:spPr>
            <a:xfrm>
              <a:off x="-36799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7" name="Straight Connector 416"/>
            <p:cNvSpPr/>
            <p:nvPr/>
          </p:nvSpPr>
          <p:spPr>
            <a:xfrm>
              <a:off x="-36799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8" name="Straight Connector 417"/>
            <p:cNvSpPr/>
            <p:nvPr/>
          </p:nvSpPr>
          <p:spPr>
            <a:xfrm>
              <a:off x="-36799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19" name="Straight Connector 418"/>
            <p:cNvSpPr/>
            <p:nvPr/>
          </p:nvSpPr>
          <p:spPr>
            <a:xfrm>
              <a:off x="-36799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0" name="Straight Connector 419"/>
            <p:cNvSpPr/>
            <p:nvPr/>
          </p:nvSpPr>
          <p:spPr>
            <a:xfrm>
              <a:off x="-36799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1" name="Straight Connector 420"/>
            <p:cNvSpPr/>
            <p:nvPr/>
          </p:nvSpPr>
          <p:spPr>
            <a:xfrm>
              <a:off x="-36799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2" name="Straight Connector 421"/>
            <p:cNvSpPr/>
            <p:nvPr/>
          </p:nvSpPr>
          <p:spPr>
            <a:xfrm>
              <a:off x="-36799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3" name="Straight Connector 422"/>
            <p:cNvSpPr/>
            <p:nvPr/>
          </p:nvSpPr>
          <p:spPr>
            <a:xfrm>
              <a:off x="-36799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4" name="Straight Connector 423"/>
            <p:cNvSpPr/>
            <p:nvPr/>
          </p:nvSpPr>
          <p:spPr>
            <a:xfrm>
              <a:off x="-36799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5" name="Straight Connector 424"/>
            <p:cNvSpPr/>
            <p:nvPr/>
          </p:nvSpPr>
          <p:spPr>
            <a:xfrm>
              <a:off x="-36799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6" name="Straight Connector 425"/>
            <p:cNvSpPr/>
            <p:nvPr/>
          </p:nvSpPr>
          <p:spPr>
            <a:xfrm>
              <a:off x="-36799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7" name="Straight Connector 426"/>
            <p:cNvSpPr/>
            <p:nvPr/>
          </p:nvSpPr>
          <p:spPr>
            <a:xfrm>
              <a:off x="-36511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8" name="Straight Connector 427"/>
            <p:cNvSpPr/>
            <p:nvPr/>
          </p:nvSpPr>
          <p:spPr>
            <a:xfrm>
              <a:off x="-36511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29" name="Straight Connector 428"/>
            <p:cNvSpPr/>
            <p:nvPr/>
          </p:nvSpPr>
          <p:spPr>
            <a:xfrm>
              <a:off x="-36511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0" name="Straight Connector 429"/>
            <p:cNvSpPr/>
            <p:nvPr/>
          </p:nvSpPr>
          <p:spPr>
            <a:xfrm>
              <a:off x="-36511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1" name="Straight Connector 430"/>
            <p:cNvSpPr/>
            <p:nvPr/>
          </p:nvSpPr>
          <p:spPr>
            <a:xfrm>
              <a:off x="-36511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2" name="Straight Connector 431"/>
            <p:cNvSpPr/>
            <p:nvPr/>
          </p:nvSpPr>
          <p:spPr>
            <a:xfrm>
              <a:off x="-36511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3" name="Straight Connector 432"/>
            <p:cNvSpPr/>
            <p:nvPr/>
          </p:nvSpPr>
          <p:spPr>
            <a:xfrm>
              <a:off x="-36511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4" name="Straight Connector 433"/>
            <p:cNvSpPr/>
            <p:nvPr/>
          </p:nvSpPr>
          <p:spPr>
            <a:xfrm>
              <a:off x="-36511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5" name="Straight Connector 434"/>
            <p:cNvSpPr/>
            <p:nvPr/>
          </p:nvSpPr>
          <p:spPr>
            <a:xfrm>
              <a:off x="-36511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6" name="Straight Connector 435"/>
            <p:cNvSpPr/>
            <p:nvPr/>
          </p:nvSpPr>
          <p:spPr>
            <a:xfrm>
              <a:off x="-36511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7" name="Straight Connector 436"/>
            <p:cNvSpPr/>
            <p:nvPr/>
          </p:nvSpPr>
          <p:spPr>
            <a:xfrm>
              <a:off x="-36511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8" name="Straight Connector 437"/>
            <p:cNvSpPr/>
            <p:nvPr/>
          </p:nvSpPr>
          <p:spPr>
            <a:xfrm>
              <a:off x="-36511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39" name="Straight Connector 438"/>
            <p:cNvSpPr/>
            <p:nvPr/>
          </p:nvSpPr>
          <p:spPr>
            <a:xfrm>
              <a:off x="-36511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0" name="Straight Connector 439"/>
            <p:cNvSpPr/>
            <p:nvPr/>
          </p:nvSpPr>
          <p:spPr>
            <a:xfrm>
              <a:off x="-36511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1" name="Straight Connector 440"/>
            <p:cNvSpPr/>
            <p:nvPr/>
          </p:nvSpPr>
          <p:spPr>
            <a:xfrm>
              <a:off x="-36511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2" name="Straight Connector 441"/>
            <p:cNvSpPr/>
            <p:nvPr/>
          </p:nvSpPr>
          <p:spPr>
            <a:xfrm>
              <a:off x="-36511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3" name="Straight Connector 442"/>
            <p:cNvSpPr/>
            <p:nvPr/>
          </p:nvSpPr>
          <p:spPr>
            <a:xfrm>
              <a:off x="-36511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4" name="Straight Connector 443"/>
            <p:cNvSpPr/>
            <p:nvPr/>
          </p:nvSpPr>
          <p:spPr>
            <a:xfrm>
              <a:off x="-36223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5" name="Straight Connector 444"/>
            <p:cNvSpPr/>
            <p:nvPr/>
          </p:nvSpPr>
          <p:spPr>
            <a:xfrm>
              <a:off x="-36223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6" name="Straight Connector 445"/>
            <p:cNvSpPr/>
            <p:nvPr/>
          </p:nvSpPr>
          <p:spPr>
            <a:xfrm>
              <a:off x="-36223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7" name="Straight Connector 446"/>
            <p:cNvSpPr/>
            <p:nvPr/>
          </p:nvSpPr>
          <p:spPr>
            <a:xfrm>
              <a:off x="-36223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8" name="Straight Connector 447"/>
            <p:cNvSpPr/>
            <p:nvPr/>
          </p:nvSpPr>
          <p:spPr>
            <a:xfrm>
              <a:off x="-36223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49" name="Straight Connector 448"/>
            <p:cNvSpPr/>
            <p:nvPr/>
          </p:nvSpPr>
          <p:spPr>
            <a:xfrm>
              <a:off x="-36223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0" name="Straight Connector 449"/>
            <p:cNvSpPr/>
            <p:nvPr/>
          </p:nvSpPr>
          <p:spPr>
            <a:xfrm>
              <a:off x="-36223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1" name="Straight Connector 450"/>
            <p:cNvSpPr/>
            <p:nvPr/>
          </p:nvSpPr>
          <p:spPr>
            <a:xfrm>
              <a:off x="-36223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2" name="Straight Connector 451"/>
            <p:cNvSpPr/>
            <p:nvPr/>
          </p:nvSpPr>
          <p:spPr>
            <a:xfrm>
              <a:off x="-36223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3" name="Straight Connector 452"/>
            <p:cNvSpPr/>
            <p:nvPr/>
          </p:nvSpPr>
          <p:spPr>
            <a:xfrm>
              <a:off x="-36223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4" name="Straight Connector 453"/>
            <p:cNvSpPr/>
            <p:nvPr/>
          </p:nvSpPr>
          <p:spPr>
            <a:xfrm>
              <a:off x="-36223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5" name="Straight Connector 454"/>
            <p:cNvSpPr/>
            <p:nvPr/>
          </p:nvSpPr>
          <p:spPr>
            <a:xfrm>
              <a:off x="-36223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6" name="Straight Connector 455"/>
            <p:cNvSpPr/>
            <p:nvPr/>
          </p:nvSpPr>
          <p:spPr>
            <a:xfrm>
              <a:off x="-36223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7" name="Straight Connector 456"/>
            <p:cNvSpPr/>
            <p:nvPr/>
          </p:nvSpPr>
          <p:spPr>
            <a:xfrm>
              <a:off x="-36223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8" name="Straight Connector 457"/>
            <p:cNvSpPr/>
            <p:nvPr/>
          </p:nvSpPr>
          <p:spPr>
            <a:xfrm>
              <a:off x="-36223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59" name="Straight Connector 458"/>
            <p:cNvSpPr/>
            <p:nvPr/>
          </p:nvSpPr>
          <p:spPr>
            <a:xfrm>
              <a:off x="-36223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0" name="Straight Connector 459"/>
            <p:cNvSpPr/>
            <p:nvPr/>
          </p:nvSpPr>
          <p:spPr>
            <a:xfrm>
              <a:off x="-36223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1" name="Straight Connector 460"/>
            <p:cNvSpPr/>
            <p:nvPr/>
          </p:nvSpPr>
          <p:spPr>
            <a:xfrm>
              <a:off x="-35935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2" name="Straight Connector 461"/>
            <p:cNvSpPr/>
            <p:nvPr/>
          </p:nvSpPr>
          <p:spPr>
            <a:xfrm>
              <a:off x="-35935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3" name="Straight Connector 462"/>
            <p:cNvSpPr/>
            <p:nvPr/>
          </p:nvSpPr>
          <p:spPr>
            <a:xfrm>
              <a:off x="-35935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4" name="Straight Connector 463"/>
            <p:cNvSpPr/>
            <p:nvPr/>
          </p:nvSpPr>
          <p:spPr>
            <a:xfrm>
              <a:off x="-35935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5" name="Straight Connector 464"/>
            <p:cNvSpPr/>
            <p:nvPr/>
          </p:nvSpPr>
          <p:spPr>
            <a:xfrm>
              <a:off x="-35935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6" name="Straight Connector 465"/>
            <p:cNvSpPr/>
            <p:nvPr/>
          </p:nvSpPr>
          <p:spPr>
            <a:xfrm>
              <a:off x="-35935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7" name="Straight Connector 466"/>
            <p:cNvSpPr/>
            <p:nvPr/>
          </p:nvSpPr>
          <p:spPr>
            <a:xfrm>
              <a:off x="-35935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8" name="Straight Connector 467"/>
            <p:cNvSpPr/>
            <p:nvPr/>
          </p:nvSpPr>
          <p:spPr>
            <a:xfrm>
              <a:off x="-35935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69" name="Straight Connector 468"/>
            <p:cNvSpPr/>
            <p:nvPr/>
          </p:nvSpPr>
          <p:spPr>
            <a:xfrm>
              <a:off x="-35935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0" name="Straight Connector 469"/>
            <p:cNvSpPr/>
            <p:nvPr/>
          </p:nvSpPr>
          <p:spPr>
            <a:xfrm>
              <a:off x="-35935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1" name="Straight Connector 470"/>
            <p:cNvSpPr/>
            <p:nvPr/>
          </p:nvSpPr>
          <p:spPr>
            <a:xfrm>
              <a:off x="-35935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2" name="Straight Connector 471"/>
            <p:cNvSpPr/>
            <p:nvPr/>
          </p:nvSpPr>
          <p:spPr>
            <a:xfrm>
              <a:off x="-35935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3" name="Straight Connector 472"/>
            <p:cNvSpPr/>
            <p:nvPr/>
          </p:nvSpPr>
          <p:spPr>
            <a:xfrm>
              <a:off x="-35935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4" name="Straight Connector 473"/>
            <p:cNvSpPr/>
            <p:nvPr/>
          </p:nvSpPr>
          <p:spPr>
            <a:xfrm>
              <a:off x="-3593520" y="4688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5" name="Straight Connector 474"/>
            <p:cNvSpPr/>
            <p:nvPr/>
          </p:nvSpPr>
          <p:spPr>
            <a:xfrm>
              <a:off x="-3593520" y="4727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6" name="Straight Connector 475"/>
            <p:cNvSpPr/>
            <p:nvPr/>
          </p:nvSpPr>
          <p:spPr>
            <a:xfrm>
              <a:off x="-3593520" y="476675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7" name="Straight Connector 476"/>
            <p:cNvSpPr/>
            <p:nvPr/>
          </p:nvSpPr>
          <p:spPr>
            <a:xfrm>
              <a:off x="-3593520" y="4805640"/>
              <a:ext cx="0" cy="86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8" name="Straight Connector 477"/>
            <p:cNvSpPr/>
            <p:nvPr/>
          </p:nvSpPr>
          <p:spPr>
            <a:xfrm>
              <a:off x="-34786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79" name="Straight Connector 478"/>
            <p:cNvSpPr/>
            <p:nvPr/>
          </p:nvSpPr>
          <p:spPr>
            <a:xfrm>
              <a:off x="-34786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0" name="Straight Connector 479"/>
            <p:cNvSpPr/>
            <p:nvPr/>
          </p:nvSpPr>
          <p:spPr>
            <a:xfrm>
              <a:off x="-34786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1" name="Straight Connector 480"/>
            <p:cNvSpPr/>
            <p:nvPr/>
          </p:nvSpPr>
          <p:spPr>
            <a:xfrm>
              <a:off x="-34786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2" name="Straight Connector 481"/>
            <p:cNvSpPr/>
            <p:nvPr/>
          </p:nvSpPr>
          <p:spPr>
            <a:xfrm>
              <a:off x="-34786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3" name="Straight Connector 482"/>
            <p:cNvSpPr/>
            <p:nvPr/>
          </p:nvSpPr>
          <p:spPr>
            <a:xfrm>
              <a:off x="-34786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4" name="Straight Connector 483"/>
            <p:cNvSpPr/>
            <p:nvPr/>
          </p:nvSpPr>
          <p:spPr>
            <a:xfrm>
              <a:off x="-34786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5" name="Straight Connector 484"/>
            <p:cNvSpPr/>
            <p:nvPr/>
          </p:nvSpPr>
          <p:spPr>
            <a:xfrm>
              <a:off x="-34786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6" name="Straight Connector 485"/>
            <p:cNvSpPr/>
            <p:nvPr/>
          </p:nvSpPr>
          <p:spPr>
            <a:xfrm>
              <a:off x="-34786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7" name="Straight Connector 486"/>
            <p:cNvSpPr/>
            <p:nvPr/>
          </p:nvSpPr>
          <p:spPr>
            <a:xfrm>
              <a:off x="-34786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8" name="Straight Connector 487"/>
            <p:cNvSpPr/>
            <p:nvPr/>
          </p:nvSpPr>
          <p:spPr>
            <a:xfrm>
              <a:off x="-34786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89" name="Straight Connector 488"/>
            <p:cNvSpPr/>
            <p:nvPr/>
          </p:nvSpPr>
          <p:spPr>
            <a:xfrm>
              <a:off x="-34786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0" name="Straight Connector 489"/>
            <p:cNvSpPr/>
            <p:nvPr/>
          </p:nvSpPr>
          <p:spPr>
            <a:xfrm>
              <a:off x="-34786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1" name="Straight Connector 490"/>
            <p:cNvSpPr/>
            <p:nvPr/>
          </p:nvSpPr>
          <p:spPr>
            <a:xfrm>
              <a:off x="-3507479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2" name="Straight Connector 491"/>
            <p:cNvSpPr/>
            <p:nvPr/>
          </p:nvSpPr>
          <p:spPr>
            <a:xfrm>
              <a:off x="-3507479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3" name="Straight Connector 492"/>
            <p:cNvSpPr/>
            <p:nvPr/>
          </p:nvSpPr>
          <p:spPr>
            <a:xfrm>
              <a:off x="-3507479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4" name="Straight Connector 493"/>
            <p:cNvSpPr/>
            <p:nvPr/>
          </p:nvSpPr>
          <p:spPr>
            <a:xfrm>
              <a:off x="-3507479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5" name="Straight Connector 494"/>
            <p:cNvSpPr/>
            <p:nvPr/>
          </p:nvSpPr>
          <p:spPr>
            <a:xfrm>
              <a:off x="-3507479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6" name="Straight Connector 495"/>
            <p:cNvSpPr/>
            <p:nvPr/>
          </p:nvSpPr>
          <p:spPr>
            <a:xfrm>
              <a:off x="-3507479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7" name="Straight Connector 496"/>
            <p:cNvSpPr/>
            <p:nvPr/>
          </p:nvSpPr>
          <p:spPr>
            <a:xfrm>
              <a:off x="-3507479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8" name="Straight Connector 497"/>
            <p:cNvSpPr/>
            <p:nvPr/>
          </p:nvSpPr>
          <p:spPr>
            <a:xfrm>
              <a:off x="-3507479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499" name="Straight Connector 498"/>
            <p:cNvSpPr/>
            <p:nvPr/>
          </p:nvSpPr>
          <p:spPr>
            <a:xfrm>
              <a:off x="-3507479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0" name="Straight Connector 499"/>
            <p:cNvSpPr/>
            <p:nvPr/>
          </p:nvSpPr>
          <p:spPr>
            <a:xfrm>
              <a:off x="-3507479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1" name="Straight Connector 500"/>
            <p:cNvSpPr/>
            <p:nvPr/>
          </p:nvSpPr>
          <p:spPr>
            <a:xfrm>
              <a:off x="-3507479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2" name="Straight Connector 501"/>
            <p:cNvSpPr/>
            <p:nvPr/>
          </p:nvSpPr>
          <p:spPr>
            <a:xfrm>
              <a:off x="-3507479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3" name="Straight Connector 502"/>
            <p:cNvSpPr/>
            <p:nvPr/>
          </p:nvSpPr>
          <p:spPr>
            <a:xfrm>
              <a:off x="-3507479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4" name="Straight Connector 503"/>
            <p:cNvSpPr/>
            <p:nvPr/>
          </p:nvSpPr>
          <p:spPr>
            <a:xfrm>
              <a:off x="-353628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5" name="Straight Connector 504"/>
            <p:cNvSpPr/>
            <p:nvPr/>
          </p:nvSpPr>
          <p:spPr>
            <a:xfrm>
              <a:off x="-353628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6" name="Straight Connector 505"/>
            <p:cNvSpPr/>
            <p:nvPr/>
          </p:nvSpPr>
          <p:spPr>
            <a:xfrm>
              <a:off x="-353628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7" name="Straight Connector 506"/>
            <p:cNvSpPr/>
            <p:nvPr/>
          </p:nvSpPr>
          <p:spPr>
            <a:xfrm>
              <a:off x="-353628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8" name="Straight Connector 507"/>
            <p:cNvSpPr/>
            <p:nvPr/>
          </p:nvSpPr>
          <p:spPr>
            <a:xfrm>
              <a:off x="-353628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09" name="Straight Connector 508"/>
            <p:cNvSpPr/>
            <p:nvPr/>
          </p:nvSpPr>
          <p:spPr>
            <a:xfrm>
              <a:off x="-353628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0" name="Straight Connector 509"/>
            <p:cNvSpPr/>
            <p:nvPr/>
          </p:nvSpPr>
          <p:spPr>
            <a:xfrm>
              <a:off x="-353628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1" name="Straight Connector 510"/>
            <p:cNvSpPr/>
            <p:nvPr/>
          </p:nvSpPr>
          <p:spPr>
            <a:xfrm>
              <a:off x="-353628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2" name="Straight Connector 511"/>
            <p:cNvSpPr/>
            <p:nvPr/>
          </p:nvSpPr>
          <p:spPr>
            <a:xfrm>
              <a:off x="-353628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3" name="Straight Connector 512"/>
            <p:cNvSpPr/>
            <p:nvPr/>
          </p:nvSpPr>
          <p:spPr>
            <a:xfrm>
              <a:off x="-353628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4" name="Straight Connector 513"/>
            <p:cNvSpPr/>
            <p:nvPr/>
          </p:nvSpPr>
          <p:spPr>
            <a:xfrm>
              <a:off x="-353628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5" name="Straight Connector 514"/>
            <p:cNvSpPr/>
            <p:nvPr/>
          </p:nvSpPr>
          <p:spPr>
            <a:xfrm>
              <a:off x="-353628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6" name="Straight Connector 515"/>
            <p:cNvSpPr/>
            <p:nvPr/>
          </p:nvSpPr>
          <p:spPr>
            <a:xfrm>
              <a:off x="-353628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7" name="Straight Connector 516"/>
            <p:cNvSpPr/>
            <p:nvPr/>
          </p:nvSpPr>
          <p:spPr>
            <a:xfrm>
              <a:off x="-3564720" y="4182119"/>
              <a:ext cx="0" cy="19441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8" name="Straight Connector 517"/>
            <p:cNvSpPr/>
            <p:nvPr/>
          </p:nvSpPr>
          <p:spPr>
            <a:xfrm>
              <a:off x="-3564720" y="4221000"/>
              <a:ext cx="0" cy="198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19" name="Straight Connector 518"/>
            <p:cNvSpPr/>
            <p:nvPr/>
          </p:nvSpPr>
          <p:spPr>
            <a:xfrm>
              <a:off x="-3564720" y="4260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0" name="Straight Connector 519"/>
            <p:cNvSpPr/>
            <p:nvPr/>
          </p:nvSpPr>
          <p:spPr>
            <a:xfrm>
              <a:off x="-3564720" y="4299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1" name="Straight Connector 520"/>
            <p:cNvSpPr/>
            <p:nvPr/>
          </p:nvSpPr>
          <p:spPr>
            <a:xfrm>
              <a:off x="-3564720" y="433800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2" name="Straight Connector 521"/>
            <p:cNvSpPr/>
            <p:nvPr/>
          </p:nvSpPr>
          <p:spPr>
            <a:xfrm>
              <a:off x="-3564720" y="43772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3" name="Straight Connector 522"/>
            <p:cNvSpPr/>
            <p:nvPr/>
          </p:nvSpPr>
          <p:spPr>
            <a:xfrm>
              <a:off x="-3564720" y="441612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4" name="Straight Connector 523"/>
            <p:cNvSpPr/>
            <p:nvPr/>
          </p:nvSpPr>
          <p:spPr>
            <a:xfrm>
              <a:off x="-3564720" y="4454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5" name="Straight Connector 524"/>
            <p:cNvSpPr/>
            <p:nvPr/>
          </p:nvSpPr>
          <p:spPr>
            <a:xfrm>
              <a:off x="-3564720" y="4493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6" name="Straight Connector 525"/>
            <p:cNvSpPr/>
            <p:nvPr/>
          </p:nvSpPr>
          <p:spPr>
            <a:xfrm>
              <a:off x="-3564720" y="4532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7" name="Straight Connector 526"/>
            <p:cNvSpPr/>
            <p:nvPr/>
          </p:nvSpPr>
          <p:spPr>
            <a:xfrm>
              <a:off x="-3564720" y="457164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8" name="Straight Connector 527"/>
            <p:cNvSpPr/>
            <p:nvPr/>
          </p:nvSpPr>
          <p:spPr>
            <a:xfrm>
              <a:off x="-3564720" y="461088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29" name="Straight Connector 528"/>
            <p:cNvSpPr/>
            <p:nvPr/>
          </p:nvSpPr>
          <p:spPr>
            <a:xfrm>
              <a:off x="-3564720" y="4649760"/>
              <a:ext cx="0" cy="19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0" name="Freeform: Shape 525"/>
            <p:cNvSpPr/>
            <p:nvPr/>
          </p:nvSpPr>
          <p:spPr>
            <a:xfrm>
              <a:off x="-4857120" y="4914360"/>
              <a:ext cx="64080" cy="1519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9" h="423">
                  <a:moveTo>
                    <a:pt x="179" y="0"/>
                  </a:moveTo>
                  <a:lnTo>
                    <a:pt x="179" y="423"/>
                  </a:lnTo>
                  <a:lnTo>
                    <a:pt x="0" y="28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1" name="Straight Connector 530"/>
            <p:cNvSpPr/>
            <p:nvPr/>
          </p:nvSpPr>
          <p:spPr>
            <a:xfrm>
              <a:off x="-4856400" y="5070960"/>
              <a:ext cx="36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2" name="Freeform: Shape 527"/>
            <p:cNvSpPr/>
            <p:nvPr/>
          </p:nvSpPr>
          <p:spPr>
            <a:xfrm>
              <a:off x="-522720" y="4912919"/>
              <a:ext cx="54360" cy="1285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52" h="358">
                  <a:moveTo>
                    <a:pt x="152" y="0"/>
                  </a:moveTo>
                  <a:lnTo>
                    <a:pt x="152" y="358"/>
                  </a:lnTo>
                  <a:lnTo>
                    <a:pt x="0" y="240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3" name="Straight Connector 532"/>
            <p:cNvSpPr/>
            <p:nvPr/>
          </p:nvSpPr>
          <p:spPr>
            <a:xfrm>
              <a:off x="-522000" y="5045400"/>
              <a:ext cx="306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4" name="Freeform: Shape 529"/>
            <p:cNvSpPr/>
            <p:nvPr/>
          </p:nvSpPr>
          <p:spPr>
            <a:xfrm>
              <a:off x="-4664520" y="4919400"/>
              <a:ext cx="89640" cy="2109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50" h="587">
                  <a:moveTo>
                    <a:pt x="250" y="0"/>
                  </a:moveTo>
                  <a:lnTo>
                    <a:pt x="250" y="587"/>
                  </a:lnTo>
                  <a:lnTo>
                    <a:pt x="0" y="393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5" name="Straight Connector 534"/>
            <p:cNvSpPr/>
            <p:nvPr/>
          </p:nvSpPr>
          <p:spPr>
            <a:xfrm>
              <a:off x="-4662720" y="5136840"/>
              <a:ext cx="504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6" name="Freeform: Shape 531"/>
            <p:cNvSpPr/>
            <p:nvPr/>
          </p:nvSpPr>
          <p:spPr>
            <a:xfrm>
              <a:off x="-905039" y="4865040"/>
              <a:ext cx="110160" cy="26028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07" h="724">
                  <a:moveTo>
                    <a:pt x="307" y="0"/>
                  </a:moveTo>
                  <a:lnTo>
                    <a:pt x="307" y="724"/>
                  </a:lnTo>
                  <a:lnTo>
                    <a:pt x="0" y="484"/>
                  </a:lnTo>
                  <a:close/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7" name="Straight Connector 536"/>
            <p:cNvSpPr/>
            <p:nvPr/>
          </p:nvSpPr>
          <p:spPr>
            <a:xfrm>
              <a:off x="-903240" y="5133240"/>
              <a:ext cx="6192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8" name="Straight Connector 537"/>
            <p:cNvSpPr/>
            <p:nvPr/>
          </p:nvSpPr>
          <p:spPr>
            <a:xfrm>
              <a:off x="-5202360" y="4673160"/>
              <a:ext cx="967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39" name="Straight Connector 538"/>
            <p:cNvSpPr/>
            <p:nvPr/>
          </p:nvSpPr>
          <p:spPr>
            <a:xfrm>
              <a:off x="-513252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0" name="Straight Connector 539"/>
            <p:cNvSpPr/>
            <p:nvPr/>
          </p:nvSpPr>
          <p:spPr>
            <a:xfrm>
              <a:off x="-4321800" y="4446000"/>
              <a:ext cx="0" cy="3128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1" name="Freeform: Shape 536"/>
            <p:cNvSpPr/>
            <p:nvPr/>
          </p:nvSpPr>
          <p:spPr>
            <a:xfrm>
              <a:off x="-5130720" y="4471200"/>
              <a:ext cx="80856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247" h="426">
                  <a:moveTo>
                    <a:pt x="2247" y="0"/>
                  </a:moveTo>
                  <a:cubicBezTo>
                    <a:pt x="1971" y="261"/>
                    <a:pt x="1567" y="426"/>
                    <a:pt x="1117" y="426"/>
                  </a:cubicBezTo>
                  <a:cubicBezTo>
                    <a:pt x="674" y="426"/>
                    <a:pt x="276" y="266"/>
                    <a:pt x="0" y="11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2" name="Straight Connector 541"/>
            <p:cNvSpPr/>
            <p:nvPr/>
          </p:nvSpPr>
          <p:spPr>
            <a:xfrm>
              <a:off x="-506700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3" name="Straight Connector 542"/>
            <p:cNvSpPr/>
            <p:nvPr/>
          </p:nvSpPr>
          <p:spPr>
            <a:xfrm>
              <a:off x="-501948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4" name="Straight Connector 543"/>
            <p:cNvSpPr/>
            <p:nvPr/>
          </p:nvSpPr>
          <p:spPr>
            <a:xfrm>
              <a:off x="-496980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5" name="Straight Connector 544"/>
            <p:cNvSpPr/>
            <p:nvPr/>
          </p:nvSpPr>
          <p:spPr>
            <a:xfrm>
              <a:off x="-49215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6" name="Straight Connector 545"/>
            <p:cNvSpPr/>
            <p:nvPr/>
          </p:nvSpPr>
          <p:spPr>
            <a:xfrm>
              <a:off x="-48733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7" name="Straight Connector 546"/>
            <p:cNvSpPr/>
            <p:nvPr/>
          </p:nvSpPr>
          <p:spPr>
            <a:xfrm>
              <a:off x="-482508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8" name="Straight Connector 547"/>
            <p:cNvSpPr/>
            <p:nvPr/>
          </p:nvSpPr>
          <p:spPr>
            <a:xfrm>
              <a:off x="-477648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49" name="Straight Connector 548"/>
            <p:cNvSpPr/>
            <p:nvPr/>
          </p:nvSpPr>
          <p:spPr>
            <a:xfrm>
              <a:off x="-43898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0" name="Straight Connector 549"/>
            <p:cNvSpPr/>
            <p:nvPr/>
          </p:nvSpPr>
          <p:spPr>
            <a:xfrm>
              <a:off x="-443772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1" name="Straight Connector 550"/>
            <p:cNvSpPr/>
            <p:nvPr/>
          </p:nvSpPr>
          <p:spPr>
            <a:xfrm>
              <a:off x="-448704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2" name="Straight Connector 551"/>
            <p:cNvSpPr/>
            <p:nvPr/>
          </p:nvSpPr>
          <p:spPr>
            <a:xfrm>
              <a:off x="-453528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3" name="Straight Connector 552"/>
            <p:cNvSpPr/>
            <p:nvPr/>
          </p:nvSpPr>
          <p:spPr>
            <a:xfrm>
              <a:off x="-458352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4" name="Straight Connector 553"/>
            <p:cNvSpPr/>
            <p:nvPr/>
          </p:nvSpPr>
          <p:spPr>
            <a:xfrm>
              <a:off x="-463176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5" name="Straight Connector 554"/>
            <p:cNvSpPr/>
            <p:nvPr/>
          </p:nvSpPr>
          <p:spPr>
            <a:xfrm>
              <a:off x="-468036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6" name="Straight Connector 555"/>
            <p:cNvSpPr/>
            <p:nvPr/>
          </p:nvSpPr>
          <p:spPr>
            <a:xfrm>
              <a:off x="-4728239" y="4624560"/>
              <a:ext cx="0" cy="460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7" name="Straight Connector 556"/>
            <p:cNvSpPr/>
            <p:nvPr/>
          </p:nvSpPr>
          <p:spPr>
            <a:xfrm>
              <a:off x="-5539320" y="4673160"/>
              <a:ext cx="4939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8" name="Freeform: Shape 553"/>
            <p:cNvSpPr/>
            <p:nvPr/>
          </p:nvSpPr>
          <p:spPr>
            <a:xfrm>
              <a:off x="-5539320" y="4471200"/>
              <a:ext cx="406080" cy="153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129" h="426">
                  <a:moveTo>
                    <a:pt x="1129" y="0"/>
                  </a:moveTo>
                  <a:cubicBezTo>
                    <a:pt x="853" y="261"/>
                    <a:pt x="450" y="426"/>
                    <a:pt x="0" y="426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59" name="Straight Connector 558"/>
            <p:cNvSpPr/>
            <p:nvPr/>
          </p:nvSpPr>
          <p:spPr>
            <a:xfrm>
              <a:off x="-520056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0" name="Straight Connector 559"/>
            <p:cNvSpPr/>
            <p:nvPr/>
          </p:nvSpPr>
          <p:spPr>
            <a:xfrm>
              <a:off x="-5248440" y="4553640"/>
              <a:ext cx="0" cy="1195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1" name="Straight Connector 560"/>
            <p:cNvSpPr/>
            <p:nvPr/>
          </p:nvSpPr>
          <p:spPr>
            <a:xfrm>
              <a:off x="-5298120" y="4578840"/>
              <a:ext cx="0" cy="943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2" name="Straight Connector 561"/>
            <p:cNvSpPr/>
            <p:nvPr/>
          </p:nvSpPr>
          <p:spPr>
            <a:xfrm>
              <a:off x="-5346360" y="4596480"/>
              <a:ext cx="0" cy="7668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3" name="Straight Connector 562"/>
            <p:cNvSpPr/>
            <p:nvPr/>
          </p:nvSpPr>
          <p:spPr>
            <a:xfrm>
              <a:off x="-5394960" y="4608000"/>
              <a:ext cx="0" cy="6516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4" name="Straight Connector 563"/>
            <p:cNvSpPr/>
            <p:nvPr/>
          </p:nvSpPr>
          <p:spPr>
            <a:xfrm>
              <a:off x="-5443200" y="4618440"/>
              <a:ext cx="0" cy="5472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5" name="Straight Connector 564"/>
            <p:cNvSpPr/>
            <p:nvPr/>
          </p:nvSpPr>
          <p:spPr>
            <a:xfrm>
              <a:off x="-5491440" y="4622760"/>
              <a:ext cx="0" cy="504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6" name="Straight Connector 565"/>
            <p:cNvSpPr/>
            <p:nvPr/>
          </p:nvSpPr>
          <p:spPr>
            <a:xfrm>
              <a:off x="-4391279" y="4673160"/>
              <a:ext cx="1623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7" name="Freeform: Shape 562"/>
            <p:cNvSpPr/>
            <p:nvPr/>
          </p:nvSpPr>
          <p:spPr>
            <a:xfrm>
              <a:off x="-4319640" y="4475160"/>
              <a:ext cx="164160" cy="10332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57" h="288">
                  <a:moveTo>
                    <a:pt x="457" y="288"/>
                  </a:moveTo>
                  <a:cubicBezTo>
                    <a:pt x="284" y="217"/>
                    <a:pt x="129" y="119"/>
                    <a:pt x="0" y="0"/>
                  </a:cubicBez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8" name="Straight Connector 567"/>
            <p:cNvSpPr/>
            <p:nvPr/>
          </p:nvSpPr>
          <p:spPr>
            <a:xfrm>
              <a:off x="-4256640" y="4525200"/>
              <a:ext cx="0" cy="14544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69" name="Straight Connector 568"/>
            <p:cNvSpPr/>
            <p:nvPr/>
          </p:nvSpPr>
          <p:spPr>
            <a:xfrm>
              <a:off x="-4208400" y="4553640"/>
              <a:ext cx="0" cy="9360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0" name="Straight Connector 569"/>
            <p:cNvSpPr/>
            <p:nvPr/>
          </p:nvSpPr>
          <p:spPr>
            <a:xfrm>
              <a:off x="-4159080" y="4578840"/>
              <a:ext cx="0" cy="5399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1" name="Freeform: Shape 566"/>
            <p:cNvSpPr/>
            <p:nvPr/>
          </p:nvSpPr>
          <p:spPr>
            <a:xfrm>
              <a:off x="3089160" y="3954240"/>
              <a:ext cx="279360" cy="70200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77" h="1951" fill="none">
                  <a:moveTo>
                    <a:pt x="0" y="1949"/>
                  </a:moveTo>
                  <a:lnTo>
                    <a:pt x="399" y="0"/>
                  </a:lnTo>
                  <a:lnTo>
                    <a:pt x="777" y="1951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2" name="Freeform: Shape 567"/>
            <p:cNvSpPr/>
            <p:nvPr/>
          </p:nvSpPr>
          <p:spPr>
            <a:xfrm>
              <a:off x="3156479" y="4094280"/>
              <a:ext cx="150480" cy="19656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19" h="547" fill="none">
                  <a:moveTo>
                    <a:pt x="20" y="547"/>
                  </a:moveTo>
                  <a:lnTo>
                    <a:pt x="0" y="0"/>
                  </a:lnTo>
                  <a:lnTo>
                    <a:pt x="419" y="0"/>
                  </a:lnTo>
                  <a:lnTo>
                    <a:pt x="390" y="539"/>
                  </a:lnTo>
                </a:path>
              </a:pathLst>
            </a:cu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3" name="Straight Connector 572"/>
            <p:cNvSpPr/>
            <p:nvPr/>
          </p:nvSpPr>
          <p:spPr>
            <a:xfrm>
              <a:off x="3219839" y="4127040"/>
              <a:ext cx="219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4" name="Straight Connector 573"/>
            <p:cNvSpPr/>
            <p:nvPr/>
          </p:nvSpPr>
          <p:spPr>
            <a:xfrm>
              <a:off x="3213720" y="4158720"/>
              <a:ext cx="3383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5" name="Straight Connector 574"/>
            <p:cNvSpPr/>
            <p:nvPr/>
          </p:nvSpPr>
          <p:spPr>
            <a:xfrm>
              <a:off x="3208320" y="4190399"/>
              <a:ext cx="4464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6" name="Straight Connector 575"/>
            <p:cNvSpPr/>
            <p:nvPr/>
          </p:nvSpPr>
          <p:spPr>
            <a:xfrm>
              <a:off x="3202560" y="4221719"/>
              <a:ext cx="558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7" name="Straight Connector 576"/>
            <p:cNvSpPr/>
            <p:nvPr/>
          </p:nvSpPr>
          <p:spPr>
            <a:xfrm>
              <a:off x="3196800" y="4253400"/>
              <a:ext cx="67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8" name="Straight Connector 577"/>
            <p:cNvSpPr/>
            <p:nvPr/>
          </p:nvSpPr>
          <p:spPr>
            <a:xfrm>
              <a:off x="3191040" y="4285080"/>
              <a:ext cx="784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79" name="Straight Connector 578"/>
            <p:cNvSpPr/>
            <p:nvPr/>
          </p:nvSpPr>
          <p:spPr>
            <a:xfrm>
              <a:off x="3185279" y="4316760"/>
              <a:ext cx="90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0" name="Straight Connector 579"/>
            <p:cNvSpPr/>
            <p:nvPr/>
          </p:nvSpPr>
          <p:spPr>
            <a:xfrm>
              <a:off x="3179880" y="4348440"/>
              <a:ext cx="10115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1" name="Straight Connector 580"/>
            <p:cNvSpPr/>
            <p:nvPr/>
          </p:nvSpPr>
          <p:spPr>
            <a:xfrm>
              <a:off x="3174120" y="4380120"/>
              <a:ext cx="11232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2" name="Straight Connector 581"/>
            <p:cNvSpPr/>
            <p:nvPr/>
          </p:nvSpPr>
          <p:spPr>
            <a:xfrm>
              <a:off x="3168360" y="4411800"/>
              <a:ext cx="1234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3" name="Straight Connector 582"/>
            <p:cNvSpPr/>
            <p:nvPr/>
          </p:nvSpPr>
          <p:spPr>
            <a:xfrm>
              <a:off x="3162600" y="4443120"/>
              <a:ext cx="13500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4" name="Straight Connector 583"/>
            <p:cNvSpPr/>
            <p:nvPr/>
          </p:nvSpPr>
          <p:spPr>
            <a:xfrm>
              <a:off x="3156840" y="4474440"/>
              <a:ext cx="14616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5" name="Straight Connector 584"/>
            <p:cNvSpPr/>
            <p:nvPr/>
          </p:nvSpPr>
          <p:spPr>
            <a:xfrm>
              <a:off x="3151080" y="4506120"/>
              <a:ext cx="15767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6" name="Straight Connector 585"/>
            <p:cNvSpPr/>
            <p:nvPr/>
          </p:nvSpPr>
          <p:spPr>
            <a:xfrm>
              <a:off x="3145679" y="4537800"/>
              <a:ext cx="16848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7" name="Straight Connector 586"/>
            <p:cNvSpPr/>
            <p:nvPr/>
          </p:nvSpPr>
          <p:spPr>
            <a:xfrm>
              <a:off x="3139559" y="4569480"/>
              <a:ext cx="180361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8" name="Straight Connector 587"/>
            <p:cNvSpPr/>
            <p:nvPr/>
          </p:nvSpPr>
          <p:spPr>
            <a:xfrm>
              <a:off x="3134160" y="4601160"/>
              <a:ext cx="191519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589" name="Straight Connector 588"/>
            <p:cNvSpPr/>
            <p:nvPr/>
          </p:nvSpPr>
          <p:spPr>
            <a:xfrm>
              <a:off x="3128400" y="4632840"/>
              <a:ext cx="202680" cy="0"/>
            </a:xfrm>
            <a:prstGeom prst="line">
              <a:avLst/>
            </a:prstGeom>
            <a:noFill/>
            <a:ln w="10160" cap="rnd">
              <a:solidFill>
                <a:schemeClr val="tx2"/>
              </a:solidFill>
              <a:prstDash val="solid"/>
              <a:round/>
            </a:ln>
          </p:spPr>
          <p:txBody>
            <a:bodyPr vert="horz" wrap="none" lIns="3600" tIns="3600" rIns="3600" bIns="3600" anchor="ctr" anchorCtr="1" compatLnSpc="0"/>
            <a:lstStyle/>
            <a:p>
              <a:pPr hangingPunct="0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Arial" pitchFamily="18"/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15873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 dirty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52526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51573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75374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86261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889" y="1622426"/>
            <a:ext cx="2319337" cy="231775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6"/>
            <a:ext cx="2319338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589" y="1622426"/>
            <a:ext cx="2319337" cy="231775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76776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dirty="0">
              <a:solidFill>
                <a:srgbClr val="FFFFFF"/>
              </a:solidFill>
              <a:cs typeface=""/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1" y="1622426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dirty="0">
              <a:solidFill>
                <a:srgbClr val="FFFFFF"/>
              </a:solidFill>
              <a:cs typeface=""/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6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77" tIns="34289" rIns="68577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685800" eaLnBrk="1" hangingPunct="1"/>
            <a:endParaRPr lang="en-US" altLang="en-US" dirty="0">
              <a:solidFill>
                <a:srgbClr val="FFFFFF"/>
              </a:solidFill>
              <a:cs typeface="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329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00523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2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8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4812178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3653094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1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7857650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2" y="1979319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1" y="132892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2" y="262744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3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2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7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2" y="1327522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2" y="1979319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3" y="2625494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3" y="3274582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2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4" y="3272629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4" y="392171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7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5" y="3919764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232664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2" y="1979319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1" y="132892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2" y="2627447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43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2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7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2" y="1327522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2" y="1979319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3" y="2625494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3" y="3274582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582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4" y="3272629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4" y="3921717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4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17"/>
            <a:ext cx="5678748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5" y="3919764"/>
            <a:ext cx="464815" cy="461327"/>
          </a:xfrm>
          <a:prstGeom prst="rect">
            <a:avLst/>
          </a:prstGeom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4956262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2" y="1979319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1" y="132892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2" y="262744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5" y="1334843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2" y="1327522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2" y="197931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3" y="262549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13" y="3274582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7" y="327458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4" y="327262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14" y="3921717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8" y="392171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5" y="391976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5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4414577" y="1983085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21" name="Oval 20"/>
          <p:cNvSpPr/>
          <p:nvPr userDrawn="1"/>
        </p:nvSpPr>
        <p:spPr>
          <a:xfrm>
            <a:off x="4414576" y="1332694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4414577" y="2631213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5011350" y="1338609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5011350" y="1988328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5011350" y="2631213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414577" y="133128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6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4414577" y="1983085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7</a:t>
            </a:r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4414578" y="2629260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8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414578" y="327834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3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5011351" y="3278348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4414579" y="3276395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9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4414579" y="3925483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5011353" y="3925483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414580" y="3923530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5813781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2" name="Oval 41"/>
          <p:cNvSpPr/>
          <p:nvPr userDrawn="1"/>
        </p:nvSpPr>
        <p:spPr>
          <a:xfrm>
            <a:off x="575612" y="1979319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43" name="Oval 42"/>
          <p:cNvSpPr/>
          <p:nvPr userDrawn="1"/>
        </p:nvSpPr>
        <p:spPr>
          <a:xfrm>
            <a:off x="575611" y="1328928"/>
            <a:ext cx="464815" cy="464815"/>
          </a:xfrm>
          <a:prstGeom prst="ellipse">
            <a:avLst/>
          </a:prstGeom>
          <a:solidFill>
            <a:schemeClr val="bg2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575612" y="2627447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5" y="1334843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6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4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2" y="1327522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</a:t>
            </a:r>
          </a:p>
        </p:txBody>
      </p:sp>
      <p:sp>
        <p:nvSpPr>
          <p:cNvPr id="49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2" y="197931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2</a:t>
            </a:r>
          </a:p>
        </p:txBody>
      </p:sp>
      <p:sp>
        <p:nvSpPr>
          <p:cNvPr id="50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3" y="262549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3</a:t>
            </a:r>
          </a:p>
        </p:txBody>
      </p:sp>
      <p:sp>
        <p:nvSpPr>
          <p:cNvPr id="51" name="Oval 50"/>
          <p:cNvSpPr/>
          <p:nvPr userDrawn="1"/>
        </p:nvSpPr>
        <p:spPr>
          <a:xfrm>
            <a:off x="575613" y="3274582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5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7" y="3274582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14" y="327262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4</a:t>
            </a:r>
          </a:p>
        </p:txBody>
      </p:sp>
      <p:sp>
        <p:nvSpPr>
          <p:cNvPr id="54" name="Oval 53"/>
          <p:cNvSpPr/>
          <p:nvPr userDrawn="1"/>
        </p:nvSpPr>
        <p:spPr>
          <a:xfrm>
            <a:off x="575614" y="3921717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5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8" y="3921717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15" y="3919764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5</a:t>
            </a:r>
          </a:p>
        </p:txBody>
      </p:sp>
      <p:sp>
        <p:nvSpPr>
          <p:cNvPr id="57" name="Oval 56"/>
          <p:cNvSpPr/>
          <p:nvPr userDrawn="1"/>
        </p:nvSpPr>
        <p:spPr>
          <a:xfrm>
            <a:off x="4414577" y="1983085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4414576" y="1332694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4414577" y="2631213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6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5011350" y="1338609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5011350" y="1988328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5011350" y="2631213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414577" y="133128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6</a:t>
            </a:r>
          </a:p>
        </p:txBody>
      </p:sp>
      <p:sp>
        <p:nvSpPr>
          <p:cNvPr id="6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4414577" y="1983085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7</a:t>
            </a:r>
          </a:p>
        </p:txBody>
      </p:sp>
      <p:sp>
        <p:nvSpPr>
          <p:cNvPr id="6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4414578" y="2629260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8</a:t>
            </a:r>
          </a:p>
        </p:txBody>
      </p:sp>
      <p:sp>
        <p:nvSpPr>
          <p:cNvPr id="66" name="Oval 65"/>
          <p:cNvSpPr/>
          <p:nvPr userDrawn="1"/>
        </p:nvSpPr>
        <p:spPr>
          <a:xfrm>
            <a:off x="4414578" y="327834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5011351" y="3278348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4414579" y="3276395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9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4414579" y="3925483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 anchorCtr="0"/>
          <a:lstStyle/>
          <a:p>
            <a:pPr algn="ctr" defTabSz="457189"/>
            <a:endParaRPr lang="en-US" sz="2000" dirty="0" smtClean="0">
              <a:ln>
                <a:solidFill>
                  <a:srgbClr val="049CD4"/>
                </a:solidFill>
              </a:ln>
              <a:solidFill>
                <a:srgbClr val="049CD4"/>
              </a:solidFill>
              <a:cs typeface="Arial"/>
            </a:endParaRPr>
          </a:p>
        </p:txBody>
      </p:sp>
      <p:sp>
        <p:nvSpPr>
          <p:cNvPr id="7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5011353" y="3925483"/>
            <a:ext cx="2175886" cy="461327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414580" y="3923530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 smtClean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5428242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48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87348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58585B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66099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8177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717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2"/>
          </p:nvPr>
        </p:nvSpPr>
        <p:spPr bwMode="auto">
          <a:xfrm>
            <a:off x="500064" y="3466599"/>
            <a:ext cx="8139112" cy="521510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172796" indent="-179996">
              <a:lnSpc>
                <a:spcPts val="3680"/>
              </a:lnSpc>
              <a:spcBef>
                <a:spcPts val="0"/>
              </a:spcBef>
              <a:buNone/>
              <a:defRPr sz="32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169" y="4921124"/>
            <a:ext cx="21895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ＭＳ Ｐゴシック" pitchFamily="34" charset="-128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03989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286376" y="4917741"/>
            <a:ext cx="31677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t>C97-737517-01 © 2016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5283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40791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23124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065872" y="3655079"/>
            <a:ext cx="5074070" cy="62865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867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276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98947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101"/>
            <a:ext cx="3630612" cy="38703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37670" y="546735"/>
            <a:ext cx="4349918" cy="813985"/>
          </a:xfrm>
        </p:spPr>
        <p:txBody>
          <a:bodyPr wrap="none" anchor="t">
            <a:noAutofit/>
          </a:bodyPr>
          <a:lstStyle>
            <a:lvl1pPr>
              <a:lnSpc>
                <a:spcPct val="90000"/>
              </a:lnSpc>
              <a:defRPr sz="2500">
                <a:solidFill>
                  <a:srgbClr val="555558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826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1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6382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5448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2808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dirty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9614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9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91590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835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3.xml"/><Relationship Id="rId18" Type="http://schemas.openxmlformats.org/officeDocument/2006/relationships/slideLayout" Target="../slideLayouts/slideLayout308.xml"/><Relationship Id="rId26" Type="http://schemas.openxmlformats.org/officeDocument/2006/relationships/slideLayout" Target="../slideLayouts/slideLayout316.xml"/><Relationship Id="rId39" Type="http://schemas.openxmlformats.org/officeDocument/2006/relationships/slideLayout" Target="../slideLayouts/slideLayout329.xml"/><Relationship Id="rId3" Type="http://schemas.openxmlformats.org/officeDocument/2006/relationships/slideLayout" Target="../slideLayouts/slideLayout293.xml"/><Relationship Id="rId21" Type="http://schemas.openxmlformats.org/officeDocument/2006/relationships/slideLayout" Target="../slideLayouts/slideLayout311.xml"/><Relationship Id="rId34" Type="http://schemas.openxmlformats.org/officeDocument/2006/relationships/slideLayout" Target="../slideLayouts/slideLayout324.xml"/><Relationship Id="rId42" Type="http://schemas.openxmlformats.org/officeDocument/2006/relationships/slideLayout" Target="../slideLayouts/slideLayout332.xml"/><Relationship Id="rId47" Type="http://schemas.openxmlformats.org/officeDocument/2006/relationships/slideLayout" Target="../slideLayouts/slideLayout337.xml"/><Relationship Id="rId7" Type="http://schemas.openxmlformats.org/officeDocument/2006/relationships/slideLayout" Target="../slideLayouts/slideLayout297.xml"/><Relationship Id="rId12" Type="http://schemas.openxmlformats.org/officeDocument/2006/relationships/slideLayout" Target="../slideLayouts/slideLayout302.xml"/><Relationship Id="rId17" Type="http://schemas.openxmlformats.org/officeDocument/2006/relationships/slideLayout" Target="../slideLayouts/slideLayout307.xml"/><Relationship Id="rId25" Type="http://schemas.openxmlformats.org/officeDocument/2006/relationships/slideLayout" Target="../slideLayouts/slideLayout315.xml"/><Relationship Id="rId33" Type="http://schemas.openxmlformats.org/officeDocument/2006/relationships/slideLayout" Target="../slideLayouts/slideLayout323.xml"/><Relationship Id="rId38" Type="http://schemas.openxmlformats.org/officeDocument/2006/relationships/slideLayout" Target="../slideLayouts/slideLayout328.xml"/><Relationship Id="rId46" Type="http://schemas.openxmlformats.org/officeDocument/2006/relationships/slideLayout" Target="../slideLayouts/slideLayout336.xml"/><Relationship Id="rId2" Type="http://schemas.openxmlformats.org/officeDocument/2006/relationships/slideLayout" Target="../slideLayouts/slideLayout292.xml"/><Relationship Id="rId16" Type="http://schemas.openxmlformats.org/officeDocument/2006/relationships/slideLayout" Target="../slideLayouts/slideLayout306.xml"/><Relationship Id="rId20" Type="http://schemas.openxmlformats.org/officeDocument/2006/relationships/slideLayout" Target="../slideLayouts/slideLayout310.xml"/><Relationship Id="rId29" Type="http://schemas.openxmlformats.org/officeDocument/2006/relationships/slideLayout" Target="../slideLayouts/slideLayout319.xml"/><Relationship Id="rId41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291.xml"/><Relationship Id="rId6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301.xml"/><Relationship Id="rId24" Type="http://schemas.openxmlformats.org/officeDocument/2006/relationships/slideLayout" Target="../slideLayouts/slideLayout314.xml"/><Relationship Id="rId32" Type="http://schemas.openxmlformats.org/officeDocument/2006/relationships/slideLayout" Target="../slideLayouts/slideLayout322.xml"/><Relationship Id="rId37" Type="http://schemas.openxmlformats.org/officeDocument/2006/relationships/slideLayout" Target="../slideLayouts/slideLayout327.xml"/><Relationship Id="rId40" Type="http://schemas.openxmlformats.org/officeDocument/2006/relationships/slideLayout" Target="../slideLayouts/slideLayout330.xml"/><Relationship Id="rId45" Type="http://schemas.openxmlformats.org/officeDocument/2006/relationships/slideLayout" Target="../slideLayouts/slideLayout335.xml"/><Relationship Id="rId5" Type="http://schemas.openxmlformats.org/officeDocument/2006/relationships/slideLayout" Target="../slideLayouts/slideLayout295.xml"/><Relationship Id="rId15" Type="http://schemas.openxmlformats.org/officeDocument/2006/relationships/slideLayout" Target="../slideLayouts/slideLayout305.xml"/><Relationship Id="rId23" Type="http://schemas.openxmlformats.org/officeDocument/2006/relationships/slideLayout" Target="../slideLayouts/slideLayout313.xml"/><Relationship Id="rId28" Type="http://schemas.openxmlformats.org/officeDocument/2006/relationships/slideLayout" Target="../slideLayouts/slideLayout318.xml"/><Relationship Id="rId36" Type="http://schemas.openxmlformats.org/officeDocument/2006/relationships/slideLayout" Target="../slideLayouts/slideLayout326.xml"/><Relationship Id="rId49" Type="http://schemas.openxmlformats.org/officeDocument/2006/relationships/image" Target="../media/image16.png"/><Relationship Id="rId10" Type="http://schemas.openxmlformats.org/officeDocument/2006/relationships/slideLayout" Target="../slideLayouts/slideLayout300.xml"/><Relationship Id="rId19" Type="http://schemas.openxmlformats.org/officeDocument/2006/relationships/slideLayout" Target="../slideLayouts/slideLayout309.xml"/><Relationship Id="rId31" Type="http://schemas.openxmlformats.org/officeDocument/2006/relationships/slideLayout" Target="../slideLayouts/slideLayout321.xml"/><Relationship Id="rId44" Type="http://schemas.openxmlformats.org/officeDocument/2006/relationships/slideLayout" Target="../slideLayouts/slideLayout334.xml"/><Relationship Id="rId4" Type="http://schemas.openxmlformats.org/officeDocument/2006/relationships/slideLayout" Target="../slideLayouts/slideLayout294.xml"/><Relationship Id="rId9" Type="http://schemas.openxmlformats.org/officeDocument/2006/relationships/slideLayout" Target="../slideLayouts/slideLayout299.xml"/><Relationship Id="rId14" Type="http://schemas.openxmlformats.org/officeDocument/2006/relationships/slideLayout" Target="../slideLayouts/slideLayout304.xml"/><Relationship Id="rId22" Type="http://schemas.openxmlformats.org/officeDocument/2006/relationships/slideLayout" Target="../slideLayouts/slideLayout312.xml"/><Relationship Id="rId27" Type="http://schemas.openxmlformats.org/officeDocument/2006/relationships/slideLayout" Target="../slideLayouts/slideLayout317.xml"/><Relationship Id="rId30" Type="http://schemas.openxmlformats.org/officeDocument/2006/relationships/slideLayout" Target="../slideLayouts/slideLayout320.xml"/><Relationship Id="rId35" Type="http://schemas.openxmlformats.org/officeDocument/2006/relationships/slideLayout" Target="../slideLayouts/slideLayout325.xml"/><Relationship Id="rId43" Type="http://schemas.openxmlformats.org/officeDocument/2006/relationships/slideLayout" Target="../slideLayouts/slideLayout333.xml"/><Relationship Id="rId48" Type="http://schemas.openxmlformats.org/officeDocument/2006/relationships/theme" Target="../theme/theme10.xml"/><Relationship Id="rId8" Type="http://schemas.openxmlformats.org/officeDocument/2006/relationships/slideLayout" Target="../slideLayouts/slideLayout298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0.xml"/><Relationship Id="rId18" Type="http://schemas.openxmlformats.org/officeDocument/2006/relationships/slideLayout" Target="../slideLayouts/slideLayout355.xml"/><Relationship Id="rId26" Type="http://schemas.openxmlformats.org/officeDocument/2006/relationships/slideLayout" Target="../slideLayouts/slideLayout363.xml"/><Relationship Id="rId39" Type="http://schemas.openxmlformats.org/officeDocument/2006/relationships/slideLayout" Target="../slideLayouts/slideLayout376.xml"/><Relationship Id="rId3" Type="http://schemas.openxmlformats.org/officeDocument/2006/relationships/slideLayout" Target="../slideLayouts/slideLayout340.xml"/><Relationship Id="rId21" Type="http://schemas.openxmlformats.org/officeDocument/2006/relationships/slideLayout" Target="../slideLayouts/slideLayout358.xml"/><Relationship Id="rId34" Type="http://schemas.openxmlformats.org/officeDocument/2006/relationships/slideLayout" Target="../slideLayouts/slideLayout371.xml"/><Relationship Id="rId42" Type="http://schemas.openxmlformats.org/officeDocument/2006/relationships/slideLayout" Target="../slideLayouts/slideLayout379.xml"/><Relationship Id="rId47" Type="http://schemas.openxmlformats.org/officeDocument/2006/relationships/slideLayout" Target="../slideLayouts/slideLayout384.xml"/><Relationship Id="rId7" Type="http://schemas.openxmlformats.org/officeDocument/2006/relationships/slideLayout" Target="../slideLayouts/slideLayout344.xml"/><Relationship Id="rId12" Type="http://schemas.openxmlformats.org/officeDocument/2006/relationships/slideLayout" Target="../slideLayouts/slideLayout349.xml"/><Relationship Id="rId17" Type="http://schemas.openxmlformats.org/officeDocument/2006/relationships/slideLayout" Target="../slideLayouts/slideLayout354.xml"/><Relationship Id="rId25" Type="http://schemas.openxmlformats.org/officeDocument/2006/relationships/slideLayout" Target="../slideLayouts/slideLayout362.xml"/><Relationship Id="rId33" Type="http://schemas.openxmlformats.org/officeDocument/2006/relationships/slideLayout" Target="../slideLayouts/slideLayout370.xml"/><Relationship Id="rId38" Type="http://schemas.openxmlformats.org/officeDocument/2006/relationships/slideLayout" Target="../slideLayouts/slideLayout375.xml"/><Relationship Id="rId46" Type="http://schemas.openxmlformats.org/officeDocument/2006/relationships/slideLayout" Target="../slideLayouts/slideLayout383.xml"/><Relationship Id="rId2" Type="http://schemas.openxmlformats.org/officeDocument/2006/relationships/slideLayout" Target="../slideLayouts/slideLayout339.xml"/><Relationship Id="rId16" Type="http://schemas.openxmlformats.org/officeDocument/2006/relationships/slideLayout" Target="../slideLayouts/slideLayout353.xml"/><Relationship Id="rId20" Type="http://schemas.openxmlformats.org/officeDocument/2006/relationships/slideLayout" Target="../slideLayouts/slideLayout357.xml"/><Relationship Id="rId29" Type="http://schemas.openxmlformats.org/officeDocument/2006/relationships/slideLayout" Target="../slideLayouts/slideLayout366.xml"/><Relationship Id="rId41" Type="http://schemas.openxmlformats.org/officeDocument/2006/relationships/slideLayout" Target="../slideLayouts/slideLayout378.xml"/><Relationship Id="rId1" Type="http://schemas.openxmlformats.org/officeDocument/2006/relationships/slideLayout" Target="../slideLayouts/slideLayout338.xml"/><Relationship Id="rId6" Type="http://schemas.openxmlformats.org/officeDocument/2006/relationships/slideLayout" Target="../slideLayouts/slideLayout343.xml"/><Relationship Id="rId11" Type="http://schemas.openxmlformats.org/officeDocument/2006/relationships/slideLayout" Target="../slideLayouts/slideLayout348.xml"/><Relationship Id="rId24" Type="http://schemas.openxmlformats.org/officeDocument/2006/relationships/slideLayout" Target="../slideLayouts/slideLayout361.xml"/><Relationship Id="rId32" Type="http://schemas.openxmlformats.org/officeDocument/2006/relationships/slideLayout" Target="../slideLayouts/slideLayout369.xml"/><Relationship Id="rId37" Type="http://schemas.openxmlformats.org/officeDocument/2006/relationships/slideLayout" Target="../slideLayouts/slideLayout374.xml"/><Relationship Id="rId40" Type="http://schemas.openxmlformats.org/officeDocument/2006/relationships/slideLayout" Target="../slideLayouts/slideLayout377.xml"/><Relationship Id="rId45" Type="http://schemas.openxmlformats.org/officeDocument/2006/relationships/slideLayout" Target="../slideLayouts/slideLayout382.xml"/><Relationship Id="rId5" Type="http://schemas.openxmlformats.org/officeDocument/2006/relationships/slideLayout" Target="../slideLayouts/slideLayout342.xml"/><Relationship Id="rId15" Type="http://schemas.openxmlformats.org/officeDocument/2006/relationships/slideLayout" Target="../slideLayouts/slideLayout352.xml"/><Relationship Id="rId23" Type="http://schemas.openxmlformats.org/officeDocument/2006/relationships/slideLayout" Target="../slideLayouts/slideLayout360.xml"/><Relationship Id="rId28" Type="http://schemas.openxmlformats.org/officeDocument/2006/relationships/slideLayout" Target="../slideLayouts/slideLayout365.xml"/><Relationship Id="rId36" Type="http://schemas.openxmlformats.org/officeDocument/2006/relationships/slideLayout" Target="../slideLayouts/slideLayout373.xml"/><Relationship Id="rId49" Type="http://schemas.openxmlformats.org/officeDocument/2006/relationships/image" Target="../media/image16.png"/><Relationship Id="rId10" Type="http://schemas.openxmlformats.org/officeDocument/2006/relationships/slideLayout" Target="../slideLayouts/slideLayout347.xml"/><Relationship Id="rId19" Type="http://schemas.openxmlformats.org/officeDocument/2006/relationships/slideLayout" Target="../slideLayouts/slideLayout356.xml"/><Relationship Id="rId31" Type="http://schemas.openxmlformats.org/officeDocument/2006/relationships/slideLayout" Target="../slideLayouts/slideLayout368.xml"/><Relationship Id="rId44" Type="http://schemas.openxmlformats.org/officeDocument/2006/relationships/slideLayout" Target="../slideLayouts/slideLayout381.xml"/><Relationship Id="rId4" Type="http://schemas.openxmlformats.org/officeDocument/2006/relationships/slideLayout" Target="../slideLayouts/slideLayout341.xml"/><Relationship Id="rId9" Type="http://schemas.openxmlformats.org/officeDocument/2006/relationships/slideLayout" Target="../slideLayouts/slideLayout346.xml"/><Relationship Id="rId14" Type="http://schemas.openxmlformats.org/officeDocument/2006/relationships/slideLayout" Target="../slideLayouts/slideLayout351.xml"/><Relationship Id="rId22" Type="http://schemas.openxmlformats.org/officeDocument/2006/relationships/slideLayout" Target="../slideLayouts/slideLayout359.xml"/><Relationship Id="rId27" Type="http://schemas.openxmlformats.org/officeDocument/2006/relationships/slideLayout" Target="../slideLayouts/slideLayout364.xml"/><Relationship Id="rId30" Type="http://schemas.openxmlformats.org/officeDocument/2006/relationships/slideLayout" Target="../slideLayouts/slideLayout367.xml"/><Relationship Id="rId35" Type="http://schemas.openxmlformats.org/officeDocument/2006/relationships/slideLayout" Target="../slideLayouts/slideLayout372.xml"/><Relationship Id="rId43" Type="http://schemas.openxmlformats.org/officeDocument/2006/relationships/slideLayout" Target="../slideLayouts/slideLayout380.xml"/><Relationship Id="rId48" Type="http://schemas.openxmlformats.org/officeDocument/2006/relationships/theme" Target="../theme/theme11.xml"/><Relationship Id="rId8" Type="http://schemas.openxmlformats.org/officeDocument/2006/relationships/slideLayout" Target="../slideLayouts/slideLayout345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7.xml"/><Relationship Id="rId18" Type="http://schemas.openxmlformats.org/officeDocument/2006/relationships/slideLayout" Target="../slideLayouts/slideLayout402.xml"/><Relationship Id="rId26" Type="http://schemas.openxmlformats.org/officeDocument/2006/relationships/slideLayout" Target="../slideLayouts/slideLayout410.xml"/><Relationship Id="rId39" Type="http://schemas.openxmlformats.org/officeDocument/2006/relationships/slideLayout" Target="../slideLayouts/slideLayout423.xml"/><Relationship Id="rId3" Type="http://schemas.openxmlformats.org/officeDocument/2006/relationships/slideLayout" Target="../slideLayouts/slideLayout387.xml"/><Relationship Id="rId21" Type="http://schemas.openxmlformats.org/officeDocument/2006/relationships/slideLayout" Target="../slideLayouts/slideLayout405.xml"/><Relationship Id="rId34" Type="http://schemas.openxmlformats.org/officeDocument/2006/relationships/slideLayout" Target="../slideLayouts/slideLayout418.xml"/><Relationship Id="rId42" Type="http://schemas.openxmlformats.org/officeDocument/2006/relationships/slideLayout" Target="../slideLayouts/slideLayout426.xml"/><Relationship Id="rId47" Type="http://schemas.openxmlformats.org/officeDocument/2006/relationships/slideLayout" Target="../slideLayouts/slideLayout431.xml"/><Relationship Id="rId7" Type="http://schemas.openxmlformats.org/officeDocument/2006/relationships/slideLayout" Target="../slideLayouts/slideLayout391.xml"/><Relationship Id="rId12" Type="http://schemas.openxmlformats.org/officeDocument/2006/relationships/slideLayout" Target="../slideLayouts/slideLayout396.xml"/><Relationship Id="rId17" Type="http://schemas.openxmlformats.org/officeDocument/2006/relationships/slideLayout" Target="../slideLayouts/slideLayout401.xml"/><Relationship Id="rId25" Type="http://schemas.openxmlformats.org/officeDocument/2006/relationships/slideLayout" Target="../slideLayouts/slideLayout409.xml"/><Relationship Id="rId33" Type="http://schemas.openxmlformats.org/officeDocument/2006/relationships/slideLayout" Target="../slideLayouts/slideLayout417.xml"/><Relationship Id="rId38" Type="http://schemas.openxmlformats.org/officeDocument/2006/relationships/slideLayout" Target="../slideLayouts/slideLayout422.xml"/><Relationship Id="rId46" Type="http://schemas.openxmlformats.org/officeDocument/2006/relationships/slideLayout" Target="../slideLayouts/slideLayout430.xml"/><Relationship Id="rId2" Type="http://schemas.openxmlformats.org/officeDocument/2006/relationships/slideLayout" Target="../slideLayouts/slideLayout386.xml"/><Relationship Id="rId16" Type="http://schemas.openxmlformats.org/officeDocument/2006/relationships/slideLayout" Target="../slideLayouts/slideLayout400.xml"/><Relationship Id="rId20" Type="http://schemas.openxmlformats.org/officeDocument/2006/relationships/slideLayout" Target="../slideLayouts/slideLayout404.xml"/><Relationship Id="rId29" Type="http://schemas.openxmlformats.org/officeDocument/2006/relationships/slideLayout" Target="../slideLayouts/slideLayout413.xml"/><Relationship Id="rId41" Type="http://schemas.openxmlformats.org/officeDocument/2006/relationships/slideLayout" Target="../slideLayouts/slideLayout425.xml"/><Relationship Id="rId1" Type="http://schemas.openxmlformats.org/officeDocument/2006/relationships/slideLayout" Target="../slideLayouts/slideLayout385.xml"/><Relationship Id="rId6" Type="http://schemas.openxmlformats.org/officeDocument/2006/relationships/slideLayout" Target="../slideLayouts/slideLayout390.xml"/><Relationship Id="rId11" Type="http://schemas.openxmlformats.org/officeDocument/2006/relationships/slideLayout" Target="../slideLayouts/slideLayout395.xml"/><Relationship Id="rId24" Type="http://schemas.openxmlformats.org/officeDocument/2006/relationships/slideLayout" Target="../slideLayouts/slideLayout408.xml"/><Relationship Id="rId32" Type="http://schemas.openxmlformats.org/officeDocument/2006/relationships/slideLayout" Target="../slideLayouts/slideLayout416.xml"/><Relationship Id="rId37" Type="http://schemas.openxmlformats.org/officeDocument/2006/relationships/slideLayout" Target="../slideLayouts/slideLayout421.xml"/><Relationship Id="rId40" Type="http://schemas.openxmlformats.org/officeDocument/2006/relationships/slideLayout" Target="../slideLayouts/slideLayout424.xml"/><Relationship Id="rId45" Type="http://schemas.openxmlformats.org/officeDocument/2006/relationships/slideLayout" Target="../slideLayouts/slideLayout429.xml"/><Relationship Id="rId5" Type="http://schemas.openxmlformats.org/officeDocument/2006/relationships/slideLayout" Target="../slideLayouts/slideLayout389.xml"/><Relationship Id="rId15" Type="http://schemas.openxmlformats.org/officeDocument/2006/relationships/slideLayout" Target="../slideLayouts/slideLayout399.xml"/><Relationship Id="rId23" Type="http://schemas.openxmlformats.org/officeDocument/2006/relationships/slideLayout" Target="../slideLayouts/slideLayout407.xml"/><Relationship Id="rId28" Type="http://schemas.openxmlformats.org/officeDocument/2006/relationships/slideLayout" Target="../slideLayouts/slideLayout412.xml"/><Relationship Id="rId36" Type="http://schemas.openxmlformats.org/officeDocument/2006/relationships/slideLayout" Target="../slideLayouts/slideLayout420.xml"/><Relationship Id="rId49" Type="http://schemas.openxmlformats.org/officeDocument/2006/relationships/image" Target="../media/image16.png"/><Relationship Id="rId10" Type="http://schemas.openxmlformats.org/officeDocument/2006/relationships/slideLayout" Target="../slideLayouts/slideLayout394.xml"/><Relationship Id="rId19" Type="http://schemas.openxmlformats.org/officeDocument/2006/relationships/slideLayout" Target="../slideLayouts/slideLayout403.xml"/><Relationship Id="rId31" Type="http://schemas.openxmlformats.org/officeDocument/2006/relationships/slideLayout" Target="../slideLayouts/slideLayout415.xml"/><Relationship Id="rId44" Type="http://schemas.openxmlformats.org/officeDocument/2006/relationships/slideLayout" Target="../slideLayouts/slideLayout428.xml"/><Relationship Id="rId4" Type="http://schemas.openxmlformats.org/officeDocument/2006/relationships/slideLayout" Target="../slideLayouts/slideLayout388.xml"/><Relationship Id="rId9" Type="http://schemas.openxmlformats.org/officeDocument/2006/relationships/slideLayout" Target="../slideLayouts/slideLayout393.xml"/><Relationship Id="rId14" Type="http://schemas.openxmlformats.org/officeDocument/2006/relationships/slideLayout" Target="../slideLayouts/slideLayout398.xml"/><Relationship Id="rId22" Type="http://schemas.openxmlformats.org/officeDocument/2006/relationships/slideLayout" Target="../slideLayouts/slideLayout406.xml"/><Relationship Id="rId27" Type="http://schemas.openxmlformats.org/officeDocument/2006/relationships/slideLayout" Target="../slideLayouts/slideLayout411.xml"/><Relationship Id="rId30" Type="http://schemas.openxmlformats.org/officeDocument/2006/relationships/slideLayout" Target="../slideLayouts/slideLayout414.xml"/><Relationship Id="rId35" Type="http://schemas.openxmlformats.org/officeDocument/2006/relationships/slideLayout" Target="../slideLayouts/slideLayout419.xml"/><Relationship Id="rId43" Type="http://schemas.openxmlformats.org/officeDocument/2006/relationships/slideLayout" Target="../slideLayouts/slideLayout427.xml"/><Relationship Id="rId48" Type="http://schemas.openxmlformats.org/officeDocument/2006/relationships/theme" Target="../theme/theme12.xml"/><Relationship Id="rId8" Type="http://schemas.openxmlformats.org/officeDocument/2006/relationships/slideLayout" Target="../slideLayouts/slideLayout392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4.xml"/><Relationship Id="rId18" Type="http://schemas.openxmlformats.org/officeDocument/2006/relationships/slideLayout" Target="../slideLayouts/slideLayout449.xml"/><Relationship Id="rId26" Type="http://schemas.openxmlformats.org/officeDocument/2006/relationships/slideLayout" Target="../slideLayouts/slideLayout457.xml"/><Relationship Id="rId39" Type="http://schemas.openxmlformats.org/officeDocument/2006/relationships/slideLayout" Target="../slideLayouts/slideLayout470.xml"/><Relationship Id="rId3" Type="http://schemas.openxmlformats.org/officeDocument/2006/relationships/slideLayout" Target="../slideLayouts/slideLayout434.xml"/><Relationship Id="rId21" Type="http://schemas.openxmlformats.org/officeDocument/2006/relationships/slideLayout" Target="../slideLayouts/slideLayout452.xml"/><Relationship Id="rId34" Type="http://schemas.openxmlformats.org/officeDocument/2006/relationships/slideLayout" Target="../slideLayouts/slideLayout465.xml"/><Relationship Id="rId42" Type="http://schemas.openxmlformats.org/officeDocument/2006/relationships/slideLayout" Target="../slideLayouts/slideLayout473.xml"/><Relationship Id="rId47" Type="http://schemas.openxmlformats.org/officeDocument/2006/relationships/slideLayout" Target="../slideLayouts/slideLayout478.xml"/><Relationship Id="rId7" Type="http://schemas.openxmlformats.org/officeDocument/2006/relationships/slideLayout" Target="../slideLayouts/slideLayout438.xml"/><Relationship Id="rId12" Type="http://schemas.openxmlformats.org/officeDocument/2006/relationships/slideLayout" Target="../slideLayouts/slideLayout443.xml"/><Relationship Id="rId17" Type="http://schemas.openxmlformats.org/officeDocument/2006/relationships/slideLayout" Target="../slideLayouts/slideLayout448.xml"/><Relationship Id="rId25" Type="http://schemas.openxmlformats.org/officeDocument/2006/relationships/slideLayout" Target="../slideLayouts/slideLayout456.xml"/><Relationship Id="rId33" Type="http://schemas.openxmlformats.org/officeDocument/2006/relationships/slideLayout" Target="../slideLayouts/slideLayout464.xml"/><Relationship Id="rId38" Type="http://schemas.openxmlformats.org/officeDocument/2006/relationships/slideLayout" Target="../slideLayouts/slideLayout469.xml"/><Relationship Id="rId46" Type="http://schemas.openxmlformats.org/officeDocument/2006/relationships/slideLayout" Target="../slideLayouts/slideLayout477.xml"/><Relationship Id="rId2" Type="http://schemas.openxmlformats.org/officeDocument/2006/relationships/slideLayout" Target="../slideLayouts/slideLayout433.xml"/><Relationship Id="rId16" Type="http://schemas.openxmlformats.org/officeDocument/2006/relationships/slideLayout" Target="../slideLayouts/slideLayout447.xml"/><Relationship Id="rId20" Type="http://schemas.openxmlformats.org/officeDocument/2006/relationships/slideLayout" Target="../slideLayouts/slideLayout451.xml"/><Relationship Id="rId29" Type="http://schemas.openxmlformats.org/officeDocument/2006/relationships/slideLayout" Target="../slideLayouts/slideLayout460.xml"/><Relationship Id="rId41" Type="http://schemas.openxmlformats.org/officeDocument/2006/relationships/slideLayout" Target="../slideLayouts/slideLayout472.xml"/><Relationship Id="rId1" Type="http://schemas.openxmlformats.org/officeDocument/2006/relationships/slideLayout" Target="../slideLayouts/slideLayout432.xml"/><Relationship Id="rId6" Type="http://schemas.openxmlformats.org/officeDocument/2006/relationships/slideLayout" Target="../slideLayouts/slideLayout437.xml"/><Relationship Id="rId11" Type="http://schemas.openxmlformats.org/officeDocument/2006/relationships/slideLayout" Target="../slideLayouts/slideLayout442.xml"/><Relationship Id="rId24" Type="http://schemas.openxmlformats.org/officeDocument/2006/relationships/slideLayout" Target="../slideLayouts/slideLayout455.xml"/><Relationship Id="rId32" Type="http://schemas.openxmlformats.org/officeDocument/2006/relationships/slideLayout" Target="../slideLayouts/slideLayout463.xml"/><Relationship Id="rId37" Type="http://schemas.openxmlformats.org/officeDocument/2006/relationships/slideLayout" Target="../slideLayouts/slideLayout468.xml"/><Relationship Id="rId40" Type="http://schemas.openxmlformats.org/officeDocument/2006/relationships/slideLayout" Target="../slideLayouts/slideLayout471.xml"/><Relationship Id="rId45" Type="http://schemas.openxmlformats.org/officeDocument/2006/relationships/slideLayout" Target="../slideLayouts/slideLayout476.xml"/><Relationship Id="rId5" Type="http://schemas.openxmlformats.org/officeDocument/2006/relationships/slideLayout" Target="../slideLayouts/slideLayout436.xml"/><Relationship Id="rId15" Type="http://schemas.openxmlformats.org/officeDocument/2006/relationships/slideLayout" Target="../slideLayouts/slideLayout446.xml"/><Relationship Id="rId23" Type="http://schemas.openxmlformats.org/officeDocument/2006/relationships/slideLayout" Target="../slideLayouts/slideLayout454.xml"/><Relationship Id="rId28" Type="http://schemas.openxmlformats.org/officeDocument/2006/relationships/slideLayout" Target="../slideLayouts/slideLayout459.xml"/><Relationship Id="rId36" Type="http://schemas.openxmlformats.org/officeDocument/2006/relationships/slideLayout" Target="../slideLayouts/slideLayout467.xml"/><Relationship Id="rId49" Type="http://schemas.openxmlformats.org/officeDocument/2006/relationships/image" Target="../media/image16.png"/><Relationship Id="rId10" Type="http://schemas.openxmlformats.org/officeDocument/2006/relationships/slideLayout" Target="../slideLayouts/slideLayout441.xml"/><Relationship Id="rId19" Type="http://schemas.openxmlformats.org/officeDocument/2006/relationships/slideLayout" Target="../slideLayouts/slideLayout450.xml"/><Relationship Id="rId31" Type="http://schemas.openxmlformats.org/officeDocument/2006/relationships/slideLayout" Target="../slideLayouts/slideLayout462.xml"/><Relationship Id="rId44" Type="http://schemas.openxmlformats.org/officeDocument/2006/relationships/slideLayout" Target="../slideLayouts/slideLayout475.xml"/><Relationship Id="rId4" Type="http://schemas.openxmlformats.org/officeDocument/2006/relationships/slideLayout" Target="../slideLayouts/slideLayout435.xml"/><Relationship Id="rId9" Type="http://schemas.openxmlformats.org/officeDocument/2006/relationships/slideLayout" Target="../slideLayouts/slideLayout440.xml"/><Relationship Id="rId14" Type="http://schemas.openxmlformats.org/officeDocument/2006/relationships/slideLayout" Target="../slideLayouts/slideLayout445.xml"/><Relationship Id="rId22" Type="http://schemas.openxmlformats.org/officeDocument/2006/relationships/slideLayout" Target="../slideLayouts/slideLayout453.xml"/><Relationship Id="rId27" Type="http://schemas.openxmlformats.org/officeDocument/2006/relationships/slideLayout" Target="../slideLayouts/slideLayout458.xml"/><Relationship Id="rId30" Type="http://schemas.openxmlformats.org/officeDocument/2006/relationships/slideLayout" Target="../slideLayouts/slideLayout461.xml"/><Relationship Id="rId35" Type="http://schemas.openxmlformats.org/officeDocument/2006/relationships/slideLayout" Target="../slideLayouts/slideLayout466.xml"/><Relationship Id="rId43" Type="http://schemas.openxmlformats.org/officeDocument/2006/relationships/slideLayout" Target="../slideLayouts/slideLayout474.xml"/><Relationship Id="rId48" Type="http://schemas.openxmlformats.org/officeDocument/2006/relationships/theme" Target="../theme/theme13.xml"/><Relationship Id="rId8" Type="http://schemas.openxmlformats.org/officeDocument/2006/relationships/slideLayout" Target="../slideLayouts/slideLayout439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1.xml"/><Relationship Id="rId18" Type="http://schemas.openxmlformats.org/officeDocument/2006/relationships/slideLayout" Target="../slideLayouts/slideLayout496.xml"/><Relationship Id="rId26" Type="http://schemas.openxmlformats.org/officeDocument/2006/relationships/slideLayout" Target="../slideLayouts/slideLayout504.xml"/><Relationship Id="rId39" Type="http://schemas.openxmlformats.org/officeDocument/2006/relationships/slideLayout" Target="../slideLayouts/slideLayout517.xml"/><Relationship Id="rId3" Type="http://schemas.openxmlformats.org/officeDocument/2006/relationships/slideLayout" Target="../slideLayouts/slideLayout481.xml"/><Relationship Id="rId21" Type="http://schemas.openxmlformats.org/officeDocument/2006/relationships/slideLayout" Target="../slideLayouts/slideLayout499.xml"/><Relationship Id="rId34" Type="http://schemas.openxmlformats.org/officeDocument/2006/relationships/slideLayout" Target="../slideLayouts/slideLayout512.xml"/><Relationship Id="rId42" Type="http://schemas.openxmlformats.org/officeDocument/2006/relationships/slideLayout" Target="../slideLayouts/slideLayout520.xml"/><Relationship Id="rId47" Type="http://schemas.openxmlformats.org/officeDocument/2006/relationships/slideLayout" Target="../slideLayouts/slideLayout525.xml"/><Relationship Id="rId7" Type="http://schemas.openxmlformats.org/officeDocument/2006/relationships/slideLayout" Target="../slideLayouts/slideLayout485.xml"/><Relationship Id="rId12" Type="http://schemas.openxmlformats.org/officeDocument/2006/relationships/slideLayout" Target="../slideLayouts/slideLayout490.xml"/><Relationship Id="rId17" Type="http://schemas.openxmlformats.org/officeDocument/2006/relationships/slideLayout" Target="../slideLayouts/slideLayout495.xml"/><Relationship Id="rId25" Type="http://schemas.openxmlformats.org/officeDocument/2006/relationships/slideLayout" Target="../slideLayouts/slideLayout503.xml"/><Relationship Id="rId33" Type="http://schemas.openxmlformats.org/officeDocument/2006/relationships/slideLayout" Target="../slideLayouts/slideLayout511.xml"/><Relationship Id="rId38" Type="http://schemas.openxmlformats.org/officeDocument/2006/relationships/slideLayout" Target="../slideLayouts/slideLayout516.xml"/><Relationship Id="rId46" Type="http://schemas.openxmlformats.org/officeDocument/2006/relationships/slideLayout" Target="../slideLayouts/slideLayout524.xml"/><Relationship Id="rId2" Type="http://schemas.openxmlformats.org/officeDocument/2006/relationships/slideLayout" Target="../slideLayouts/slideLayout480.xml"/><Relationship Id="rId16" Type="http://schemas.openxmlformats.org/officeDocument/2006/relationships/slideLayout" Target="../slideLayouts/slideLayout494.xml"/><Relationship Id="rId20" Type="http://schemas.openxmlformats.org/officeDocument/2006/relationships/slideLayout" Target="../slideLayouts/slideLayout498.xml"/><Relationship Id="rId29" Type="http://schemas.openxmlformats.org/officeDocument/2006/relationships/slideLayout" Target="../slideLayouts/slideLayout507.xml"/><Relationship Id="rId41" Type="http://schemas.openxmlformats.org/officeDocument/2006/relationships/slideLayout" Target="../slideLayouts/slideLayout519.xml"/><Relationship Id="rId1" Type="http://schemas.openxmlformats.org/officeDocument/2006/relationships/slideLayout" Target="../slideLayouts/slideLayout479.xml"/><Relationship Id="rId6" Type="http://schemas.openxmlformats.org/officeDocument/2006/relationships/slideLayout" Target="../slideLayouts/slideLayout484.xml"/><Relationship Id="rId11" Type="http://schemas.openxmlformats.org/officeDocument/2006/relationships/slideLayout" Target="../slideLayouts/slideLayout489.xml"/><Relationship Id="rId24" Type="http://schemas.openxmlformats.org/officeDocument/2006/relationships/slideLayout" Target="../slideLayouts/slideLayout502.xml"/><Relationship Id="rId32" Type="http://schemas.openxmlformats.org/officeDocument/2006/relationships/slideLayout" Target="../slideLayouts/slideLayout510.xml"/><Relationship Id="rId37" Type="http://schemas.openxmlformats.org/officeDocument/2006/relationships/slideLayout" Target="../slideLayouts/slideLayout515.xml"/><Relationship Id="rId40" Type="http://schemas.openxmlformats.org/officeDocument/2006/relationships/slideLayout" Target="../slideLayouts/slideLayout518.xml"/><Relationship Id="rId45" Type="http://schemas.openxmlformats.org/officeDocument/2006/relationships/slideLayout" Target="../slideLayouts/slideLayout523.xml"/><Relationship Id="rId5" Type="http://schemas.openxmlformats.org/officeDocument/2006/relationships/slideLayout" Target="../slideLayouts/slideLayout483.xml"/><Relationship Id="rId15" Type="http://schemas.openxmlformats.org/officeDocument/2006/relationships/slideLayout" Target="../slideLayouts/slideLayout493.xml"/><Relationship Id="rId23" Type="http://schemas.openxmlformats.org/officeDocument/2006/relationships/slideLayout" Target="../slideLayouts/slideLayout501.xml"/><Relationship Id="rId28" Type="http://schemas.openxmlformats.org/officeDocument/2006/relationships/slideLayout" Target="../slideLayouts/slideLayout506.xml"/><Relationship Id="rId36" Type="http://schemas.openxmlformats.org/officeDocument/2006/relationships/slideLayout" Target="../slideLayouts/slideLayout514.xml"/><Relationship Id="rId49" Type="http://schemas.openxmlformats.org/officeDocument/2006/relationships/image" Target="../media/image16.png"/><Relationship Id="rId10" Type="http://schemas.openxmlformats.org/officeDocument/2006/relationships/slideLayout" Target="../slideLayouts/slideLayout488.xml"/><Relationship Id="rId19" Type="http://schemas.openxmlformats.org/officeDocument/2006/relationships/slideLayout" Target="../slideLayouts/slideLayout497.xml"/><Relationship Id="rId31" Type="http://schemas.openxmlformats.org/officeDocument/2006/relationships/slideLayout" Target="../slideLayouts/slideLayout509.xml"/><Relationship Id="rId44" Type="http://schemas.openxmlformats.org/officeDocument/2006/relationships/slideLayout" Target="../slideLayouts/slideLayout522.xml"/><Relationship Id="rId4" Type="http://schemas.openxmlformats.org/officeDocument/2006/relationships/slideLayout" Target="../slideLayouts/slideLayout482.xml"/><Relationship Id="rId9" Type="http://schemas.openxmlformats.org/officeDocument/2006/relationships/slideLayout" Target="../slideLayouts/slideLayout487.xml"/><Relationship Id="rId14" Type="http://schemas.openxmlformats.org/officeDocument/2006/relationships/slideLayout" Target="../slideLayouts/slideLayout492.xml"/><Relationship Id="rId22" Type="http://schemas.openxmlformats.org/officeDocument/2006/relationships/slideLayout" Target="../slideLayouts/slideLayout500.xml"/><Relationship Id="rId27" Type="http://schemas.openxmlformats.org/officeDocument/2006/relationships/slideLayout" Target="../slideLayouts/slideLayout505.xml"/><Relationship Id="rId30" Type="http://schemas.openxmlformats.org/officeDocument/2006/relationships/slideLayout" Target="../slideLayouts/slideLayout508.xml"/><Relationship Id="rId35" Type="http://schemas.openxmlformats.org/officeDocument/2006/relationships/slideLayout" Target="../slideLayouts/slideLayout513.xml"/><Relationship Id="rId43" Type="http://schemas.openxmlformats.org/officeDocument/2006/relationships/slideLayout" Target="../slideLayouts/slideLayout521.xml"/><Relationship Id="rId48" Type="http://schemas.openxmlformats.org/officeDocument/2006/relationships/theme" Target="../theme/theme14.xml"/><Relationship Id="rId8" Type="http://schemas.openxmlformats.org/officeDocument/2006/relationships/slideLayout" Target="../slideLayouts/slideLayout48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3.xml"/><Relationship Id="rId13" Type="http://schemas.openxmlformats.org/officeDocument/2006/relationships/slideLayout" Target="../slideLayouts/slideLayout538.xml"/><Relationship Id="rId18" Type="http://schemas.openxmlformats.org/officeDocument/2006/relationships/slideLayout" Target="../slideLayouts/slideLayout543.xml"/><Relationship Id="rId26" Type="http://schemas.openxmlformats.org/officeDocument/2006/relationships/slideLayout" Target="../slideLayouts/slideLayout551.xml"/><Relationship Id="rId3" Type="http://schemas.openxmlformats.org/officeDocument/2006/relationships/slideLayout" Target="../slideLayouts/slideLayout528.xml"/><Relationship Id="rId21" Type="http://schemas.openxmlformats.org/officeDocument/2006/relationships/slideLayout" Target="../slideLayouts/slideLayout546.xml"/><Relationship Id="rId7" Type="http://schemas.openxmlformats.org/officeDocument/2006/relationships/slideLayout" Target="../slideLayouts/slideLayout532.xml"/><Relationship Id="rId12" Type="http://schemas.openxmlformats.org/officeDocument/2006/relationships/slideLayout" Target="../slideLayouts/slideLayout537.xml"/><Relationship Id="rId17" Type="http://schemas.openxmlformats.org/officeDocument/2006/relationships/slideLayout" Target="../slideLayouts/slideLayout542.xml"/><Relationship Id="rId25" Type="http://schemas.openxmlformats.org/officeDocument/2006/relationships/slideLayout" Target="../slideLayouts/slideLayout550.xml"/><Relationship Id="rId2" Type="http://schemas.openxmlformats.org/officeDocument/2006/relationships/slideLayout" Target="../slideLayouts/slideLayout527.xml"/><Relationship Id="rId16" Type="http://schemas.openxmlformats.org/officeDocument/2006/relationships/slideLayout" Target="../slideLayouts/slideLayout541.xml"/><Relationship Id="rId20" Type="http://schemas.openxmlformats.org/officeDocument/2006/relationships/slideLayout" Target="../slideLayouts/slideLayout545.xml"/><Relationship Id="rId1" Type="http://schemas.openxmlformats.org/officeDocument/2006/relationships/slideLayout" Target="../slideLayouts/slideLayout526.xml"/><Relationship Id="rId6" Type="http://schemas.openxmlformats.org/officeDocument/2006/relationships/slideLayout" Target="../slideLayouts/slideLayout531.xml"/><Relationship Id="rId11" Type="http://schemas.openxmlformats.org/officeDocument/2006/relationships/slideLayout" Target="../slideLayouts/slideLayout536.xml"/><Relationship Id="rId24" Type="http://schemas.openxmlformats.org/officeDocument/2006/relationships/slideLayout" Target="../slideLayouts/slideLayout549.xml"/><Relationship Id="rId5" Type="http://schemas.openxmlformats.org/officeDocument/2006/relationships/slideLayout" Target="../slideLayouts/slideLayout530.xml"/><Relationship Id="rId15" Type="http://schemas.openxmlformats.org/officeDocument/2006/relationships/slideLayout" Target="../slideLayouts/slideLayout540.xml"/><Relationship Id="rId23" Type="http://schemas.openxmlformats.org/officeDocument/2006/relationships/slideLayout" Target="../slideLayouts/slideLayout548.xml"/><Relationship Id="rId28" Type="http://schemas.openxmlformats.org/officeDocument/2006/relationships/theme" Target="../theme/theme15.xml"/><Relationship Id="rId10" Type="http://schemas.openxmlformats.org/officeDocument/2006/relationships/slideLayout" Target="../slideLayouts/slideLayout535.xml"/><Relationship Id="rId19" Type="http://schemas.openxmlformats.org/officeDocument/2006/relationships/slideLayout" Target="../slideLayouts/slideLayout544.xml"/><Relationship Id="rId4" Type="http://schemas.openxmlformats.org/officeDocument/2006/relationships/slideLayout" Target="../slideLayouts/slideLayout529.xml"/><Relationship Id="rId9" Type="http://schemas.openxmlformats.org/officeDocument/2006/relationships/slideLayout" Target="../slideLayouts/slideLayout534.xml"/><Relationship Id="rId14" Type="http://schemas.openxmlformats.org/officeDocument/2006/relationships/slideLayout" Target="../slideLayouts/slideLayout539.xml"/><Relationship Id="rId22" Type="http://schemas.openxmlformats.org/officeDocument/2006/relationships/slideLayout" Target="../slideLayouts/slideLayout547.xml"/><Relationship Id="rId27" Type="http://schemas.openxmlformats.org/officeDocument/2006/relationships/slideLayout" Target="../slideLayouts/slideLayout55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0.xml"/><Relationship Id="rId13" Type="http://schemas.openxmlformats.org/officeDocument/2006/relationships/slideLayout" Target="../slideLayouts/slideLayout565.xml"/><Relationship Id="rId18" Type="http://schemas.openxmlformats.org/officeDocument/2006/relationships/slideLayout" Target="../slideLayouts/slideLayout570.xml"/><Relationship Id="rId26" Type="http://schemas.openxmlformats.org/officeDocument/2006/relationships/slideLayout" Target="../slideLayouts/slideLayout578.xml"/><Relationship Id="rId39" Type="http://schemas.openxmlformats.org/officeDocument/2006/relationships/slideLayout" Target="../slideLayouts/slideLayout591.xml"/><Relationship Id="rId3" Type="http://schemas.openxmlformats.org/officeDocument/2006/relationships/slideLayout" Target="../slideLayouts/slideLayout555.xml"/><Relationship Id="rId21" Type="http://schemas.openxmlformats.org/officeDocument/2006/relationships/slideLayout" Target="../slideLayouts/slideLayout573.xml"/><Relationship Id="rId34" Type="http://schemas.openxmlformats.org/officeDocument/2006/relationships/slideLayout" Target="../slideLayouts/slideLayout586.xml"/><Relationship Id="rId42" Type="http://schemas.openxmlformats.org/officeDocument/2006/relationships/slideLayout" Target="../slideLayouts/slideLayout594.xml"/><Relationship Id="rId7" Type="http://schemas.openxmlformats.org/officeDocument/2006/relationships/slideLayout" Target="../slideLayouts/slideLayout559.xml"/><Relationship Id="rId12" Type="http://schemas.openxmlformats.org/officeDocument/2006/relationships/slideLayout" Target="../slideLayouts/slideLayout564.xml"/><Relationship Id="rId17" Type="http://schemas.openxmlformats.org/officeDocument/2006/relationships/slideLayout" Target="../slideLayouts/slideLayout569.xml"/><Relationship Id="rId25" Type="http://schemas.openxmlformats.org/officeDocument/2006/relationships/slideLayout" Target="../slideLayouts/slideLayout577.xml"/><Relationship Id="rId33" Type="http://schemas.openxmlformats.org/officeDocument/2006/relationships/slideLayout" Target="../slideLayouts/slideLayout585.xml"/><Relationship Id="rId38" Type="http://schemas.openxmlformats.org/officeDocument/2006/relationships/slideLayout" Target="../slideLayouts/slideLayout590.xml"/><Relationship Id="rId46" Type="http://schemas.openxmlformats.org/officeDocument/2006/relationships/image" Target="../media/image16.png"/><Relationship Id="rId2" Type="http://schemas.openxmlformats.org/officeDocument/2006/relationships/slideLayout" Target="../slideLayouts/slideLayout554.xml"/><Relationship Id="rId16" Type="http://schemas.openxmlformats.org/officeDocument/2006/relationships/slideLayout" Target="../slideLayouts/slideLayout568.xml"/><Relationship Id="rId20" Type="http://schemas.openxmlformats.org/officeDocument/2006/relationships/slideLayout" Target="../slideLayouts/slideLayout572.xml"/><Relationship Id="rId29" Type="http://schemas.openxmlformats.org/officeDocument/2006/relationships/slideLayout" Target="../slideLayouts/slideLayout581.xml"/><Relationship Id="rId41" Type="http://schemas.openxmlformats.org/officeDocument/2006/relationships/slideLayout" Target="../slideLayouts/slideLayout593.xml"/><Relationship Id="rId1" Type="http://schemas.openxmlformats.org/officeDocument/2006/relationships/slideLayout" Target="../slideLayouts/slideLayout553.xml"/><Relationship Id="rId6" Type="http://schemas.openxmlformats.org/officeDocument/2006/relationships/slideLayout" Target="../slideLayouts/slideLayout558.xml"/><Relationship Id="rId11" Type="http://schemas.openxmlformats.org/officeDocument/2006/relationships/slideLayout" Target="../slideLayouts/slideLayout563.xml"/><Relationship Id="rId24" Type="http://schemas.openxmlformats.org/officeDocument/2006/relationships/slideLayout" Target="../slideLayouts/slideLayout576.xml"/><Relationship Id="rId32" Type="http://schemas.openxmlformats.org/officeDocument/2006/relationships/slideLayout" Target="../slideLayouts/slideLayout584.xml"/><Relationship Id="rId37" Type="http://schemas.openxmlformats.org/officeDocument/2006/relationships/slideLayout" Target="../slideLayouts/slideLayout589.xml"/><Relationship Id="rId40" Type="http://schemas.openxmlformats.org/officeDocument/2006/relationships/slideLayout" Target="../slideLayouts/slideLayout592.xml"/><Relationship Id="rId45" Type="http://schemas.openxmlformats.org/officeDocument/2006/relationships/theme" Target="../theme/theme16.xml"/><Relationship Id="rId5" Type="http://schemas.openxmlformats.org/officeDocument/2006/relationships/slideLayout" Target="../slideLayouts/slideLayout557.xml"/><Relationship Id="rId15" Type="http://schemas.openxmlformats.org/officeDocument/2006/relationships/slideLayout" Target="../slideLayouts/slideLayout567.xml"/><Relationship Id="rId23" Type="http://schemas.openxmlformats.org/officeDocument/2006/relationships/slideLayout" Target="../slideLayouts/slideLayout575.xml"/><Relationship Id="rId28" Type="http://schemas.openxmlformats.org/officeDocument/2006/relationships/slideLayout" Target="../slideLayouts/slideLayout580.xml"/><Relationship Id="rId36" Type="http://schemas.openxmlformats.org/officeDocument/2006/relationships/slideLayout" Target="../slideLayouts/slideLayout588.xml"/><Relationship Id="rId10" Type="http://schemas.openxmlformats.org/officeDocument/2006/relationships/slideLayout" Target="../slideLayouts/slideLayout562.xml"/><Relationship Id="rId19" Type="http://schemas.openxmlformats.org/officeDocument/2006/relationships/slideLayout" Target="../slideLayouts/slideLayout571.xml"/><Relationship Id="rId31" Type="http://schemas.openxmlformats.org/officeDocument/2006/relationships/slideLayout" Target="../slideLayouts/slideLayout583.xml"/><Relationship Id="rId44" Type="http://schemas.openxmlformats.org/officeDocument/2006/relationships/slideLayout" Target="../slideLayouts/slideLayout596.xml"/><Relationship Id="rId4" Type="http://schemas.openxmlformats.org/officeDocument/2006/relationships/slideLayout" Target="../slideLayouts/slideLayout556.xml"/><Relationship Id="rId9" Type="http://schemas.openxmlformats.org/officeDocument/2006/relationships/slideLayout" Target="../slideLayouts/slideLayout561.xml"/><Relationship Id="rId14" Type="http://schemas.openxmlformats.org/officeDocument/2006/relationships/slideLayout" Target="../slideLayouts/slideLayout566.xml"/><Relationship Id="rId22" Type="http://schemas.openxmlformats.org/officeDocument/2006/relationships/slideLayout" Target="../slideLayouts/slideLayout574.xml"/><Relationship Id="rId27" Type="http://schemas.openxmlformats.org/officeDocument/2006/relationships/slideLayout" Target="../slideLayouts/slideLayout579.xml"/><Relationship Id="rId30" Type="http://schemas.openxmlformats.org/officeDocument/2006/relationships/slideLayout" Target="../slideLayouts/slideLayout582.xml"/><Relationship Id="rId35" Type="http://schemas.openxmlformats.org/officeDocument/2006/relationships/slideLayout" Target="../slideLayouts/slideLayout587.xml"/><Relationship Id="rId43" Type="http://schemas.openxmlformats.org/officeDocument/2006/relationships/slideLayout" Target="../slideLayouts/slideLayout59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4.xml"/><Relationship Id="rId13" Type="http://schemas.openxmlformats.org/officeDocument/2006/relationships/slideLayout" Target="../slideLayouts/slideLayout609.xml"/><Relationship Id="rId18" Type="http://schemas.openxmlformats.org/officeDocument/2006/relationships/slideLayout" Target="../slideLayouts/slideLayout614.xml"/><Relationship Id="rId26" Type="http://schemas.openxmlformats.org/officeDocument/2006/relationships/slideLayout" Target="../slideLayouts/slideLayout622.xml"/><Relationship Id="rId3" Type="http://schemas.openxmlformats.org/officeDocument/2006/relationships/slideLayout" Target="../slideLayouts/slideLayout599.xml"/><Relationship Id="rId21" Type="http://schemas.openxmlformats.org/officeDocument/2006/relationships/slideLayout" Target="../slideLayouts/slideLayout617.xml"/><Relationship Id="rId7" Type="http://schemas.openxmlformats.org/officeDocument/2006/relationships/slideLayout" Target="../slideLayouts/slideLayout603.xml"/><Relationship Id="rId12" Type="http://schemas.openxmlformats.org/officeDocument/2006/relationships/slideLayout" Target="../slideLayouts/slideLayout608.xml"/><Relationship Id="rId17" Type="http://schemas.openxmlformats.org/officeDocument/2006/relationships/slideLayout" Target="../slideLayouts/slideLayout613.xml"/><Relationship Id="rId25" Type="http://schemas.openxmlformats.org/officeDocument/2006/relationships/slideLayout" Target="../slideLayouts/slideLayout621.xml"/><Relationship Id="rId2" Type="http://schemas.openxmlformats.org/officeDocument/2006/relationships/slideLayout" Target="../slideLayouts/slideLayout598.xml"/><Relationship Id="rId16" Type="http://schemas.openxmlformats.org/officeDocument/2006/relationships/slideLayout" Target="../slideLayouts/slideLayout612.xml"/><Relationship Id="rId20" Type="http://schemas.openxmlformats.org/officeDocument/2006/relationships/slideLayout" Target="../slideLayouts/slideLayout616.xml"/><Relationship Id="rId29" Type="http://schemas.openxmlformats.org/officeDocument/2006/relationships/slideLayout" Target="../slideLayouts/slideLayout625.xml"/><Relationship Id="rId1" Type="http://schemas.openxmlformats.org/officeDocument/2006/relationships/slideLayout" Target="../slideLayouts/slideLayout597.xml"/><Relationship Id="rId6" Type="http://schemas.openxmlformats.org/officeDocument/2006/relationships/slideLayout" Target="../slideLayouts/slideLayout602.xml"/><Relationship Id="rId11" Type="http://schemas.openxmlformats.org/officeDocument/2006/relationships/slideLayout" Target="../slideLayouts/slideLayout607.xml"/><Relationship Id="rId24" Type="http://schemas.openxmlformats.org/officeDocument/2006/relationships/slideLayout" Target="../slideLayouts/slideLayout620.xml"/><Relationship Id="rId5" Type="http://schemas.openxmlformats.org/officeDocument/2006/relationships/slideLayout" Target="../slideLayouts/slideLayout601.xml"/><Relationship Id="rId15" Type="http://schemas.openxmlformats.org/officeDocument/2006/relationships/slideLayout" Target="../slideLayouts/slideLayout611.xml"/><Relationship Id="rId23" Type="http://schemas.openxmlformats.org/officeDocument/2006/relationships/slideLayout" Target="../slideLayouts/slideLayout619.xml"/><Relationship Id="rId28" Type="http://schemas.openxmlformats.org/officeDocument/2006/relationships/slideLayout" Target="../slideLayouts/slideLayout624.xml"/><Relationship Id="rId10" Type="http://schemas.openxmlformats.org/officeDocument/2006/relationships/slideLayout" Target="../slideLayouts/slideLayout606.xml"/><Relationship Id="rId19" Type="http://schemas.openxmlformats.org/officeDocument/2006/relationships/slideLayout" Target="../slideLayouts/slideLayout615.xml"/><Relationship Id="rId4" Type="http://schemas.openxmlformats.org/officeDocument/2006/relationships/slideLayout" Target="../slideLayouts/slideLayout600.xml"/><Relationship Id="rId9" Type="http://schemas.openxmlformats.org/officeDocument/2006/relationships/slideLayout" Target="../slideLayouts/slideLayout605.xml"/><Relationship Id="rId14" Type="http://schemas.openxmlformats.org/officeDocument/2006/relationships/slideLayout" Target="../slideLayouts/slideLayout610.xml"/><Relationship Id="rId22" Type="http://schemas.openxmlformats.org/officeDocument/2006/relationships/slideLayout" Target="../slideLayouts/slideLayout618.xml"/><Relationship Id="rId27" Type="http://schemas.openxmlformats.org/officeDocument/2006/relationships/slideLayout" Target="../slideLayouts/slideLayout623.xml"/><Relationship Id="rId30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3.xml"/><Relationship Id="rId13" Type="http://schemas.openxmlformats.org/officeDocument/2006/relationships/slideLayout" Target="../slideLayouts/slideLayout638.xml"/><Relationship Id="rId18" Type="http://schemas.openxmlformats.org/officeDocument/2006/relationships/slideLayout" Target="../slideLayouts/slideLayout643.xml"/><Relationship Id="rId26" Type="http://schemas.openxmlformats.org/officeDocument/2006/relationships/slideLayout" Target="../slideLayouts/slideLayout651.xml"/><Relationship Id="rId3" Type="http://schemas.openxmlformats.org/officeDocument/2006/relationships/slideLayout" Target="../slideLayouts/slideLayout628.xml"/><Relationship Id="rId21" Type="http://schemas.openxmlformats.org/officeDocument/2006/relationships/slideLayout" Target="../slideLayouts/slideLayout646.xml"/><Relationship Id="rId7" Type="http://schemas.openxmlformats.org/officeDocument/2006/relationships/slideLayout" Target="../slideLayouts/slideLayout632.xml"/><Relationship Id="rId12" Type="http://schemas.openxmlformats.org/officeDocument/2006/relationships/slideLayout" Target="../slideLayouts/slideLayout637.xml"/><Relationship Id="rId17" Type="http://schemas.openxmlformats.org/officeDocument/2006/relationships/slideLayout" Target="../slideLayouts/slideLayout642.xml"/><Relationship Id="rId25" Type="http://schemas.openxmlformats.org/officeDocument/2006/relationships/slideLayout" Target="../slideLayouts/slideLayout650.xml"/><Relationship Id="rId2" Type="http://schemas.openxmlformats.org/officeDocument/2006/relationships/slideLayout" Target="../slideLayouts/slideLayout627.xml"/><Relationship Id="rId16" Type="http://schemas.openxmlformats.org/officeDocument/2006/relationships/slideLayout" Target="../slideLayouts/slideLayout641.xml"/><Relationship Id="rId20" Type="http://schemas.openxmlformats.org/officeDocument/2006/relationships/slideLayout" Target="../slideLayouts/slideLayout645.xml"/><Relationship Id="rId29" Type="http://schemas.openxmlformats.org/officeDocument/2006/relationships/slideLayout" Target="../slideLayouts/slideLayout654.xml"/><Relationship Id="rId1" Type="http://schemas.openxmlformats.org/officeDocument/2006/relationships/slideLayout" Target="../slideLayouts/slideLayout626.xml"/><Relationship Id="rId6" Type="http://schemas.openxmlformats.org/officeDocument/2006/relationships/slideLayout" Target="../slideLayouts/slideLayout631.xml"/><Relationship Id="rId11" Type="http://schemas.openxmlformats.org/officeDocument/2006/relationships/slideLayout" Target="../slideLayouts/slideLayout636.xml"/><Relationship Id="rId24" Type="http://schemas.openxmlformats.org/officeDocument/2006/relationships/slideLayout" Target="../slideLayouts/slideLayout649.xml"/><Relationship Id="rId5" Type="http://schemas.openxmlformats.org/officeDocument/2006/relationships/slideLayout" Target="../slideLayouts/slideLayout630.xml"/><Relationship Id="rId15" Type="http://schemas.openxmlformats.org/officeDocument/2006/relationships/slideLayout" Target="../slideLayouts/slideLayout640.xml"/><Relationship Id="rId23" Type="http://schemas.openxmlformats.org/officeDocument/2006/relationships/slideLayout" Target="../slideLayouts/slideLayout648.xml"/><Relationship Id="rId28" Type="http://schemas.openxmlformats.org/officeDocument/2006/relationships/slideLayout" Target="../slideLayouts/slideLayout653.xml"/><Relationship Id="rId10" Type="http://schemas.openxmlformats.org/officeDocument/2006/relationships/slideLayout" Target="../slideLayouts/slideLayout635.xml"/><Relationship Id="rId19" Type="http://schemas.openxmlformats.org/officeDocument/2006/relationships/slideLayout" Target="../slideLayouts/slideLayout644.xml"/><Relationship Id="rId4" Type="http://schemas.openxmlformats.org/officeDocument/2006/relationships/slideLayout" Target="../slideLayouts/slideLayout629.xml"/><Relationship Id="rId9" Type="http://schemas.openxmlformats.org/officeDocument/2006/relationships/slideLayout" Target="../slideLayouts/slideLayout634.xml"/><Relationship Id="rId14" Type="http://schemas.openxmlformats.org/officeDocument/2006/relationships/slideLayout" Target="../slideLayouts/slideLayout639.xml"/><Relationship Id="rId22" Type="http://schemas.openxmlformats.org/officeDocument/2006/relationships/slideLayout" Target="../slideLayouts/slideLayout647.xml"/><Relationship Id="rId27" Type="http://schemas.openxmlformats.org/officeDocument/2006/relationships/slideLayout" Target="../slideLayouts/slideLayout652.xml"/><Relationship Id="rId30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2.xml"/><Relationship Id="rId13" Type="http://schemas.openxmlformats.org/officeDocument/2006/relationships/slideLayout" Target="../slideLayouts/slideLayout667.xml"/><Relationship Id="rId18" Type="http://schemas.openxmlformats.org/officeDocument/2006/relationships/slideLayout" Target="../slideLayouts/slideLayout672.xml"/><Relationship Id="rId26" Type="http://schemas.openxmlformats.org/officeDocument/2006/relationships/slideLayout" Target="../slideLayouts/slideLayout680.xml"/><Relationship Id="rId3" Type="http://schemas.openxmlformats.org/officeDocument/2006/relationships/slideLayout" Target="../slideLayouts/slideLayout657.xml"/><Relationship Id="rId21" Type="http://schemas.openxmlformats.org/officeDocument/2006/relationships/slideLayout" Target="../slideLayouts/slideLayout675.xml"/><Relationship Id="rId7" Type="http://schemas.openxmlformats.org/officeDocument/2006/relationships/slideLayout" Target="../slideLayouts/slideLayout661.xml"/><Relationship Id="rId12" Type="http://schemas.openxmlformats.org/officeDocument/2006/relationships/slideLayout" Target="../slideLayouts/slideLayout666.xml"/><Relationship Id="rId17" Type="http://schemas.openxmlformats.org/officeDocument/2006/relationships/slideLayout" Target="../slideLayouts/slideLayout671.xml"/><Relationship Id="rId25" Type="http://schemas.openxmlformats.org/officeDocument/2006/relationships/slideLayout" Target="../slideLayouts/slideLayout679.xml"/><Relationship Id="rId2" Type="http://schemas.openxmlformats.org/officeDocument/2006/relationships/slideLayout" Target="../slideLayouts/slideLayout656.xml"/><Relationship Id="rId16" Type="http://schemas.openxmlformats.org/officeDocument/2006/relationships/slideLayout" Target="../slideLayouts/slideLayout670.xml"/><Relationship Id="rId20" Type="http://schemas.openxmlformats.org/officeDocument/2006/relationships/slideLayout" Target="../slideLayouts/slideLayout674.xml"/><Relationship Id="rId29" Type="http://schemas.openxmlformats.org/officeDocument/2006/relationships/slideLayout" Target="../slideLayouts/slideLayout683.xml"/><Relationship Id="rId1" Type="http://schemas.openxmlformats.org/officeDocument/2006/relationships/slideLayout" Target="../slideLayouts/slideLayout655.xml"/><Relationship Id="rId6" Type="http://schemas.openxmlformats.org/officeDocument/2006/relationships/slideLayout" Target="../slideLayouts/slideLayout660.xml"/><Relationship Id="rId11" Type="http://schemas.openxmlformats.org/officeDocument/2006/relationships/slideLayout" Target="../slideLayouts/slideLayout665.xml"/><Relationship Id="rId24" Type="http://schemas.openxmlformats.org/officeDocument/2006/relationships/slideLayout" Target="../slideLayouts/slideLayout678.xml"/><Relationship Id="rId5" Type="http://schemas.openxmlformats.org/officeDocument/2006/relationships/slideLayout" Target="../slideLayouts/slideLayout659.xml"/><Relationship Id="rId15" Type="http://schemas.openxmlformats.org/officeDocument/2006/relationships/slideLayout" Target="../slideLayouts/slideLayout669.xml"/><Relationship Id="rId23" Type="http://schemas.openxmlformats.org/officeDocument/2006/relationships/slideLayout" Target="../slideLayouts/slideLayout677.xml"/><Relationship Id="rId28" Type="http://schemas.openxmlformats.org/officeDocument/2006/relationships/slideLayout" Target="../slideLayouts/slideLayout682.xml"/><Relationship Id="rId10" Type="http://schemas.openxmlformats.org/officeDocument/2006/relationships/slideLayout" Target="../slideLayouts/slideLayout664.xml"/><Relationship Id="rId19" Type="http://schemas.openxmlformats.org/officeDocument/2006/relationships/slideLayout" Target="../slideLayouts/slideLayout673.xml"/><Relationship Id="rId4" Type="http://schemas.openxmlformats.org/officeDocument/2006/relationships/slideLayout" Target="../slideLayouts/slideLayout658.xml"/><Relationship Id="rId9" Type="http://schemas.openxmlformats.org/officeDocument/2006/relationships/slideLayout" Target="../slideLayouts/slideLayout663.xml"/><Relationship Id="rId14" Type="http://schemas.openxmlformats.org/officeDocument/2006/relationships/slideLayout" Target="../slideLayouts/slideLayout668.xml"/><Relationship Id="rId22" Type="http://schemas.openxmlformats.org/officeDocument/2006/relationships/slideLayout" Target="../slideLayouts/slideLayout676.xml"/><Relationship Id="rId27" Type="http://schemas.openxmlformats.org/officeDocument/2006/relationships/slideLayout" Target="../slideLayouts/slideLayout681.xml"/><Relationship Id="rId30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6.xml"/><Relationship Id="rId18" Type="http://schemas.openxmlformats.org/officeDocument/2006/relationships/slideLayout" Target="../slideLayouts/slideLayout701.xml"/><Relationship Id="rId26" Type="http://schemas.openxmlformats.org/officeDocument/2006/relationships/slideLayout" Target="../slideLayouts/slideLayout709.xml"/><Relationship Id="rId39" Type="http://schemas.openxmlformats.org/officeDocument/2006/relationships/slideLayout" Target="../slideLayouts/slideLayout722.xml"/><Relationship Id="rId3" Type="http://schemas.openxmlformats.org/officeDocument/2006/relationships/slideLayout" Target="../slideLayouts/slideLayout686.xml"/><Relationship Id="rId21" Type="http://schemas.openxmlformats.org/officeDocument/2006/relationships/slideLayout" Target="../slideLayouts/slideLayout704.xml"/><Relationship Id="rId34" Type="http://schemas.openxmlformats.org/officeDocument/2006/relationships/slideLayout" Target="../slideLayouts/slideLayout717.xml"/><Relationship Id="rId42" Type="http://schemas.openxmlformats.org/officeDocument/2006/relationships/slideLayout" Target="../slideLayouts/slideLayout725.xml"/><Relationship Id="rId47" Type="http://schemas.openxmlformats.org/officeDocument/2006/relationships/slideLayout" Target="../slideLayouts/slideLayout730.xml"/><Relationship Id="rId7" Type="http://schemas.openxmlformats.org/officeDocument/2006/relationships/slideLayout" Target="../slideLayouts/slideLayout690.xml"/><Relationship Id="rId12" Type="http://schemas.openxmlformats.org/officeDocument/2006/relationships/slideLayout" Target="../slideLayouts/slideLayout695.xml"/><Relationship Id="rId17" Type="http://schemas.openxmlformats.org/officeDocument/2006/relationships/slideLayout" Target="../slideLayouts/slideLayout700.xml"/><Relationship Id="rId25" Type="http://schemas.openxmlformats.org/officeDocument/2006/relationships/slideLayout" Target="../slideLayouts/slideLayout708.xml"/><Relationship Id="rId33" Type="http://schemas.openxmlformats.org/officeDocument/2006/relationships/slideLayout" Target="../slideLayouts/slideLayout716.xml"/><Relationship Id="rId38" Type="http://schemas.openxmlformats.org/officeDocument/2006/relationships/slideLayout" Target="../slideLayouts/slideLayout721.xml"/><Relationship Id="rId46" Type="http://schemas.openxmlformats.org/officeDocument/2006/relationships/slideLayout" Target="../slideLayouts/slideLayout729.xml"/><Relationship Id="rId2" Type="http://schemas.openxmlformats.org/officeDocument/2006/relationships/slideLayout" Target="../slideLayouts/slideLayout685.xml"/><Relationship Id="rId16" Type="http://schemas.openxmlformats.org/officeDocument/2006/relationships/slideLayout" Target="../slideLayouts/slideLayout699.xml"/><Relationship Id="rId20" Type="http://schemas.openxmlformats.org/officeDocument/2006/relationships/slideLayout" Target="../slideLayouts/slideLayout703.xml"/><Relationship Id="rId29" Type="http://schemas.openxmlformats.org/officeDocument/2006/relationships/slideLayout" Target="../slideLayouts/slideLayout712.xml"/><Relationship Id="rId41" Type="http://schemas.openxmlformats.org/officeDocument/2006/relationships/slideLayout" Target="../slideLayouts/slideLayout724.xml"/><Relationship Id="rId1" Type="http://schemas.openxmlformats.org/officeDocument/2006/relationships/slideLayout" Target="../slideLayouts/slideLayout684.xml"/><Relationship Id="rId6" Type="http://schemas.openxmlformats.org/officeDocument/2006/relationships/slideLayout" Target="../slideLayouts/slideLayout689.xml"/><Relationship Id="rId11" Type="http://schemas.openxmlformats.org/officeDocument/2006/relationships/slideLayout" Target="../slideLayouts/slideLayout694.xml"/><Relationship Id="rId24" Type="http://schemas.openxmlformats.org/officeDocument/2006/relationships/slideLayout" Target="../slideLayouts/slideLayout707.xml"/><Relationship Id="rId32" Type="http://schemas.openxmlformats.org/officeDocument/2006/relationships/slideLayout" Target="../slideLayouts/slideLayout715.xml"/><Relationship Id="rId37" Type="http://schemas.openxmlformats.org/officeDocument/2006/relationships/slideLayout" Target="../slideLayouts/slideLayout720.xml"/><Relationship Id="rId40" Type="http://schemas.openxmlformats.org/officeDocument/2006/relationships/slideLayout" Target="../slideLayouts/slideLayout723.xml"/><Relationship Id="rId45" Type="http://schemas.openxmlformats.org/officeDocument/2006/relationships/slideLayout" Target="../slideLayouts/slideLayout728.xml"/><Relationship Id="rId5" Type="http://schemas.openxmlformats.org/officeDocument/2006/relationships/slideLayout" Target="../slideLayouts/slideLayout688.xml"/><Relationship Id="rId15" Type="http://schemas.openxmlformats.org/officeDocument/2006/relationships/slideLayout" Target="../slideLayouts/slideLayout698.xml"/><Relationship Id="rId23" Type="http://schemas.openxmlformats.org/officeDocument/2006/relationships/slideLayout" Target="../slideLayouts/slideLayout706.xml"/><Relationship Id="rId28" Type="http://schemas.openxmlformats.org/officeDocument/2006/relationships/slideLayout" Target="../slideLayouts/slideLayout711.xml"/><Relationship Id="rId36" Type="http://schemas.openxmlformats.org/officeDocument/2006/relationships/slideLayout" Target="../slideLayouts/slideLayout719.xml"/><Relationship Id="rId49" Type="http://schemas.openxmlformats.org/officeDocument/2006/relationships/theme" Target="../theme/theme20.xml"/><Relationship Id="rId10" Type="http://schemas.openxmlformats.org/officeDocument/2006/relationships/slideLayout" Target="../slideLayouts/slideLayout693.xml"/><Relationship Id="rId19" Type="http://schemas.openxmlformats.org/officeDocument/2006/relationships/slideLayout" Target="../slideLayouts/slideLayout702.xml"/><Relationship Id="rId31" Type="http://schemas.openxmlformats.org/officeDocument/2006/relationships/slideLayout" Target="../slideLayouts/slideLayout714.xml"/><Relationship Id="rId44" Type="http://schemas.openxmlformats.org/officeDocument/2006/relationships/slideLayout" Target="../slideLayouts/slideLayout727.xml"/><Relationship Id="rId4" Type="http://schemas.openxmlformats.org/officeDocument/2006/relationships/slideLayout" Target="../slideLayouts/slideLayout687.xml"/><Relationship Id="rId9" Type="http://schemas.openxmlformats.org/officeDocument/2006/relationships/slideLayout" Target="../slideLayouts/slideLayout692.xml"/><Relationship Id="rId14" Type="http://schemas.openxmlformats.org/officeDocument/2006/relationships/slideLayout" Target="../slideLayouts/slideLayout697.xml"/><Relationship Id="rId22" Type="http://schemas.openxmlformats.org/officeDocument/2006/relationships/slideLayout" Target="../slideLayouts/slideLayout705.xml"/><Relationship Id="rId27" Type="http://schemas.openxmlformats.org/officeDocument/2006/relationships/slideLayout" Target="../slideLayouts/slideLayout710.xml"/><Relationship Id="rId30" Type="http://schemas.openxmlformats.org/officeDocument/2006/relationships/slideLayout" Target="../slideLayouts/slideLayout713.xml"/><Relationship Id="rId35" Type="http://schemas.openxmlformats.org/officeDocument/2006/relationships/slideLayout" Target="../slideLayouts/slideLayout718.xml"/><Relationship Id="rId43" Type="http://schemas.openxmlformats.org/officeDocument/2006/relationships/slideLayout" Target="../slideLayouts/slideLayout726.xml"/><Relationship Id="rId48" Type="http://schemas.openxmlformats.org/officeDocument/2006/relationships/slideLayout" Target="../slideLayouts/slideLayout731.xml"/><Relationship Id="rId8" Type="http://schemas.openxmlformats.org/officeDocument/2006/relationships/slideLayout" Target="../slideLayouts/slideLayout69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94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97.xml"/><Relationship Id="rId47" Type="http://schemas.openxmlformats.org/officeDocument/2006/relationships/oleObject" Target="../embeddings/oleObject1.bin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slideLayout" Target="../slideLayouts/slideLayout93.xml"/><Relationship Id="rId46" Type="http://schemas.openxmlformats.org/officeDocument/2006/relationships/tags" Target="../tags/tag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4.xml"/><Relationship Id="rId41" Type="http://schemas.openxmlformats.org/officeDocument/2006/relationships/slideLayout" Target="../slideLayouts/slideLayout96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5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49" Type="http://schemas.openxmlformats.org/officeDocument/2006/relationships/image" Target="../media/image3.png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43" Type="http://schemas.openxmlformats.org/officeDocument/2006/relationships/slideLayout" Target="../slideLayouts/slideLayout98.xml"/><Relationship Id="rId48" Type="http://schemas.openxmlformats.org/officeDocument/2006/relationships/image" Target="../media/image2.emf"/><Relationship Id="rId8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26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46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31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28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Relationship Id="rId27" Type="http://schemas.openxmlformats.org/officeDocument/2006/relationships/slideLayout" Target="../slideLayouts/slideLayout1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75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74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slideLayout" Target="../slideLayouts/slideLayout195.xml"/><Relationship Id="rId18" Type="http://schemas.openxmlformats.org/officeDocument/2006/relationships/slideLayout" Target="../slideLayouts/slideLayout200.xml"/><Relationship Id="rId26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185.xml"/><Relationship Id="rId21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4.xml"/><Relationship Id="rId17" Type="http://schemas.openxmlformats.org/officeDocument/2006/relationships/slideLayout" Target="../slideLayouts/slideLayout199.xml"/><Relationship Id="rId25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184.xml"/><Relationship Id="rId16" Type="http://schemas.openxmlformats.org/officeDocument/2006/relationships/slideLayout" Target="../slideLayouts/slideLayout198.xml"/><Relationship Id="rId20" Type="http://schemas.openxmlformats.org/officeDocument/2006/relationships/slideLayout" Target="../slideLayouts/slideLayout202.xml"/><Relationship Id="rId29" Type="http://schemas.openxmlformats.org/officeDocument/2006/relationships/theme" Target="../theme/theme7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24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187.xml"/><Relationship Id="rId15" Type="http://schemas.openxmlformats.org/officeDocument/2006/relationships/slideLayout" Target="../slideLayouts/slideLayout197.xml"/><Relationship Id="rId23" Type="http://schemas.openxmlformats.org/officeDocument/2006/relationships/slideLayout" Target="../slideLayouts/slideLayout205.xml"/><Relationship Id="rId28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192.xml"/><Relationship Id="rId19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slideLayout" Target="../slideLayouts/slideLayout196.xml"/><Relationship Id="rId22" Type="http://schemas.openxmlformats.org/officeDocument/2006/relationships/slideLayout" Target="../slideLayouts/slideLayout204.xml"/><Relationship Id="rId27" Type="http://schemas.openxmlformats.org/officeDocument/2006/relationships/slideLayout" Target="../slideLayouts/slideLayout20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slideLayout" Target="../slideLayouts/slideLayout223.xml"/><Relationship Id="rId18" Type="http://schemas.openxmlformats.org/officeDocument/2006/relationships/slideLayout" Target="../slideLayouts/slideLayout228.xml"/><Relationship Id="rId26" Type="http://schemas.openxmlformats.org/officeDocument/2006/relationships/slideLayout" Target="../slideLayouts/slideLayout236.xml"/><Relationship Id="rId39" Type="http://schemas.openxmlformats.org/officeDocument/2006/relationships/slideLayout" Target="../slideLayouts/slideLayout249.xml"/><Relationship Id="rId3" Type="http://schemas.openxmlformats.org/officeDocument/2006/relationships/slideLayout" Target="../slideLayouts/slideLayout213.xml"/><Relationship Id="rId21" Type="http://schemas.openxmlformats.org/officeDocument/2006/relationships/slideLayout" Target="../slideLayouts/slideLayout231.xml"/><Relationship Id="rId34" Type="http://schemas.openxmlformats.org/officeDocument/2006/relationships/slideLayout" Target="../slideLayouts/slideLayout244.xml"/><Relationship Id="rId42" Type="http://schemas.openxmlformats.org/officeDocument/2006/relationships/image" Target="../media/image10.emf"/><Relationship Id="rId7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222.xml"/><Relationship Id="rId17" Type="http://schemas.openxmlformats.org/officeDocument/2006/relationships/slideLayout" Target="../slideLayouts/slideLayout227.xml"/><Relationship Id="rId25" Type="http://schemas.openxmlformats.org/officeDocument/2006/relationships/slideLayout" Target="../slideLayouts/slideLayout235.xml"/><Relationship Id="rId33" Type="http://schemas.openxmlformats.org/officeDocument/2006/relationships/slideLayout" Target="../slideLayouts/slideLayout243.xml"/><Relationship Id="rId38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12.xml"/><Relationship Id="rId16" Type="http://schemas.openxmlformats.org/officeDocument/2006/relationships/slideLayout" Target="../slideLayouts/slideLayout226.xml"/><Relationship Id="rId20" Type="http://schemas.openxmlformats.org/officeDocument/2006/relationships/slideLayout" Target="../slideLayouts/slideLayout230.xml"/><Relationship Id="rId29" Type="http://schemas.openxmlformats.org/officeDocument/2006/relationships/slideLayout" Target="../slideLayouts/slideLayout239.xml"/><Relationship Id="rId41" Type="http://schemas.openxmlformats.org/officeDocument/2006/relationships/theme" Target="../theme/theme8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24" Type="http://schemas.openxmlformats.org/officeDocument/2006/relationships/slideLayout" Target="../slideLayouts/slideLayout234.xml"/><Relationship Id="rId32" Type="http://schemas.openxmlformats.org/officeDocument/2006/relationships/slideLayout" Target="../slideLayouts/slideLayout242.xml"/><Relationship Id="rId37" Type="http://schemas.openxmlformats.org/officeDocument/2006/relationships/slideLayout" Target="../slideLayouts/slideLayout247.xml"/><Relationship Id="rId40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15.xml"/><Relationship Id="rId15" Type="http://schemas.openxmlformats.org/officeDocument/2006/relationships/slideLayout" Target="../slideLayouts/slideLayout225.xml"/><Relationship Id="rId23" Type="http://schemas.openxmlformats.org/officeDocument/2006/relationships/slideLayout" Target="../slideLayouts/slideLayout233.xml"/><Relationship Id="rId28" Type="http://schemas.openxmlformats.org/officeDocument/2006/relationships/slideLayout" Target="../slideLayouts/slideLayout238.xml"/><Relationship Id="rId36" Type="http://schemas.openxmlformats.org/officeDocument/2006/relationships/slideLayout" Target="../slideLayouts/slideLayout246.xml"/><Relationship Id="rId10" Type="http://schemas.openxmlformats.org/officeDocument/2006/relationships/slideLayout" Target="../slideLayouts/slideLayout220.xml"/><Relationship Id="rId19" Type="http://schemas.openxmlformats.org/officeDocument/2006/relationships/slideLayout" Target="../slideLayouts/slideLayout229.xml"/><Relationship Id="rId31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24.xml"/><Relationship Id="rId22" Type="http://schemas.openxmlformats.org/officeDocument/2006/relationships/slideLayout" Target="../slideLayouts/slideLayout232.xml"/><Relationship Id="rId27" Type="http://schemas.openxmlformats.org/officeDocument/2006/relationships/slideLayout" Target="../slideLayouts/slideLayout237.xml"/><Relationship Id="rId30" Type="http://schemas.openxmlformats.org/officeDocument/2006/relationships/slideLayout" Target="../slideLayouts/slideLayout240.xml"/><Relationship Id="rId35" Type="http://schemas.openxmlformats.org/officeDocument/2006/relationships/slideLayout" Target="../slideLayouts/slideLayout24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8.xml"/><Relationship Id="rId13" Type="http://schemas.openxmlformats.org/officeDocument/2006/relationships/slideLayout" Target="../slideLayouts/slideLayout263.xml"/><Relationship Id="rId18" Type="http://schemas.openxmlformats.org/officeDocument/2006/relationships/slideLayout" Target="../slideLayouts/slideLayout268.xml"/><Relationship Id="rId26" Type="http://schemas.openxmlformats.org/officeDocument/2006/relationships/slideLayout" Target="../slideLayouts/slideLayout276.xml"/><Relationship Id="rId39" Type="http://schemas.openxmlformats.org/officeDocument/2006/relationships/slideLayout" Target="../slideLayouts/slideLayout289.xml"/><Relationship Id="rId3" Type="http://schemas.openxmlformats.org/officeDocument/2006/relationships/slideLayout" Target="../slideLayouts/slideLayout253.xml"/><Relationship Id="rId21" Type="http://schemas.openxmlformats.org/officeDocument/2006/relationships/slideLayout" Target="../slideLayouts/slideLayout271.xml"/><Relationship Id="rId34" Type="http://schemas.openxmlformats.org/officeDocument/2006/relationships/slideLayout" Target="../slideLayouts/slideLayout284.xml"/><Relationship Id="rId42" Type="http://schemas.openxmlformats.org/officeDocument/2006/relationships/image" Target="../media/image10.emf"/><Relationship Id="rId7" Type="http://schemas.openxmlformats.org/officeDocument/2006/relationships/slideLayout" Target="../slideLayouts/slideLayout257.xml"/><Relationship Id="rId12" Type="http://schemas.openxmlformats.org/officeDocument/2006/relationships/slideLayout" Target="../slideLayouts/slideLayout262.xml"/><Relationship Id="rId17" Type="http://schemas.openxmlformats.org/officeDocument/2006/relationships/slideLayout" Target="../slideLayouts/slideLayout267.xml"/><Relationship Id="rId25" Type="http://schemas.openxmlformats.org/officeDocument/2006/relationships/slideLayout" Target="../slideLayouts/slideLayout275.xml"/><Relationship Id="rId33" Type="http://schemas.openxmlformats.org/officeDocument/2006/relationships/slideLayout" Target="../slideLayouts/slideLayout283.xml"/><Relationship Id="rId38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52.xml"/><Relationship Id="rId16" Type="http://schemas.openxmlformats.org/officeDocument/2006/relationships/slideLayout" Target="../slideLayouts/slideLayout266.xml"/><Relationship Id="rId20" Type="http://schemas.openxmlformats.org/officeDocument/2006/relationships/slideLayout" Target="../slideLayouts/slideLayout270.xml"/><Relationship Id="rId29" Type="http://schemas.openxmlformats.org/officeDocument/2006/relationships/slideLayout" Target="../slideLayouts/slideLayout279.xml"/><Relationship Id="rId41" Type="http://schemas.openxmlformats.org/officeDocument/2006/relationships/theme" Target="../theme/theme9.xml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Relationship Id="rId11" Type="http://schemas.openxmlformats.org/officeDocument/2006/relationships/slideLayout" Target="../slideLayouts/slideLayout261.xml"/><Relationship Id="rId24" Type="http://schemas.openxmlformats.org/officeDocument/2006/relationships/slideLayout" Target="../slideLayouts/slideLayout274.xml"/><Relationship Id="rId32" Type="http://schemas.openxmlformats.org/officeDocument/2006/relationships/slideLayout" Target="../slideLayouts/slideLayout282.xml"/><Relationship Id="rId37" Type="http://schemas.openxmlformats.org/officeDocument/2006/relationships/slideLayout" Target="../slideLayouts/slideLayout287.xml"/><Relationship Id="rId40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55.xml"/><Relationship Id="rId15" Type="http://schemas.openxmlformats.org/officeDocument/2006/relationships/slideLayout" Target="../slideLayouts/slideLayout265.xml"/><Relationship Id="rId23" Type="http://schemas.openxmlformats.org/officeDocument/2006/relationships/slideLayout" Target="../slideLayouts/slideLayout273.xml"/><Relationship Id="rId28" Type="http://schemas.openxmlformats.org/officeDocument/2006/relationships/slideLayout" Target="../slideLayouts/slideLayout278.xml"/><Relationship Id="rId36" Type="http://schemas.openxmlformats.org/officeDocument/2006/relationships/slideLayout" Target="../slideLayouts/slideLayout286.xml"/><Relationship Id="rId10" Type="http://schemas.openxmlformats.org/officeDocument/2006/relationships/slideLayout" Target="../slideLayouts/slideLayout260.xml"/><Relationship Id="rId19" Type="http://schemas.openxmlformats.org/officeDocument/2006/relationships/slideLayout" Target="../slideLayouts/slideLayout269.xml"/><Relationship Id="rId31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4.xml"/><Relationship Id="rId22" Type="http://schemas.openxmlformats.org/officeDocument/2006/relationships/slideLayout" Target="../slideLayouts/slideLayout272.xml"/><Relationship Id="rId27" Type="http://schemas.openxmlformats.org/officeDocument/2006/relationships/slideLayout" Target="../slideLayouts/slideLayout277.xml"/><Relationship Id="rId30" Type="http://schemas.openxmlformats.org/officeDocument/2006/relationships/slideLayout" Target="../slideLayouts/slideLayout280.xml"/><Relationship Id="rId35" Type="http://schemas.openxmlformats.org/officeDocument/2006/relationships/slideLayout" Target="../slideLayouts/slideLayout2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6" r:id="rId2"/>
    <p:sldLayoutId id="2147484013" r:id="rId3"/>
    <p:sldLayoutId id="2147483982" r:id="rId4"/>
    <p:sldLayoutId id="2147484014" r:id="rId5"/>
    <p:sldLayoutId id="2147483978" r:id="rId6"/>
    <p:sldLayoutId id="2147483979" r:id="rId7"/>
    <p:sldLayoutId id="2147483980" r:id="rId8"/>
    <p:sldLayoutId id="2147483981" r:id="rId9"/>
    <p:sldLayoutId id="2147483879" r:id="rId10"/>
    <p:sldLayoutId id="2147483976" r:id="rId11"/>
    <p:sldLayoutId id="2147483885" r:id="rId12"/>
    <p:sldLayoutId id="2147484011" r:id="rId13"/>
    <p:sldLayoutId id="2147483985" r:id="rId14"/>
    <p:sldLayoutId id="2147483986" r:id="rId15"/>
    <p:sldLayoutId id="2147484012" r:id="rId16"/>
    <p:sldLayoutId id="2147483969" r:id="rId17"/>
    <p:sldLayoutId id="2147483968" r:id="rId18"/>
    <p:sldLayoutId id="2147483973" r:id="rId19"/>
    <p:sldLayoutId id="2147483967" r:id="rId20"/>
    <p:sldLayoutId id="2147483970" r:id="rId21"/>
    <p:sldLayoutId id="2147483987" r:id="rId22"/>
    <p:sldLayoutId id="2147483983" r:id="rId23"/>
    <p:sldLayoutId id="2147483971" r:id="rId24"/>
    <p:sldLayoutId id="2147483972" r:id="rId25"/>
    <p:sldLayoutId id="2147483897" r:id="rId26"/>
    <p:sldLayoutId id="2147484015" r:id="rId27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 userDrawn="1">
          <p15:clr>
            <a:srgbClr val="F26B43"/>
          </p15:clr>
        </p15:guide>
        <p15:guide id="2" pos="336" userDrawn="1">
          <p15:clr>
            <a:srgbClr val="F26B43"/>
          </p15:clr>
        </p15:guide>
        <p15:guide id="3" pos="5448" userDrawn="1">
          <p15:clr>
            <a:srgbClr val="F26B43"/>
          </p15:clr>
        </p15:guide>
        <p15:guide id="4" orient="horz" pos="757" userDrawn="1">
          <p15:clr>
            <a:srgbClr val="F26B43"/>
          </p15:clr>
        </p15:guide>
        <p15:guide id="5" orient="horz" pos="335" userDrawn="1">
          <p15:clr>
            <a:srgbClr val="F26B43"/>
          </p15:clr>
        </p15:guide>
        <p15:guide id="6" pos="2876" userDrawn="1">
          <p15:clr>
            <a:srgbClr val="F26B43"/>
          </p15:clr>
        </p15:guide>
        <p15:guide id="7" orient="horz" pos="1043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3793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  <p:sldLayoutId id="2147484300" r:id="rId13"/>
    <p:sldLayoutId id="2147484301" r:id="rId14"/>
    <p:sldLayoutId id="2147484302" r:id="rId15"/>
    <p:sldLayoutId id="2147484303" r:id="rId16"/>
    <p:sldLayoutId id="2147484304" r:id="rId17"/>
    <p:sldLayoutId id="2147484305" r:id="rId18"/>
    <p:sldLayoutId id="2147484306" r:id="rId19"/>
    <p:sldLayoutId id="2147484307" r:id="rId20"/>
    <p:sldLayoutId id="2147484308" r:id="rId21"/>
    <p:sldLayoutId id="2147484309" r:id="rId22"/>
    <p:sldLayoutId id="2147484310" r:id="rId23"/>
    <p:sldLayoutId id="2147484311" r:id="rId24"/>
    <p:sldLayoutId id="2147484312" r:id="rId25"/>
    <p:sldLayoutId id="2147484313" r:id="rId26"/>
    <p:sldLayoutId id="2147484314" r:id="rId27"/>
    <p:sldLayoutId id="2147484315" r:id="rId28"/>
    <p:sldLayoutId id="2147484316" r:id="rId29"/>
    <p:sldLayoutId id="2147484317" r:id="rId30"/>
    <p:sldLayoutId id="2147484318" r:id="rId31"/>
    <p:sldLayoutId id="2147484319" r:id="rId32"/>
    <p:sldLayoutId id="2147484320" r:id="rId33"/>
    <p:sldLayoutId id="2147484321" r:id="rId34"/>
    <p:sldLayoutId id="2147484322" r:id="rId35"/>
    <p:sldLayoutId id="2147484323" r:id="rId36"/>
    <p:sldLayoutId id="2147484324" r:id="rId37"/>
    <p:sldLayoutId id="2147484325" r:id="rId38"/>
    <p:sldLayoutId id="2147484326" r:id="rId39"/>
    <p:sldLayoutId id="2147484327" r:id="rId40"/>
    <p:sldLayoutId id="2147484328" r:id="rId41"/>
    <p:sldLayoutId id="2147484329" r:id="rId42"/>
    <p:sldLayoutId id="2147484330" r:id="rId43"/>
    <p:sldLayoutId id="2147484331" r:id="rId44"/>
    <p:sldLayoutId id="2147484332" r:id="rId45"/>
    <p:sldLayoutId id="2147484333" r:id="rId46"/>
    <p:sldLayoutId id="2147484334" r:id="rId4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b="0" i="0" u="none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1315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  <p:sldLayoutId id="2147484344" r:id="rId9"/>
    <p:sldLayoutId id="2147484345" r:id="rId10"/>
    <p:sldLayoutId id="2147484346" r:id="rId11"/>
    <p:sldLayoutId id="2147484347" r:id="rId12"/>
    <p:sldLayoutId id="2147484348" r:id="rId13"/>
    <p:sldLayoutId id="2147484349" r:id="rId14"/>
    <p:sldLayoutId id="2147484350" r:id="rId15"/>
    <p:sldLayoutId id="2147484351" r:id="rId16"/>
    <p:sldLayoutId id="2147484352" r:id="rId17"/>
    <p:sldLayoutId id="2147484353" r:id="rId18"/>
    <p:sldLayoutId id="2147484354" r:id="rId19"/>
    <p:sldLayoutId id="2147484355" r:id="rId20"/>
    <p:sldLayoutId id="2147484356" r:id="rId21"/>
    <p:sldLayoutId id="2147484357" r:id="rId22"/>
    <p:sldLayoutId id="2147484358" r:id="rId23"/>
    <p:sldLayoutId id="2147484359" r:id="rId24"/>
    <p:sldLayoutId id="2147484360" r:id="rId25"/>
    <p:sldLayoutId id="2147484361" r:id="rId26"/>
    <p:sldLayoutId id="2147484362" r:id="rId27"/>
    <p:sldLayoutId id="2147484363" r:id="rId28"/>
    <p:sldLayoutId id="2147484364" r:id="rId29"/>
    <p:sldLayoutId id="2147484365" r:id="rId30"/>
    <p:sldLayoutId id="2147484366" r:id="rId31"/>
    <p:sldLayoutId id="2147484367" r:id="rId32"/>
    <p:sldLayoutId id="2147484368" r:id="rId33"/>
    <p:sldLayoutId id="2147484369" r:id="rId34"/>
    <p:sldLayoutId id="2147484370" r:id="rId35"/>
    <p:sldLayoutId id="2147484371" r:id="rId36"/>
    <p:sldLayoutId id="2147484372" r:id="rId37"/>
    <p:sldLayoutId id="2147484373" r:id="rId38"/>
    <p:sldLayoutId id="2147484374" r:id="rId39"/>
    <p:sldLayoutId id="2147484375" r:id="rId40"/>
    <p:sldLayoutId id="2147484376" r:id="rId41"/>
    <p:sldLayoutId id="2147484377" r:id="rId42"/>
    <p:sldLayoutId id="2147484378" r:id="rId43"/>
    <p:sldLayoutId id="2147484379" r:id="rId44"/>
    <p:sldLayoutId id="2147484380" r:id="rId45"/>
    <p:sldLayoutId id="2147484381" r:id="rId46"/>
    <p:sldLayoutId id="2147484382" r:id="rId4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b="0" i="0" u="none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5119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4" r:id="rId1"/>
    <p:sldLayoutId id="2147484385" r:id="rId2"/>
    <p:sldLayoutId id="2147484386" r:id="rId3"/>
    <p:sldLayoutId id="2147484387" r:id="rId4"/>
    <p:sldLayoutId id="2147484388" r:id="rId5"/>
    <p:sldLayoutId id="2147484389" r:id="rId6"/>
    <p:sldLayoutId id="2147484390" r:id="rId7"/>
    <p:sldLayoutId id="2147484391" r:id="rId8"/>
    <p:sldLayoutId id="2147484392" r:id="rId9"/>
    <p:sldLayoutId id="2147484393" r:id="rId10"/>
    <p:sldLayoutId id="2147484394" r:id="rId11"/>
    <p:sldLayoutId id="2147484395" r:id="rId12"/>
    <p:sldLayoutId id="2147484396" r:id="rId13"/>
    <p:sldLayoutId id="2147484397" r:id="rId14"/>
    <p:sldLayoutId id="2147484398" r:id="rId15"/>
    <p:sldLayoutId id="2147484399" r:id="rId16"/>
    <p:sldLayoutId id="2147484400" r:id="rId17"/>
    <p:sldLayoutId id="2147484401" r:id="rId18"/>
    <p:sldLayoutId id="2147484402" r:id="rId19"/>
    <p:sldLayoutId id="2147484403" r:id="rId20"/>
    <p:sldLayoutId id="2147484404" r:id="rId21"/>
    <p:sldLayoutId id="2147484405" r:id="rId22"/>
    <p:sldLayoutId id="2147484406" r:id="rId23"/>
    <p:sldLayoutId id="2147484407" r:id="rId24"/>
    <p:sldLayoutId id="2147484408" r:id="rId25"/>
    <p:sldLayoutId id="2147484409" r:id="rId26"/>
    <p:sldLayoutId id="2147484410" r:id="rId27"/>
    <p:sldLayoutId id="2147484411" r:id="rId28"/>
    <p:sldLayoutId id="2147484412" r:id="rId29"/>
    <p:sldLayoutId id="2147484413" r:id="rId30"/>
    <p:sldLayoutId id="2147484414" r:id="rId31"/>
    <p:sldLayoutId id="2147484415" r:id="rId32"/>
    <p:sldLayoutId id="2147484416" r:id="rId33"/>
    <p:sldLayoutId id="2147484417" r:id="rId34"/>
    <p:sldLayoutId id="2147484418" r:id="rId35"/>
    <p:sldLayoutId id="2147484419" r:id="rId36"/>
    <p:sldLayoutId id="2147484420" r:id="rId37"/>
    <p:sldLayoutId id="2147484421" r:id="rId38"/>
    <p:sldLayoutId id="2147484422" r:id="rId39"/>
    <p:sldLayoutId id="2147484423" r:id="rId40"/>
    <p:sldLayoutId id="2147484424" r:id="rId41"/>
    <p:sldLayoutId id="2147484425" r:id="rId42"/>
    <p:sldLayoutId id="2147484426" r:id="rId43"/>
    <p:sldLayoutId id="2147484427" r:id="rId44"/>
    <p:sldLayoutId id="2147484428" r:id="rId45"/>
    <p:sldLayoutId id="2147484429" r:id="rId46"/>
    <p:sldLayoutId id="2147484430" r:id="rId4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b="0" i="0" u="none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643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2" r:id="rId1"/>
    <p:sldLayoutId id="2147484433" r:id="rId2"/>
    <p:sldLayoutId id="2147484434" r:id="rId3"/>
    <p:sldLayoutId id="2147484435" r:id="rId4"/>
    <p:sldLayoutId id="2147484436" r:id="rId5"/>
    <p:sldLayoutId id="2147484437" r:id="rId6"/>
    <p:sldLayoutId id="2147484438" r:id="rId7"/>
    <p:sldLayoutId id="2147484439" r:id="rId8"/>
    <p:sldLayoutId id="2147484440" r:id="rId9"/>
    <p:sldLayoutId id="2147484441" r:id="rId10"/>
    <p:sldLayoutId id="2147484442" r:id="rId11"/>
    <p:sldLayoutId id="2147484443" r:id="rId12"/>
    <p:sldLayoutId id="2147484444" r:id="rId13"/>
    <p:sldLayoutId id="2147484445" r:id="rId14"/>
    <p:sldLayoutId id="2147484446" r:id="rId15"/>
    <p:sldLayoutId id="2147484447" r:id="rId16"/>
    <p:sldLayoutId id="2147484448" r:id="rId17"/>
    <p:sldLayoutId id="2147484449" r:id="rId18"/>
    <p:sldLayoutId id="2147484450" r:id="rId19"/>
    <p:sldLayoutId id="2147484451" r:id="rId20"/>
    <p:sldLayoutId id="2147484452" r:id="rId21"/>
    <p:sldLayoutId id="2147484453" r:id="rId22"/>
    <p:sldLayoutId id="2147484454" r:id="rId23"/>
    <p:sldLayoutId id="2147484455" r:id="rId24"/>
    <p:sldLayoutId id="2147484456" r:id="rId25"/>
    <p:sldLayoutId id="2147484457" r:id="rId26"/>
    <p:sldLayoutId id="2147484458" r:id="rId27"/>
    <p:sldLayoutId id="2147484459" r:id="rId28"/>
    <p:sldLayoutId id="2147484460" r:id="rId29"/>
    <p:sldLayoutId id="2147484461" r:id="rId30"/>
    <p:sldLayoutId id="2147484462" r:id="rId31"/>
    <p:sldLayoutId id="2147484463" r:id="rId32"/>
    <p:sldLayoutId id="2147484464" r:id="rId33"/>
    <p:sldLayoutId id="2147484465" r:id="rId34"/>
    <p:sldLayoutId id="2147484466" r:id="rId35"/>
    <p:sldLayoutId id="2147484467" r:id="rId36"/>
    <p:sldLayoutId id="2147484468" r:id="rId37"/>
    <p:sldLayoutId id="2147484469" r:id="rId38"/>
    <p:sldLayoutId id="2147484470" r:id="rId39"/>
    <p:sldLayoutId id="2147484471" r:id="rId40"/>
    <p:sldLayoutId id="2147484472" r:id="rId41"/>
    <p:sldLayoutId id="2147484473" r:id="rId42"/>
    <p:sldLayoutId id="2147484474" r:id="rId43"/>
    <p:sldLayoutId id="2147484475" r:id="rId44"/>
    <p:sldLayoutId id="2147484476" r:id="rId45"/>
    <p:sldLayoutId id="2147484477" r:id="rId46"/>
    <p:sldLayoutId id="2147484478" r:id="rId4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b="0" i="0" u="none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8375" y="4742908"/>
            <a:ext cx="215747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8689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0" r:id="rId1"/>
    <p:sldLayoutId id="2147484481" r:id="rId2"/>
    <p:sldLayoutId id="2147484482" r:id="rId3"/>
    <p:sldLayoutId id="2147484483" r:id="rId4"/>
    <p:sldLayoutId id="2147484484" r:id="rId5"/>
    <p:sldLayoutId id="2147484485" r:id="rId6"/>
    <p:sldLayoutId id="2147484486" r:id="rId7"/>
    <p:sldLayoutId id="2147484487" r:id="rId8"/>
    <p:sldLayoutId id="2147484488" r:id="rId9"/>
    <p:sldLayoutId id="2147484489" r:id="rId10"/>
    <p:sldLayoutId id="2147484490" r:id="rId11"/>
    <p:sldLayoutId id="2147484491" r:id="rId12"/>
    <p:sldLayoutId id="2147484492" r:id="rId13"/>
    <p:sldLayoutId id="2147484493" r:id="rId14"/>
    <p:sldLayoutId id="2147484494" r:id="rId15"/>
    <p:sldLayoutId id="2147484495" r:id="rId16"/>
    <p:sldLayoutId id="2147484496" r:id="rId17"/>
    <p:sldLayoutId id="2147484497" r:id="rId18"/>
    <p:sldLayoutId id="2147484498" r:id="rId19"/>
    <p:sldLayoutId id="2147484499" r:id="rId20"/>
    <p:sldLayoutId id="2147484500" r:id="rId21"/>
    <p:sldLayoutId id="2147484501" r:id="rId22"/>
    <p:sldLayoutId id="2147484502" r:id="rId23"/>
    <p:sldLayoutId id="2147484503" r:id="rId24"/>
    <p:sldLayoutId id="2147484504" r:id="rId25"/>
    <p:sldLayoutId id="2147484505" r:id="rId26"/>
    <p:sldLayoutId id="2147484506" r:id="rId27"/>
    <p:sldLayoutId id="2147484507" r:id="rId28"/>
    <p:sldLayoutId id="2147484508" r:id="rId29"/>
    <p:sldLayoutId id="2147484509" r:id="rId30"/>
    <p:sldLayoutId id="2147484510" r:id="rId31"/>
    <p:sldLayoutId id="2147484511" r:id="rId32"/>
    <p:sldLayoutId id="2147484512" r:id="rId33"/>
    <p:sldLayoutId id="2147484513" r:id="rId34"/>
    <p:sldLayoutId id="2147484514" r:id="rId35"/>
    <p:sldLayoutId id="2147484515" r:id="rId36"/>
    <p:sldLayoutId id="2147484516" r:id="rId37"/>
    <p:sldLayoutId id="2147484517" r:id="rId38"/>
    <p:sldLayoutId id="2147484518" r:id="rId39"/>
    <p:sldLayoutId id="2147484519" r:id="rId40"/>
    <p:sldLayoutId id="2147484520" r:id="rId41"/>
    <p:sldLayoutId id="2147484521" r:id="rId42"/>
    <p:sldLayoutId id="2147484522" r:id="rId43"/>
    <p:sldLayoutId id="2147484523" r:id="rId44"/>
    <p:sldLayoutId id="2147484524" r:id="rId45"/>
    <p:sldLayoutId id="2147484525" r:id="rId46"/>
    <p:sldLayoutId id="2147484526" r:id="rId4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b="0" i="0" u="none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</a:t>
            </a:r>
            <a:r>
              <a:rPr lang="en-US" sz="600" spc="20" dirty="0" smtClean="0">
                <a:solidFill>
                  <a:srgbClr val="005073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2017  </a:t>
            </a:r>
            <a:r>
              <a:rPr lang="en-US" sz="600" spc="20" dirty="0">
                <a:solidFill>
                  <a:srgbClr val="005073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065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9" r:id="rId1"/>
    <p:sldLayoutId id="2147484530" r:id="rId2"/>
    <p:sldLayoutId id="2147484531" r:id="rId3"/>
    <p:sldLayoutId id="2147484532" r:id="rId4"/>
    <p:sldLayoutId id="2147484533" r:id="rId5"/>
    <p:sldLayoutId id="2147484534" r:id="rId6"/>
    <p:sldLayoutId id="2147484535" r:id="rId7"/>
    <p:sldLayoutId id="2147484536" r:id="rId8"/>
    <p:sldLayoutId id="2147484537" r:id="rId9"/>
    <p:sldLayoutId id="2147484538" r:id="rId10"/>
    <p:sldLayoutId id="2147484539" r:id="rId11"/>
    <p:sldLayoutId id="2147484540" r:id="rId12"/>
    <p:sldLayoutId id="2147484541" r:id="rId13"/>
    <p:sldLayoutId id="2147484542" r:id="rId14"/>
    <p:sldLayoutId id="2147484543" r:id="rId15"/>
    <p:sldLayoutId id="2147484544" r:id="rId16"/>
    <p:sldLayoutId id="2147484545" r:id="rId17"/>
    <p:sldLayoutId id="2147484546" r:id="rId18"/>
    <p:sldLayoutId id="2147484547" r:id="rId19"/>
    <p:sldLayoutId id="2147484548" r:id="rId20"/>
    <p:sldLayoutId id="2147484549" r:id="rId21"/>
    <p:sldLayoutId id="2147484550" r:id="rId22"/>
    <p:sldLayoutId id="2147484551" r:id="rId23"/>
    <p:sldLayoutId id="2147484552" r:id="rId24"/>
    <p:sldLayoutId id="2147484553" r:id="rId25"/>
    <p:sldLayoutId id="2147484554" r:id="rId26"/>
    <p:sldLayoutId id="2147484555" r:id="rId2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169" y="4742908"/>
            <a:ext cx="21895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iscoSans ExtraLight"/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5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CiscoSans ExtraLight"/>
                <a:ea typeface="ＭＳ Ｐゴシック" pitchFamily="34" charset="-128"/>
                <a:cs typeface="CiscoSans Thin"/>
              </a:rPr>
              <a:t>© 2017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970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7" r:id="rId1"/>
    <p:sldLayoutId id="2147484558" r:id="rId2"/>
    <p:sldLayoutId id="2147484559" r:id="rId3"/>
    <p:sldLayoutId id="2147484560" r:id="rId4"/>
    <p:sldLayoutId id="2147484561" r:id="rId5"/>
    <p:sldLayoutId id="2147484562" r:id="rId6"/>
    <p:sldLayoutId id="2147484563" r:id="rId7"/>
    <p:sldLayoutId id="2147484564" r:id="rId8"/>
    <p:sldLayoutId id="2147484565" r:id="rId9"/>
    <p:sldLayoutId id="2147484566" r:id="rId10"/>
    <p:sldLayoutId id="2147484567" r:id="rId11"/>
    <p:sldLayoutId id="2147484568" r:id="rId12"/>
    <p:sldLayoutId id="2147484569" r:id="rId13"/>
    <p:sldLayoutId id="2147484570" r:id="rId14"/>
    <p:sldLayoutId id="2147484571" r:id="rId15"/>
    <p:sldLayoutId id="2147484572" r:id="rId16"/>
    <p:sldLayoutId id="2147484573" r:id="rId17"/>
    <p:sldLayoutId id="2147484574" r:id="rId18"/>
    <p:sldLayoutId id="2147484575" r:id="rId19"/>
    <p:sldLayoutId id="2147484576" r:id="rId20"/>
    <p:sldLayoutId id="2147484577" r:id="rId21"/>
    <p:sldLayoutId id="2147484578" r:id="rId22"/>
    <p:sldLayoutId id="2147484579" r:id="rId23"/>
    <p:sldLayoutId id="2147484580" r:id="rId24"/>
    <p:sldLayoutId id="2147484581" r:id="rId25"/>
    <p:sldLayoutId id="2147484582" r:id="rId26"/>
    <p:sldLayoutId id="2147484583" r:id="rId27"/>
    <p:sldLayoutId id="2147484584" r:id="rId28"/>
    <p:sldLayoutId id="2147484585" r:id="rId29"/>
    <p:sldLayoutId id="2147484586" r:id="rId30"/>
    <p:sldLayoutId id="2147484587" r:id="rId31"/>
    <p:sldLayoutId id="2147484588" r:id="rId32"/>
    <p:sldLayoutId id="2147484589" r:id="rId33"/>
    <p:sldLayoutId id="2147484590" r:id="rId34"/>
    <p:sldLayoutId id="2147484591" r:id="rId35"/>
    <p:sldLayoutId id="2147484592" r:id="rId36"/>
    <p:sldLayoutId id="2147484593" r:id="rId37"/>
    <p:sldLayoutId id="2147484594" r:id="rId38"/>
    <p:sldLayoutId id="2147484595" r:id="rId39"/>
    <p:sldLayoutId id="2147484596" r:id="rId40"/>
    <p:sldLayoutId id="2147484597" r:id="rId41"/>
    <p:sldLayoutId id="2147484598" r:id="rId42"/>
    <p:sldLayoutId id="2147484599" r:id="rId43"/>
    <p:sldLayoutId id="2147484600" r:id="rId44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b="0" i="0" u="none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9507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2" r:id="rId1"/>
    <p:sldLayoutId id="2147484603" r:id="rId2"/>
    <p:sldLayoutId id="2147484604" r:id="rId3"/>
    <p:sldLayoutId id="2147484605" r:id="rId4"/>
    <p:sldLayoutId id="2147484606" r:id="rId5"/>
    <p:sldLayoutId id="2147484607" r:id="rId6"/>
    <p:sldLayoutId id="2147484608" r:id="rId7"/>
    <p:sldLayoutId id="2147484609" r:id="rId8"/>
    <p:sldLayoutId id="2147484610" r:id="rId9"/>
    <p:sldLayoutId id="2147484611" r:id="rId10"/>
    <p:sldLayoutId id="2147484612" r:id="rId11"/>
    <p:sldLayoutId id="2147484613" r:id="rId12"/>
    <p:sldLayoutId id="2147484614" r:id="rId13"/>
    <p:sldLayoutId id="2147484615" r:id="rId14"/>
    <p:sldLayoutId id="2147484616" r:id="rId15"/>
    <p:sldLayoutId id="2147484617" r:id="rId16"/>
    <p:sldLayoutId id="2147484618" r:id="rId17"/>
    <p:sldLayoutId id="2147484619" r:id="rId18"/>
    <p:sldLayoutId id="2147484620" r:id="rId19"/>
    <p:sldLayoutId id="2147484621" r:id="rId20"/>
    <p:sldLayoutId id="2147484622" r:id="rId21"/>
    <p:sldLayoutId id="2147484623" r:id="rId22"/>
    <p:sldLayoutId id="2147484624" r:id="rId23"/>
    <p:sldLayoutId id="2147484625" r:id="rId24"/>
    <p:sldLayoutId id="2147484626" r:id="rId25"/>
    <p:sldLayoutId id="2147484627" r:id="rId26"/>
    <p:sldLayoutId id="2147484628" r:id="rId27"/>
    <p:sldLayoutId id="2147484629" r:id="rId28"/>
    <p:sldLayoutId id="2147484630" r:id="rId29"/>
  </p:sldLayoutIdLst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7014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2" r:id="rId1"/>
    <p:sldLayoutId id="2147484633" r:id="rId2"/>
    <p:sldLayoutId id="2147484634" r:id="rId3"/>
    <p:sldLayoutId id="2147484635" r:id="rId4"/>
    <p:sldLayoutId id="2147484636" r:id="rId5"/>
    <p:sldLayoutId id="2147484637" r:id="rId6"/>
    <p:sldLayoutId id="2147484638" r:id="rId7"/>
    <p:sldLayoutId id="2147484639" r:id="rId8"/>
    <p:sldLayoutId id="2147484640" r:id="rId9"/>
    <p:sldLayoutId id="2147484641" r:id="rId10"/>
    <p:sldLayoutId id="2147484642" r:id="rId11"/>
    <p:sldLayoutId id="2147484643" r:id="rId12"/>
    <p:sldLayoutId id="2147484644" r:id="rId13"/>
    <p:sldLayoutId id="2147484645" r:id="rId14"/>
    <p:sldLayoutId id="2147484646" r:id="rId15"/>
    <p:sldLayoutId id="2147484647" r:id="rId16"/>
    <p:sldLayoutId id="2147484648" r:id="rId17"/>
    <p:sldLayoutId id="2147484649" r:id="rId18"/>
    <p:sldLayoutId id="2147484650" r:id="rId19"/>
    <p:sldLayoutId id="2147484651" r:id="rId20"/>
    <p:sldLayoutId id="2147484652" r:id="rId21"/>
    <p:sldLayoutId id="2147484653" r:id="rId22"/>
    <p:sldLayoutId id="2147484654" r:id="rId23"/>
    <p:sldLayoutId id="2147484655" r:id="rId24"/>
    <p:sldLayoutId id="2147484656" r:id="rId25"/>
    <p:sldLayoutId id="2147484657" r:id="rId26"/>
    <p:sldLayoutId id="2147484658" r:id="rId27"/>
    <p:sldLayoutId id="2147484659" r:id="rId28"/>
    <p:sldLayoutId id="2147484660" r:id="rId29"/>
  </p:sldLayoutIdLst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9843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2" r:id="rId1"/>
    <p:sldLayoutId id="2147484663" r:id="rId2"/>
    <p:sldLayoutId id="2147484664" r:id="rId3"/>
    <p:sldLayoutId id="2147484665" r:id="rId4"/>
    <p:sldLayoutId id="2147484666" r:id="rId5"/>
    <p:sldLayoutId id="2147484667" r:id="rId6"/>
    <p:sldLayoutId id="2147484668" r:id="rId7"/>
    <p:sldLayoutId id="2147484669" r:id="rId8"/>
    <p:sldLayoutId id="2147484670" r:id="rId9"/>
    <p:sldLayoutId id="2147484671" r:id="rId10"/>
    <p:sldLayoutId id="2147484672" r:id="rId11"/>
    <p:sldLayoutId id="2147484673" r:id="rId12"/>
    <p:sldLayoutId id="2147484674" r:id="rId13"/>
    <p:sldLayoutId id="2147484675" r:id="rId14"/>
    <p:sldLayoutId id="2147484676" r:id="rId15"/>
    <p:sldLayoutId id="2147484677" r:id="rId16"/>
    <p:sldLayoutId id="2147484678" r:id="rId17"/>
    <p:sldLayoutId id="2147484679" r:id="rId18"/>
    <p:sldLayoutId id="2147484680" r:id="rId19"/>
    <p:sldLayoutId id="2147484681" r:id="rId20"/>
    <p:sldLayoutId id="2147484682" r:id="rId21"/>
    <p:sldLayoutId id="2147484683" r:id="rId22"/>
    <p:sldLayoutId id="2147484684" r:id="rId23"/>
    <p:sldLayoutId id="2147484685" r:id="rId24"/>
    <p:sldLayoutId id="2147484686" r:id="rId25"/>
    <p:sldLayoutId id="2147484687" r:id="rId26"/>
    <p:sldLayoutId id="2147484688" r:id="rId27"/>
    <p:sldLayoutId id="2147484689" r:id="rId28"/>
    <p:sldLayoutId id="2147484690" r:id="rId29"/>
  </p:sldLayoutIdLst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2660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7" r:id="rId1"/>
    <p:sldLayoutId id="2147484018" r:id="rId2"/>
    <p:sldLayoutId id="2147484019" r:id="rId3"/>
    <p:sldLayoutId id="2147484020" r:id="rId4"/>
    <p:sldLayoutId id="2147484021" r:id="rId5"/>
    <p:sldLayoutId id="2147484022" r:id="rId6"/>
    <p:sldLayoutId id="2147484023" r:id="rId7"/>
    <p:sldLayoutId id="2147484024" r:id="rId8"/>
    <p:sldLayoutId id="2147484025" r:id="rId9"/>
    <p:sldLayoutId id="2147484026" r:id="rId10"/>
    <p:sldLayoutId id="2147484027" r:id="rId11"/>
    <p:sldLayoutId id="2147484028" r:id="rId12"/>
    <p:sldLayoutId id="2147484029" r:id="rId13"/>
    <p:sldLayoutId id="2147484030" r:id="rId14"/>
    <p:sldLayoutId id="2147484031" r:id="rId15"/>
    <p:sldLayoutId id="2147484032" r:id="rId16"/>
    <p:sldLayoutId id="2147484033" r:id="rId17"/>
    <p:sldLayoutId id="2147484034" r:id="rId18"/>
    <p:sldLayoutId id="2147484035" r:id="rId19"/>
    <p:sldLayoutId id="2147484036" r:id="rId20"/>
    <p:sldLayoutId id="2147484037" r:id="rId21"/>
    <p:sldLayoutId id="2147484038" r:id="rId22"/>
    <p:sldLayoutId id="2147484039" r:id="rId23"/>
    <p:sldLayoutId id="2147484040" r:id="rId24"/>
    <p:sldLayoutId id="2147484041" r:id="rId25"/>
    <p:sldLayoutId id="2147484042" r:id="rId26"/>
    <p:sldLayoutId id="2147484043" r:id="rId27"/>
    <p:sldLayoutId id="2147484044" r:id="rId2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913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2" r:id="rId1"/>
    <p:sldLayoutId id="2147484693" r:id="rId2"/>
    <p:sldLayoutId id="2147484694" r:id="rId3"/>
    <p:sldLayoutId id="2147484695" r:id="rId4"/>
    <p:sldLayoutId id="2147484696" r:id="rId5"/>
    <p:sldLayoutId id="2147484697" r:id="rId6"/>
    <p:sldLayoutId id="2147484698" r:id="rId7"/>
    <p:sldLayoutId id="2147484699" r:id="rId8"/>
    <p:sldLayoutId id="2147484700" r:id="rId9"/>
    <p:sldLayoutId id="2147484701" r:id="rId10"/>
    <p:sldLayoutId id="2147484702" r:id="rId11"/>
    <p:sldLayoutId id="2147484703" r:id="rId12"/>
    <p:sldLayoutId id="2147484704" r:id="rId13"/>
    <p:sldLayoutId id="2147484705" r:id="rId14"/>
    <p:sldLayoutId id="2147484706" r:id="rId15"/>
    <p:sldLayoutId id="2147484707" r:id="rId16"/>
    <p:sldLayoutId id="2147484708" r:id="rId17"/>
    <p:sldLayoutId id="2147484709" r:id="rId18"/>
    <p:sldLayoutId id="2147484710" r:id="rId19"/>
    <p:sldLayoutId id="2147484711" r:id="rId20"/>
    <p:sldLayoutId id="2147484712" r:id="rId21"/>
    <p:sldLayoutId id="2147484713" r:id="rId22"/>
    <p:sldLayoutId id="2147484714" r:id="rId23"/>
    <p:sldLayoutId id="2147484715" r:id="rId24"/>
    <p:sldLayoutId id="2147484716" r:id="rId25"/>
    <p:sldLayoutId id="2147484717" r:id="rId26"/>
    <p:sldLayoutId id="2147484718" r:id="rId27"/>
    <p:sldLayoutId id="2147484719" r:id="rId28"/>
    <p:sldLayoutId id="2147484720" r:id="rId29"/>
    <p:sldLayoutId id="2147484721" r:id="rId30"/>
    <p:sldLayoutId id="2147484722" r:id="rId31"/>
    <p:sldLayoutId id="2147484723" r:id="rId32"/>
    <p:sldLayoutId id="2147484724" r:id="rId33"/>
    <p:sldLayoutId id="2147484725" r:id="rId34"/>
    <p:sldLayoutId id="2147484726" r:id="rId35"/>
    <p:sldLayoutId id="2147484727" r:id="rId36"/>
    <p:sldLayoutId id="2147484728" r:id="rId37"/>
    <p:sldLayoutId id="2147484729" r:id="rId38"/>
    <p:sldLayoutId id="2147484730" r:id="rId39"/>
    <p:sldLayoutId id="2147484731" r:id="rId40"/>
    <p:sldLayoutId id="2147484732" r:id="rId41"/>
    <p:sldLayoutId id="2147484733" r:id="rId42"/>
    <p:sldLayoutId id="2147484734" r:id="rId43"/>
    <p:sldLayoutId id="2147484735" r:id="rId44"/>
    <p:sldLayoutId id="2147484736" r:id="rId45"/>
    <p:sldLayoutId id="2147484737" r:id="rId46"/>
    <p:sldLayoutId id="2147484738" r:id="rId47"/>
    <p:sldLayoutId id="2147484739" r:id="rId4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46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2" name="think-cell Slide" r:id="rId47" imgW="381" imgH="286" progId="TCLayout.ActiveDocument.1">
                  <p:embed/>
                </p:oleObj>
              </mc:Choice>
              <mc:Fallback>
                <p:oleObj name="think-cell Slide" r:id="rId47" imgW="381" imgH="28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802383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/>
          <p:cNvSpPr>
            <a:spLocks noChangeArrowheads="1"/>
          </p:cNvSpPr>
          <p:nvPr/>
        </p:nvSpPr>
        <p:spPr bwMode="ltGray">
          <a:xfrm>
            <a:off x="8515169" y="4919454"/>
            <a:ext cx="21895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Arial"/>
              <a:ea typeface="ＭＳ Ｐゴシック" pitchFamily="34" charset="-128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5286376" y="4917741"/>
            <a:ext cx="31677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pitchFamily="34" charset="-128"/>
                <a:cs typeface="CiscoSans Thin"/>
              </a:rPr>
              <a:t>© 2017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2491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  <p:sldLayoutId id="2147484060" r:id="rId15"/>
    <p:sldLayoutId id="2147484061" r:id="rId16"/>
    <p:sldLayoutId id="2147484062" r:id="rId17"/>
    <p:sldLayoutId id="2147484063" r:id="rId18"/>
    <p:sldLayoutId id="2147484064" r:id="rId19"/>
    <p:sldLayoutId id="2147484065" r:id="rId20"/>
    <p:sldLayoutId id="2147484066" r:id="rId21"/>
    <p:sldLayoutId id="2147484067" r:id="rId22"/>
    <p:sldLayoutId id="2147484068" r:id="rId23"/>
    <p:sldLayoutId id="2147484069" r:id="rId24"/>
    <p:sldLayoutId id="2147484070" r:id="rId25"/>
    <p:sldLayoutId id="2147484071" r:id="rId26"/>
    <p:sldLayoutId id="2147484072" r:id="rId27"/>
    <p:sldLayoutId id="2147484073" r:id="rId28"/>
    <p:sldLayoutId id="2147484074" r:id="rId29"/>
    <p:sldLayoutId id="2147484075" r:id="rId30"/>
    <p:sldLayoutId id="2147484076" r:id="rId31"/>
    <p:sldLayoutId id="2147484077" r:id="rId32"/>
    <p:sldLayoutId id="2147484078" r:id="rId33"/>
    <p:sldLayoutId id="2147484079" r:id="rId34"/>
    <p:sldLayoutId id="2147484080" r:id="rId35"/>
    <p:sldLayoutId id="2147484081" r:id="rId36"/>
    <p:sldLayoutId id="2147484082" r:id="rId37"/>
    <p:sldLayoutId id="2147484083" r:id="rId38"/>
    <p:sldLayoutId id="2147484084" r:id="rId39"/>
    <p:sldLayoutId id="2147484085" r:id="rId40"/>
    <p:sldLayoutId id="2147484086" r:id="rId41"/>
    <p:sldLayoutId id="2147484087" r:id="rId42"/>
    <p:sldLayoutId id="2147484088" r:id="rId43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0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0998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95" r:id="rId6"/>
    <p:sldLayoutId id="2147484096" r:id="rId7"/>
    <p:sldLayoutId id="2147484097" r:id="rId8"/>
    <p:sldLayoutId id="2147484098" r:id="rId9"/>
    <p:sldLayoutId id="2147484099" r:id="rId10"/>
    <p:sldLayoutId id="2147484100" r:id="rId11"/>
    <p:sldLayoutId id="2147484101" r:id="rId12"/>
    <p:sldLayoutId id="2147484102" r:id="rId13"/>
    <p:sldLayoutId id="2147484103" r:id="rId14"/>
    <p:sldLayoutId id="2147484104" r:id="rId15"/>
    <p:sldLayoutId id="2147484105" r:id="rId16"/>
    <p:sldLayoutId id="2147484106" r:id="rId17"/>
    <p:sldLayoutId id="2147484107" r:id="rId18"/>
    <p:sldLayoutId id="2147484108" r:id="rId19"/>
    <p:sldLayoutId id="2147484109" r:id="rId20"/>
    <p:sldLayoutId id="2147484110" r:id="rId21"/>
    <p:sldLayoutId id="2147484111" r:id="rId22"/>
    <p:sldLayoutId id="2147484112" r:id="rId23"/>
    <p:sldLayoutId id="2147484113" r:id="rId24"/>
    <p:sldLayoutId id="2147484114" r:id="rId25"/>
    <p:sldLayoutId id="2147484115" r:id="rId26"/>
    <p:sldLayoutId id="2147484116" r:id="rId27"/>
    <p:sldLayoutId id="2147484117" r:id="rId2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5728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  <p:sldLayoutId id="2147484122" r:id="rId4"/>
    <p:sldLayoutId id="2147484123" r:id="rId5"/>
    <p:sldLayoutId id="2147484124" r:id="rId6"/>
    <p:sldLayoutId id="2147484125" r:id="rId7"/>
    <p:sldLayoutId id="2147484126" r:id="rId8"/>
    <p:sldLayoutId id="2147484127" r:id="rId9"/>
    <p:sldLayoutId id="2147484128" r:id="rId10"/>
    <p:sldLayoutId id="2147484129" r:id="rId11"/>
    <p:sldLayoutId id="2147484130" r:id="rId12"/>
    <p:sldLayoutId id="2147484131" r:id="rId13"/>
    <p:sldLayoutId id="2147484132" r:id="rId14"/>
    <p:sldLayoutId id="2147484133" r:id="rId15"/>
    <p:sldLayoutId id="2147484134" r:id="rId16"/>
    <p:sldLayoutId id="2147484135" r:id="rId17"/>
    <p:sldLayoutId id="2147484136" r:id="rId18"/>
    <p:sldLayoutId id="2147484137" r:id="rId19"/>
    <p:sldLayoutId id="2147484138" r:id="rId20"/>
    <p:sldLayoutId id="2147484139" r:id="rId21"/>
    <p:sldLayoutId id="2147484140" r:id="rId22"/>
    <p:sldLayoutId id="2147484141" r:id="rId23"/>
    <p:sldLayoutId id="2147484142" r:id="rId24"/>
    <p:sldLayoutId id="2147484143" r:id="rId25"/>
    <p:sldLayoutId id="2147484144" r:id="rId26"/>
    <p:sldLayoutId id="2147484145" r:id="rId27"/>
    <p:sldLayoutId id="2147484146" r:id="rId2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207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8" r:id="rId1"/>
    <p:sldLayoutId id="2147484149" r:id="rId2"/>
    <p:sldLayoutId id="2147484150" r:id="rId3"/>
    <p:sldLayoutId id="2147484151" r:id="rId4"/>
    <p:sldLayoutId id="2147484152" r:id="rId5"/>
    <p:sldLayoutId id="2147484153" r:id="rId6"/>
    <p:sldLayoutId id="2147484154" r:id="rId7"/>
    <p:sldLayoutId id="2147484155" r:id="rId8"/>
    <p:sldLayoutId id="2147484156" r:id="rId9"/>
    <p:sldLayoutId id="2147484157" r:id="rId10"/>
    <p:sldLayoutId id="2147484158" r:id="rId11"/>
    <p:sldLayoutId id="2147484159" r:id="rId12"/>
    <p:sldLayoutId id="2147484160" r:id="rId13"/>
    <p:sldLayoutId id="2147484161" r:id="rId14"/>
    <p:sldLayoutId id="2147484162" r:id="rId15"/>
    <p:sldLayoutId id="2147484163" r:id="rId16"/>
    <p:sldLayoutId id="2147484164" r:id="rId17"/>
    <p:sldLayoutId id="2147484165" r:id="rId18"/>
    <p:sldLayoutId id="2147484166" r:id="rId19"/>
    <p:sldLayoutId id="2147484167" r:id="rId20"/>
    <p:sldLayoutId id="2147484168" r:id="rId21"/>
    <p:sldLayoutId id="2147484169" r:id="rId22"/>
    <p:sldLayoutId id="2147484170" r:id="rId23"/>
    <p:sldLayoutId id="2147484171" r:id="rId24"/>
    <p:sldLayoutId id="2147484172" r:id="rId25"/>
    <p:sldLayoutId id="2147484173" r:id="rId26"/>
    <p:sldLayoutId id="2147484174" r:id="rId27"/>
    <p:sldLayoutId id="2147484175" r:id="rId2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389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  <p:sldLayoutId id="2147484189" r:id="rId13"/>
    <p:sldLayoutId id="2147484190" r:id="rId14"/>
    <p:sldLayoutId id="2147484191" r:id="rId15"/>
    <p:sldLayoutId id="2147484192" r:id="rId16"/>
    <p:sldLayoutId id="2147484193" r:id="rId17"/>
    <p:sldLayoutId id="2147484194" r:id="rId18"/>
    <p:sldLayoutId id="2147484195" r:id="rId19"/>
    <p:sldLayoutId id="2147484196" r:id="rId20"/>
    <p:sldLayoutId id="2147484197" r:id="rId21"/>
    <p:sldLayoutId id="2147484198" r:id="rId22"/>
    <p:sldLayoutId id="2147484199" r:id="rId23"/>
    <p:sldLayoutId id="2147484200" r:id="rId24"/>
    <p:sldLayoutId id="2147484201" r:id="rId25"/>
    <p:sldLayoutId id="2147484202" r:id="rId26"/>
    <p:sldLayoutId id="2147484203" r:id="rId27"/>
    <p:sldLayoutId id="2147484204" r:id="rId2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Calibri"/>
                <a:ea typeface=""/>
                <a:cs typeface="Calibri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alibri"/>
              <a:ea typeface=""/>
              <a:cs typeface="Calibri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38376" y="4793941"/>
            <a:ext cx="2793722" cy="169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000000">
                    <a:alpha val="25000"/>
                  </a:srgbClr>
                </a:solidFill>
                <a:latin typeface="Calibri"/>
                <a:ea typeface=""/>
                <a:cs typeface="Calibri"/>
              </a:rPr>
              <a:t>© 2016  Cisco and/or its affiliates. All rights reserved.   Cisco Confidential</a:t>
            </a:r>
            <a:endParaRPr lang="en-US" sz="700" dirty="0">
              <a:solidFill>
                <a:srgbClr val="000000">
                  <a:alpha val="25000"/>
                </a:srgbClr>
              </a:solidFill>
              <a:latin typeface="Calibri"/>
              <a:ea typeface=""/>
              <a:cs typeface="Calibri"/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/>
        </p:nvPicPr>
        <p:blipFill>
          <a:blip r:embed="rId42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1" y="4630791"/>
            <a:ext cx="539750" cy="333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259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  <p:sldLayoutId id="2147484225" r:id="rId20"/>
    <p:sldLayoutId id="2147484226" r:id="rId21"/>
    <p:sldLayoutId id="2147484227" r:id="rId22"/>
    <p:sldLayoutId id="2147484228" r:id="rId23"/>
    <p:sldLayoutId id="2147484229" r:id="rId24"/>
    <p:sldLayoutId id="2147484230" r:id="rId25"/>
    <p:sldLayoutId id="2147484231" r:id="rId26"/>
    <p:sldLayoutId id="2147484232" r:id="rId27"/>
    <p:sldLayoutId id="2147484233" r:id="rId28"/>
    <p:sldLayoutId id="2147484234" r:id="rId29"/>
    <p:sldLayoutId id="2147484235" r:id="rId30"/>
    <p:sldLayoutId id="2147484236" r:id="rId31"/>
    <p:sldLayoutId id="2147484237" r:id="rId32"/>
    <p:sldLayoutId id="2147484238" r:id="rId33"/>
    <p:sldLayoutId id="2147484239" r:id="rId34"/>
    <p:sldLayoutId id="2147484240" r:id="rId35"/>
    <p:sldLayoutId id="2147484241" r:id="rId36"/>
    <p:sldLayoutId id="2147484242" r:id="rId37"/>
    <p:sldLayoutId id="2147484243" r:id="rId38"/>
    <p:sldLayoutId id="2147484244" r:id="rId39"/>
    <p:sldLayoutId id="2147484245" r:id="rId40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000" kern="1200" dirty="0">
          <a:solidFill>
            <a:srgbClr val="011B4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622279" y="4809330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latin typeface="Calibri"/>
                <a:ea typeface=""/>
                <a:cs typeface="Calibri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Calibri"/>
              <a:ea typeface=""/>
              <a:cs typeface="Calibri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38376" y="4793941"/>
            <a:ext cx="2793722" cy="169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dirty="0" smtClean="0">
                <a:solidFill>
                  <a:srgbClr val="000000">
                    <a:alpha val="25000"/>
                  </a:srgbClr>
                </a:solidFill>
                <a:latin typeface="Calibri"/>
                <a:ea typeface=""/>
                <a:cs typeface="Calibri"/>
              </a:rPr>
              <a:t>© 2016  Cisco and/or its affiliates. All rights reserved.   Cisco Confidential</a:t>
            </a:r>
            <a:endParaRPr lang="en-US" sz="700" dirty="0">
              <a:solidFill>
                <a:srgbClr val="000000">
                  <a:alpha val="25000"/>
                </a:srgbClr>
              </a:solidFill>
              <a:latin typeface="Calibri"/>
              <a:ea typeface=""/>
              <a:cs typeface="Calibri"/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/>
        </p:nvPicPr>
        <p:blipFill>
          <a:blip r:embed="rId42">
            <a:alphaModFix amt="4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1" y="4630791"/>
            <a:ext cx="539750" cy="333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9019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7" r:id="rId1"/>
    <p:sldLayoutId id="2147484248" r:id="rId2"/>
    <p:sldLayoutId id="2147484249" r:id="rId3"/>
    <p:sldLayoutId id="2147484250" r:id="rId4"/>
    <p:sldLayoutId id="2147484251" r:id="rId5"/>
    <p:sldLayoutId id="2147484252" r:id="rId6"/>
    <p:sldLayoutId id="2147484253" r:id="rId7"/>
    <p:sldLayoutId id="2147484254" r:id="rId8"/>
    <p:sldLayoutId id="2147484255" r:id="rId9"/>
    <p:sldLayoutId id="2147484256" r:id="rId10"/>
    <p:sldLayoutId id="2147484257" r:id="rId11"/>
    <p:sldLayoutId id="2147484258" r:id="rId12"/>
    <p:sldLayoutId id="2147484259" r:id="rId13"/>
    <p:sldLayoutId id="2147484260" r:id="rId14"/>
    <p:sldLayoutId id="2147484261" r:id="rId15"/>
    <p:sldLayoutId id="2147484262" r:id="rId16"/>
    <p:sldLayoutId id="2147484263" r:id="rId17"/>
    <p:sldLayoutId id="2147484264" r:id="rId18"/>
    <p:sldLayoutId id="2147484265" r:id="rId19"/>
    <p:sldLayoutId id="2147484266" r:id="rId20"/>
    <p:sldLayoutId id="2147484267" r:id="rId21"/>
    <p:sldLayoutId id="2147484268" r:id="rId22"/>
    <p:sldLayoutId id="2147484269" r:id="rId23"/>
    <p:sldLayoutId id="2147484270" r:id="rId24"/>
    <p:sldLayoutId id="2147484271" r:id="rId25"/>
    <p:sldLayoutId id="2147484272" r:id="rId26"/>
    <p:sldLayoutId id="2147484273" r:id="rId27"/>
    <p:sldLayoutId id="2147484274" r:id="rId28"/>
    <p:sldLayoutId id="2147484275" r:id="rId29"/>
    <p:sldLayoutId id="2147484276" r:id="rId30"/>
    <p:sldLayoutId id="2147484277" r:id="rId31"/>
    <p:sldLayoutId id="2147484278" r:id="rId32"/>
    <p:sldLayoutId id="2147484279" r:id="rId33"/>
    <p:sldLayoutId id="2147484280" r:id="rId34"/>
    <p:sldLayoutId id="2147484281" r:id="rId35"/>
    <p:sldLayoutId id="2147484282" r:id="rId36"/>
    <p:sldLayoutId id="2147484283" r:id="rId37"/>
    <p:sldLayoutId id="2147484284" r:id="rId38"/>
    <p:sldLayoutId id="2147484285" r:id="rId39"/>
    <p:sldLayoutId id="2147484286" r:id="rId40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000" kern="1200" dirty="0">
          <a:solidFill>
            <a:srgbClr val="011B4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4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46.xml"/><Relationship Id="rId4" Type="http://schemas.openxmlformats.org/officeDocument/2006/relationships/image" Target="../media/image29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tags" Target="../tags/tag16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image" Target="../media/image26.emf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notesSlide" Target="../notesSlides/notesSlide15.xml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slideLayout" Target="../slideLayouts/slideLayout446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6.emf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4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tiff"/><Relationship Id="rId5" Type="http://schemas.openxmlformats.org/officeDocument/2006/relationships/image" Target="../media/image21.tiff"/><Relationship Id="rId4" Type="http://schemas.openxmlformats.org/officeDocument/2006/relationships/image" Target="../media/image20.tif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4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32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cisco.com/go/securityservices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37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3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6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December 2017</a:t>
            </a:r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ctrTitle"/>
          </p:nvPr>
        </p:nvSpPr>
        <p:spPr>
          <a:xfrm>
            <a:off x="447630" y="3165271"/>
            <a:ext cx="8340152" cy="644730"/>
          </a:xfrm>
        </p:spPr>
        <p:txBody>
          <a:bodyPr/>
          <a:lstStyle/>
          <a:p>
            <a:r>
              <a:rPr lang="en-US" dirty="0"/>
              <a:t>Security as a Foundation for SP </a:t>
            </a:r>
            <a:br>
              <a:rPr lang="en-US" dirty="0"/>
            </a:br>
            <a:r>
              <a:rPr lang="en-US" dirty="0"/>
              <a:t>Digital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16706591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/>
          <p:cNvSpPr/>
          <p:nvPr/>
        </p:nvSpPr>
        <p:spPr>
          <a:xfrm flipV="1">
            <a:off x="2956204" y="1453621"/>
            <a:ext cx="1103216" cy="45719"/>
          </a:xfrm>
          <a:prstGeom prst="rect">
            <a:avLst/>
          </a:prstGeom>
          <a:solidFill>
            <a:schemeClr val="bg1">
              <a:lumMod val="50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00" b="1" kern="600" dirty="0" smtClean="0">
              <a:solidFill>
                <a:srgbClr val="005073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123" name="Rounded Rectangle 122"/>
          <p:cNvSpPr/>
          <p:nvPr/>
        </p:nvSpPr>
        <p:spPr>
          <a:xfrm>
            <a:off x="20917" y="1094645"/>
            <a:ext cx="9143408" cy="3522514"/>
          </a:xfrm>
          <a:prstGeom prst="roundRect">
            <a:avLst>
              <a:gd name="adj" fmla="val 834"/>
            </a:avLst>
          </a:prstGeom>
          <a:solidFill>
            <a:srgbClr val="E8EBF1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14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srgbClr val="FFFFFF"/>
              </a:solidFill>
              <a:latin typeface="Arial"/>
              <a:ea typeface=""/>
              <a:cs typeface=""/>
            </a:endParaRPr>
          </a:p>
        </p:txBody>
      </p:sp>
      <p:sp>
        <p:nvSpPr>
          <p:cNvPr id="23" name="Round Same Side Corner Rectangle 22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5966" y="360378"/>
            <a:ext cx="7440862" cy="73183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000" dirty="0" smtClean="0"/>
              <a:t>Cisco Security Service’s approach</a:t>
            </a:r>
            <a:endParaRPr lang="en-US" sz="1800" dirty="0"/>
          </a:p>
        </p:txBody>
      </p:sp>
      <p:grpSp>
        <p:nvGrpSpPr>
          <p:cNvPr id="3" name="Group 2"/>
          <p:cNvGrpSpPr/>
          <p:nvPr/>
        </p:nvGrpSpPr>
        <p:grpSpPr>
          <a:xfrm>
            <a:off x="469260" y="1237780"/>
            <a:ext cx="1281542" cy="261098"/>
            <a:chOff x="469260" y="1237780"/>
            <a:chExt cx="1281542" cy="261098"/>
          </a:xfrm>
        </p:grpSpPr>
        <p:sp>
          <p:nvSpPr>
            <p:cNvPr id="125" name="Rectangle 124"/>
            <p:cNvSpPr/>
            <p:nvPr/>
          </p:nvSpPr>
          <p:spPr>
            <a:xfrm flipV="1">
              <a:off x="561391" y="1462302"/>
              <a:ext cx="1097280" cy="3657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000" b="1" kern="600" dirty="0" smtClean="0">
                <a:solidFill>
                  <a:srgbClr val="005073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469260" y="1237780"/>
              <a:ext cx="128154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kern="600" dirty="0" smtClean="0">
                  <a:solidFill>
                    <a:schemeClr val="accent1"/>
                  </a:solidFill>
                  <a:latin typeface="CiscoSans" charset="0"/>
                  <a:ea typeface="CiscoSans" charset="0"/>
                  <a:cs typeface="CiscoSans" charset="0"/>
                </a:rPr>
                <a:t>People</a:t>
              </a:r>
              <a:endParaRPr lang="en-US" sz="1000" b="1" kern="600" dirty="0">
                <a:solidFill>
                  <a:schemeClr val="accent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</p:grpSp>
      <p:sp>
        <p:nvSpPr>
          <p:cNvPr id="135" name="Rectangle 134"/>
          <p:cNvSpPr/>
          <p:nvPr/>
        </p:nvSpPr>
        <p:spPr>
          <a:xfrm flipV="1">
            <a:off x="1814035" y="1453157"/>
            <a:ext cx="3385031" cy="45719"/>
          </a:xfrm>
          <a:prstGeom prst="rect">
            <a:avLst/>
          </a:prstGeom>
          <a:solidFill>
            <a:schemeClr val="bg1">
              <a:lumMod val="50000"/>
            </a:schemeClr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00" b="1" kern="600" dirty="0" smtClean="0">
              <a:solidFill>
                <a:srgbClr val="005073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1889154" y="1237780"/>
            <a:ext cx="31897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kern="600" dirty="0" smtClean="0">
                <a:solidFill>
                  <a:schemeClr val="accent2"/>
                </a:solidFill>
                <a:latin typeface="CiscoSans" charset="0"/>
                <a:ea typeface="CiscoSans" charset="0"/>
                <a:cs typeface="CiscoSans" charset="0"/>
              </a:rPr>
              <a:t>Process</a:t>
            </a:r>
            <a:endParaRPr lang="en-US" sz="1000" b="1" kern="600" dirty="0">
              <a:solidFill>
                <a:schemeClr val="accent2"/>
              </a:solidFill>
              <a:latin typeface="CiscoSans" charset="0"/>
              <a:ea typeface="CiscoSans" charset="0"/>
              <a:cs typeface="CiscoSans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311776" y="1237780"/>
            <a:ext cx="3428339" cy="261097"/>
            <a:chOff x="5311776" y="1237780"/>
            <a:chExt cx="3428339" cy="261097"/>
          </a:xfrm>
        </p:grpSpPr>
        <p:sp>
          <p:nvSpPr>
            <p:cNvPr id="141" name="Rectangle 140"/>
            <p:cNvSpPr/>
            <p:nvPr/>
          </p:nvSpPr>
          <p:spPr>
            <a:xfrm flipV="1">
              <a:off x="5344668" y="1453158"/>
              <a:ext cx="3395447" cy="4571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000" b="1" kern="600" dirty="0" smtClean="0">
                <a:solidFill>
                  <a:srgbClr val="005073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5311776" y="1237780"/>
              <a:ext cx="31897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kern="600" dirty="0" smtClean="0">
                  <a:solidFill>
                    <a:schemeClr val="accent5"/>
                  </a:solidFill>
                  <a:latin typeface="CiscoSans" charset="0"/>
                  <a:ea typeface="CiscoSans" charset="0"/>
                  <a:cs typeface="CiscoSans" charset="0"/>
                </a:rPr>
                <a:t>Technology</a:t>
              </a:r>
              <a:endParaRPr lang="en-US" sz="1000" b="1" kern="600" dirty="0">
                <a:solidFill>
                  <a:schemeClr val="accent5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61391" y="1590387"/>
            <a:ext cx="1103227" cy="2917877"/>
            <a:chOff x="561391" y="1590387"/>
            <a:chExt cx="1103227" cy="2917877"/>
          </a:xfrm>
        </p:grpSpPr>
        <p:sp>
          <p:nvSpPr>
            <p:cNvPr id="124" name="Rectangle 123"/>
            <p:cNvSpPr/>
            <p:nvPr/>
          </p:nvSpPr>
          <p:spPr>
            <a:xfrm>
              <a:off x="561391" y="1590387"/>
              <a:ext cx="1097280" cy="36576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 smtClean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Executive Management</a:t>
              </a:r>
            </a:p>
          </p:txBody>
        </p:sp>
        <p:sp>
          <p:nvSpPr>
            <p:cNvPr id="193" name="Rectangle 192"/>
            <p:cNvSpPr/>
            <p:nvPr/>
          </p:nvSpPr>
          <p:spPr>
            <a:xfrm>
              <a:off x="566765" y="2015617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 smtClean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Responsibility, </a:t>
              </a:r>
              <a:r>
                <a:rPr lang="en-US" sz="700" b="1" kern="600" dirty="0" err="1" smtClean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Charter&amp;Governance</a:t>
              </a:r>
              <a:endParaRPr lang="en-US" sz="700" b="1" kern="600" dirty="0" smtClean="0">
                <a:solidFill>
                  <a:srgbClr val="FFFFFF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195" name="Rectangle 194"/>
            <p:cNvSpPr/>
            <p:nvPr/>
          </p:nvSpPr>
          <p:spPr>
            <a:xfrm>
              <a:off x="566765" y="2426314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Metrics  &amp; Reporting</a:t>
              </a:r>
            </a:p>
          </p:txBody>
        </p:sp>
        <p:sp>
          <p:nvSpPr>
            <p:cNvPr id="198" name="Rectangle 197"/>
            <p:cNvSpPr/>
            <p:nvPr/>
          </p:nvSpPr>
          <p:spPr>
            <a:xfrm>
              <a:off x="566192" y="3709963"/>
              <a:ext cx="1098426" cy="37490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Physical Infrastructure Security</a:t>
              </a:r>
            </a:p>
          </p:txBody>
        </p:sp>
        <p:sp>
          <p:nvSpPr>
            <p:cNvPr id="200" name="Rectangle 199"/>
            <p:cNvSpPr/>
            <p:nvPr/>
          </p:nvSpPr>
          <p:spPr>
            <a:xfrm>
              <a:off x="566765" y="2849711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Architecture Strategy</a:t>
              </a:r>
            </a:p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&amp; Management</a:t>
              </a:r>
            </a:p>
          </p:txBody>
        </p:sp>
        <p:sp>
          <p:nvSpPr>
            <p:cNvPr id="206" name="Rectangle 205"/>
            <p:cNvSpPr/>
            <p:nvPr/>
          </p:nvSpPr>
          <p:spPr>
            <a:xfrm>
              <a:off x="566765" y="3273586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Education/ / </a:t>
              </a:r>
            </a:p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Awareness Training</a:t>
              </a:r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561391" y="4133360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Crisis  Management     Support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344669" y="1590387"/>
            <a:ext cx="3395447" cy="2509519"/>
            <a:chOff x="5344669" y="1590387"/>
            <a:chExt cx="3395447" cy="2509519"/>
          </a:xfrm>
        </p:grpSpPr>
        <p:sp>
          <p:nvSpPr>
            <p:cNvPr id="137" name="Rectangle 136"/>
            <p:cNvSpPr/>
            <p:nvPr/>
          </p:nvSpPr>
          <p:spPr>
            <a:xfrm>
              <a:off x="5344669" y="1590387"/>
              <a:ext cx="1097280" cy="36576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e</a:t>
              </a:r>
            </a:p>
            <a:p>
              <a:pPr algn="ctr"/>
              <a:r>
                <a:rPr lang="en-US" sz="9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ystems</a:t>
              </a: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7642836" y="1590387"/>
              <a:ext cx="1097280" cy="36576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e Applications</a:t>
              </a:r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6484560" y="1590387"/>
              <a:ext cx="1097280" cy="36576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e Network</a:t>
              </a:r>
            </a:p>
          </p:txBody>
        </p:sp>
        <p:sp>
          <p:nvSpPr>
            <p:cNvPr id="194" name="Rectangle 193"/>
            <p:cNvSpPr/>
            <p:nvPr/>
          </p:nvSpPr>
          <p:spPr>
            <a:xfrm>
              <a:off x="6484560" y="2015304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e Network Design and Architecture</a:t>
              </a: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6484560" y="2431310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Enclave Management</a:t>
              </a:r>
            </a:p>
          </p:txBody>
        </p:sp>
        <p:sp>
          <p:nvSpPr>
            <p:cNvPr id="199" name="Rectangle 198"/>
            <p:cNvSpPr/>
            <p:nvPr/>
          </p:nvSpPr>
          <p:spPr>
            <a:xfrm>
              <a:off x="6484560" y="326910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Network Intrusion Defenses &amp; Clean Pipe</a:t>
              </a: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5367934" y="2421352"/>
              <a:ext cx="1050751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e Access Provisioning Capability</a:t>
              </a: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7642836" y="2423499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Data Privacy and Protection</a:t>
              </a:r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5367934" y="2845227"/>
              <a:ext cx="1050751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Customer/Subscriber Access Management</a:t>
              </a: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7642836" y="326546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Customer Software and App Security</a:t>
              </a:r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6484560" y="2839564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Virtualized Network &amp; Cloud Environments</a:t>
              </a:r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5367934" y="3269102"/>
              <a:ext cx="1050751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Backup and  </a:t>
              </a:r>
            </a:p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Recovery </a:t>
              </a:r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7642836" y="372500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 smtClean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Data Exfiltration     Defense</a:t>
              </a:r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5367934" y="3709650"/>
              <a:ext cx="1050751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Encryption / </a:t>
              </a:r>
            </a:p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Data  </a:t>
              </a:r>
            </a:p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Mask</a:t>
              </a:r>
              <a:r>
                <a:rPr lang="en-US" sz="700" b="1" kern="600" dirty="0" smtClean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ing</a:t>
              </a:r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7642836" y="2849398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OSS and BSS Security</a:t>
              </a: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6484560" y="3718498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e Orchestration &amp; Automation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813535" y="1590387"/>
            <a:ext cx="3385532" cy="2926413"/>
            <a:chOff x="1785254" y="1590387"/>
            <a:chExt cx="3385532" cy="2926413"/>
          </a:xfrm>
        </p:grpSpPr>
        <p:sp>
          <p:nvSpPr>
            <p:cNvPr id="127" name="Rectangle 126"/>
            <p:cNvSpPr/>
            <p:nvPr/>
          </p:nvSpPr>
          <p:spPr>
            <a:xfrm>
              <a:off x="1785254" y="1590387"/>
              <a:ext cx="1097280" cy="36576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Intelligence</a:t>
              </a:r>
            </a:p>
          </p:txBody>
        </p:sp>
        <p:sp>
          <p:nvSpPr>
            <p:cNvPr id="133" name="Rectangle 132"/>
            <p:cNvSpPr/>
            <p:nvPr/>
          </p:nvSpPr>
          <p:spPr>
            <a:xfrm>
              <a:off x="2935302" y="1590387"/>
              <a:ext cx="1097280" cy="36576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Risk Management</a:t>
              </a: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4073506" y="1590387"/>
              <a:ext cx="1097280" cy="36576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Assurance</a:t>
              </a:r>
            </a:p>
          </p:txBody>
        </p:sp>
        <p:sp>
          <p:nvSpPr>
            <p:cNvPr id="196" name="Rectangle 195"/>
            <p:cNvSpPr/>
            <p:nvPr/>
          </p:nvSpPr>
          <p:spPr>
            <a:xfrm>
              <a:off x="2935302" y="201280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Resilience Risk Management Program</a:t>
              </a:r>
            </a:p>
          </p:txBody>
        </p:sp>
        <p:sp>
          <p:nvSpPr>
            <p:cNvPr id="201" name="Rectangle 200"/>
            <p:cNvSpPr/>
            <p:nvPr/>
          </p:nvSpPr>
          <p:spPr>
            <a:xfrm>
              <a:off x="2935302" y="2423499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Incident   Response and DDOS</a:t>
              </a: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1785254" y="241711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Privileged Identity and Access Management</a:t>
              </a:r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4073506" y="242135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Regulatory &amp; Internal   Compliance </a:t>
              </a:r>
            </a:p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Management</a:t>
              </a: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2935302" y="2860073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Business Continuity &amp; Disaster Recovery</a:t>
              </a: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1785254" y="285590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Activity and Infrastructure Log     Management</a:t>
              </a:r>
            </a:p>
          </p:txBody>
        </p:sp>
        <p:sp>
          <p:nvSpPr>
            <p:cNvPr id="211" name="Rectangle 210"/>
            <p:cNvSpPr/>
            <p:nvPr/>
          </p:nvSpPr>
          <p:spPr>
            <a:xfrm>
              <a:off x="2935302" y="3714327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Configuration, Change &amp; Patch Management</a:t>
              </a: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1785254" y="3281924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Threat / and Fraud Activity  Analytics</a:t>
              </a:r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4073506" y="285590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Vendor, Partner, &amp; Virtual Operator   Management</a:t>
              </a:r>
            </a:p>
          </p:txBody>
        </p:sp>
        <p:sp>
          <p:nvSpPr>
            <p:cNvPr id="216" name="Rectangle 215"/>
            <p:cNvSpPr/>
            <p:nvPr/>
          </p:nvSpPr>
          <p:spPr>
            <a:xfrm>
              <a:off x="2935302" y="329045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Asset Classification and Management</a:t>
              </a: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1785254" y="3718498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Vulnerability    Management</a:t>
              </a:r>
            </a:p>
          </p:txBody>
        </p:sp>
        <p:sp>
          <p:nvSpPr>
            <p:cNvPr id="218" name="Rectangle 217"/>
            <p:cNvSpPr/>
            <p:nvPr/>
          </p:nvSpPr>
          <p:spPr>
            <a:xfrm>
              <a:off x="2935302" y="4141896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Application Development / Management</a:t>
              </a:r>
            </a:p>
          </p:txBody>
        </p:sp>
        <p:sp>
          <p:nvSpPr>
            <p:cNvPr id="224" name="Rectangle 223"/>
            <p:cNvSpPr/>
            <p:nvPr/>
          </p:nvSpPr>
          <p:spPr>
            <a:xfrm>
              <a:off x="4073506" y="329045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Penetration Testing and Red Teaming</a:t>
              </a:r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4073506" y="3725002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Customer Trust Management</a:t>
              </a:r>
            </a:p>
          </p:txBody>
        </p:sp>
      </p:grpSp>
      <p:pic>
        <p:nvPicPr>
          <p:cNvPr id="61" name="Picture 6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99" y="504018"/>
            <a:ext cx="519060" cy="519060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2958965" y="1591278"/>
            <a:ext cx="1097280" cy="2926413"/>
            <a:chOff x="-330697" y="2261735"/>
            <a:chExt cx="1097280" cy="2926413"/>
          </a:xfrm>
        </p:grpSpPr>
        <p:sp>
          <p:nvSpPr>
            <p:cNvPr id="58" name="Rectangle 57"/>
            <p:cNvSpPr/>
            <p:nvPr/>
          </p:nvSpPr>
          <p:spPr>
            <a:xfrm>
              <a:off x="-330697" y="2261735"/>
              <a:ext cx="1097280" cy="36576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Risk Management</a:t>
              </a: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-330697" y="2684150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Resilience Risk Management Program</a:t>
              </a: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-330697" y="3094847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Security Incident   Response and DDOS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-330697" y="3531421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Business Continuity &amp; Disaster Recovery</a:t>
              </a: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-330697" y="4385675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Configuration, Change &amp; Patch Management</a:t>
              </a: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-330697" y="3961800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Asset Classification and Management</a:t>
              </a: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-330697" y="4813244"/>
              <a:ext cx="1097280" cy="374904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Application Development / Management</a:t>
              </a:r>
            </a:p>
          </p:txBody>
        </p:sp>
      </p:grpSp>
      <p:sp>
        <p:nvSpPr>
          <p:cNvPr id="68" name="Rounded Rectangle 67"/>
          <p:cNvSpPr/>
          <p:nvPr/>
        </p:nvSpPr>
        <p:spPr>
          <a:xfrm>
            <a:off x="-202483" y="1230238"/>
            <a:ext cx="9143408" cy="3522514"/>
          </a:xfrm>
          <a:prstGeom prst="roundRect">
            <a:avLst>
              <a:gd name="adj" fmla="val 834"/>
            </a:avLst>
          </a:prstGeom>
          <a:solidFill>
            <a:srgbClr val="E8EBF1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14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 smtClean="0">
              <a:solidFill>
                <a:srgbClr val="FFFFFF"/>
              </a:solidFill>
              <a:latin typeface="Arial"/>
              <a:ea typeface=""/>
              <a:cs typeface=""/>
            </a:endParaRPr>
          </a:p>
        </p:txBody>
      </p:sp>
      <p:grpSp>
        <p:nvGrpSpPr>
          <p:cNvPr id="69" name="Group 68"/>
          <p:cNvGrpSpPr/>
          <p:nvPr/>
        </p:nvGrpSpPr>
        <p:grpSpPr>
          <a:xfrm>
            <a:off x="3636444" y="1617415"/>
            <a:ext cx="1097280" cy="2875898"/>
            <a:chOff x="2254648" y="1631231"/>
            <a:chExt cx="1097280" cy="2875898"/>
          </a:xfrm>
        </p:grpSpPr>
        <p:sp>
          <p:nvSpPr>
            <p:cNvPr id="70" name="Rectangle 69"/>
            <p:cNvSpPr/>
            <p:nvPr/>
          </p:nvSpPr>
          <p:spPr>
            <a:xfrm>
              <a:off x="2528968" y="2037151"/>
              <a:ext cx="548640" cy="27782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3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254648" y="1631231"/>
              <a:ext cx="1097280" cy="249754"/>
            </a:xfrm>
            <a:prstGeom prst="rect">
              <a:avLst/>
            </a:prstGeom>
            <a:solidFill>
              <a:schemeClr val="tx2"/>
            </a:solidFill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 smtClean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Target State</a:t>
              </a:r>
              <a:endParaRPr lang="en-US" sz="900" b="1" kern="600" dirty="0">
                <a:solidFill>
                  <a:srgbClr val="FFFFFF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2528968" y="2463425"/>
              <a:ext cx="548640" cy="277826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4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2528968" y="2899999"/>
              <a:ext cx="548640" cy="27782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3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528968" y="3334746"/>
              <a:ext cx="548640" cy="27782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3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2528968" y="3781101"/>
              <a:ext cx="548640" cy="27782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3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2528968" y="4229303"/>
              <a:ext cx="548640" cy="27782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3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2233051" y="1617415"/>
            <a:ext cx="1097280" cy="2875898"/>
            <a:chOff x="3714040" y="1631231"/>
            <a:chExt cx="1097280" cy="2875898"/>
          </a:xfrm>
        </p:grpSpPr>
        <p:sp>
          <p:nvSpPr>
            <p:cNvPr id="78" name="Rectangle 77"/>
            <p:cNvSpPr/>
            <p:nvPr/>
          </p:nvSpPr>
          <p:spPr>
            <a:xfrm>
              <a:off x="3714040" y="1631231"/>
              <a:ext cx="1097280" cy="249754"/>
            </a:xfrm>
            <a:prstGeom prst="rect">
              <a:avLst/>
            </a:prstGeom>
            <a:solidFill>
              <a:schemeClr val="tx2"/>
            </a:solidFill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 smtClean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Current State</a:t>
              </a:r>
              <a:endParaRPr lang="en-US" sz="900" b="1" kern="600" dirty="0">
                <a:solidFill>
                  <a:srgbClr val="FFFFFF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3988360" y="2037151"/>
              <a:ext cx="548640" cy="27782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1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3988360" y="2463425"/>
              <a:ext cx="548640" cy="27782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1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3988360" y="2899999"/>
              <a:ext cx="548640" cy="27782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1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3988360" y="3334746"/>
              <a:ext cx="548640" cy="277826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>
                  <a:solidFill>
                    <a:schemeClr val="accent5"/>
                  </a:solidFill>
                  <a:latin typeface="CiscoSans" charset="0"/>
                  <a:ea typeface="CiscoSans" charset="0"/>
                  <a:cs typeface="CiscoSans" charset="0"/>
                </a:rPr>
                <a:t>0</a:t>
              </a: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3988360" y="3781101"/>
              <a:ext cx="548640" cy="27782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1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3988360" y="4229303"/>
              <a:ext cx="548640" cy="27782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2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5039837" y="1617415"/>
            <a:ext cx="1097280" cy="2875898"/>
            <a:chOff x="5207616" y="1631231"/>
            <a:chExt cx="1097280" cy="2875898"/>
          </a:xfrm>
        </p:grpSpPr>
        <p:sp>
          <p:nvSpPr>
            <p:cNvPr id="86" name="Rectangle 85"/>
            <p:cNvSpPr/>
            <p:nvPr/>
          </p:nvSpPr>
          <p:spPr>
            <a:xfrm>
              <a:off x="5207616" y="1631231"/>
              <a:ext cx="1097280" cy="249754"/>
            </a:xfrm>
            <a:prstGeom prst="rect">
              <a:avLst/>
            </a:prstGeom>
            <a:solidFill>
              <a:schemeClr val="tx2"/>
            </a:solidFill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kern="600" dirty="0" smtClean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rPr>
                <a:t>Gaps</a:t>
              </a:r>
              <a:endParaRPr lang="en-US" sz="900" b="1" kern="600" dirty="0">
                <a:solidFill>
                  <a:srgbClr val="FFFFFF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5481936" y="2037151"/>
              <a:ext cx="548640" cy="27782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M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5481936" y="2463425"/>
              <a:ext cx="548640" cy="27782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H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5481936" y="2899999"/>
              <a:ext cx="548640" cy="27782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M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5481936" y="3334746"/>
              <a:ext cx="548640" cy="27782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H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5481936" y="3781101"/>
              <a:ext cx="548640" cy="27782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M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5481936" y="4229303"/>
              <a:ext cx="548640" cy="27782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kern="600" dirty="0" smtClean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rPr>
                <a:t>L</a:t>
              </a:r>
              <a:endParaRPr lang="en-US" sz="1100" b="1" kern="600" dirty="0">
                <a:solidFill>
                  <a:schemeClr val="bg1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7041535" y="1891767"/>
            <a:ext cx="1341864" cy="2089528"/>
            <a:chOff x="7201940" y="1969399"/>
            <a:chExt cx="1341864" cy="2089528"/>
          </a:xfrm>
        </p:grpSpPr>
        <p:grpSp>
          <p:nvGrpSpPr>
            <p:cNvPr id="94" name="Group 93"/>
            <p:cNvGrpSpPr/>
            <p:nvPr/>
          </p:nvGrpSpPr>
          <p:grpSpPr>
            <a:xfrm>
              <a:off x="7201940" y="2254315"/>
              <a:ext cx="1341864" cy="1804612"/>
              <a:chOff x="6847979" y="1871967"/>
              <a:chExt cx="1341864" cy="1804612"/>
            </a:xfrm>
          </p:grpSpPr>
          <p:sp>
            <p:nvSpPr>
              <p:cNvPr id="96" name="Rectangle 95"/>
              <p:cNvSpPr/>
              <p:nvPr/>
            </p:nvSpPr>
            <p:spPr>
              <a:xfrm>
                <a:off x="6847979" y="1871967"/>
                <a:ext cx="793224" cy="298739"/>
              </a:xfrm>
              <a:prstGeom prst="rect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Level 0</a:t>
                </a:r>
              </a:p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Absent</a:t>
                </a:r>
                <a:endPara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6847979" y="2178080"/>
                <a:ext cx="793224" cy="298739"/>
              </a:xfrm>
              <a:prstGeom prst="rect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Level 1</a:t>
                </a:r>
              </a:p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Initial</a:t>
                </a:r>
                <a:endPara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98" name="Rectangle 97"/>
              <p:cNvSpPr/>
              <p:nvPr/>
            </p:nvSpPr>
            <p:spPr>
              <a:xfrm>
                <a:off x="6847979" y="2482531"/>
                <a:ext cx="793224" cy="298739"/>
              </a:xfrm>
              <a:prstGeom prst="rect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Level 2</a:t>
                </a:r>
              </a:p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Repeatable</a:t>
                </a:r>
                <a:endPara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99" name="Rectangle 98"/>
              <p:cNvSpPr/>
              <p:nvPr/>
            </p:nvSpPr>
            <p:spPr>
              <a:xfrm>
                <a:off x="6847979" y="2781492"/>
                <a:ext cx="793224" cy="298739"/>
              </a:xfrm>
              <a:prstGeom prst="rect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Level 3</a:t>
                </a:r>
              </a:p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Defined</a:t>
                </a:r>
                <a:endPara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100" name="Rectangle 99"/>
              <p:cNvSpPr/>
              <p:nvPr/>
            </p:nvSpPr>
            <p:spPr>
              <a:xfrm>
                <a:off x="6847979" y="3080231"/>
                <a:ext cx="793224" cy="298739"/>
              </a:xfrm>
              <a:prstGeom prst="rect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Level 4</a:t>
                </a:r>
              </a:p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Managed</a:t>
                </a:r>
                <a:endPara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101" name="Rectangle 100"/>
              <p:cNvSpPr/>
              <p:nvPr/>
            </p:nvSpPr>
            <p:spPr>
              <a:xfrm>
                <a:off x="6847979" y="3377840"/>
                <a:ext cx="793224" cy="298739"/>
              </a:xfrm>
              <a:prstGeom prst="rect">
                <a:avLst/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Level 5</a:t>
                </a:r>
              </a:p>
              <a:p>
                <a:pPr algn="ctr"/>
                <a:r>
                  <a:rPr lang="en-US" sz="700" b="1" kern="600" dirty="0" smtClean="0">
                    <a:solidFill>
                      <a:srgbClr val="FFFFFF"/>
                    </a:solidFill>
                    <a:latin typeface="CiscoSans" charset="0"/>
                    <a:ea typeface="CiscoSans" charset="0"/>
                    <a:cs typeface="CiscoSans" charset="0"/>
                  </a:rPr>
                  <a:t>Optimal</a:t>
                </a:r>
                <a:endParaRPr lang="en-US" sz="700" b="1" kern="600" dirty="0">
                  <a:solidFill>
                    <a:srgbClr val="FFFFFF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102" name="Rectangle 101"/>
              <p:cNvSpPr/>
              <p:nvPr/>
            </p:nvSpPr>
            <p:spPr>
              <a:xfrm>
                <a:off x="7641203" y="1872145"/>
                <a:ext cx="548640" cy="291642"/>
              </a:xfrm>
              <a:prstGeom prst="rect">
                <a:avLst/>
              </a:prstGeom>
              <a:solidFill>
                <a:srgbClr val="D9D9D9"/>
              </a:solidFill>
              <a:ln>
                <a:solidFill>
                  <a:schemeClr val="tx2"/>
                </a:solidFill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kern="600" dirty="0" smtClean="0">
                    <a:solidFill>
                      <a:schemeClr val="accent5"/>
                    </a:solidFill>
                    <a:latin typeface="CiscoSans" charset="0"/>
                    <a:ea typeface="CiscoSans" charset="0"/>
                    <a:cs typeface="CiscoSans" charset="0"/>
                  </a:rPr>
                  <a:t>0</a:t>
                </a:r>
                <a:endParaRPr lang="en-US" sz="1100" b="1" kern="600" dirty="0">
                  <a:solidFill>
                    <a:schemeClr val="accent5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103" name="Rectangle 102"/>
              <p:cNvSpPr/>
              <p:nvPr/>
            </p:nvSpPr>
            <p:spPr>
              <a:xfrm>
                <a:off x="7641203" y="2163787"/>
                <a:ext cx="548640" cy="310473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solidFill>
                  <a:schemeClr val="tx2"/>
                </a:solidFill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kern="600" dirty="0" smtClean="0">
                    <a:solidFill>
                      <a:schemeClr val="bg1"/>
                    </a:solidFill>
                    <a:latin typeface="CiscoSans" charset="0"/>
                    <a:ea typeface="CiscoSans" charset="0"/>
                    <a:cs typeface="CiscoSans" charset="0"/>
                  </a:rPr>
                  <a:t>1</a:t>
                </a:r>
                <a:endParaRPr lang="en-US" sz="1100" b="1" kern="600" dirty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104" name="Rectangle 103"/>
              <p:cNvSpPr/>
              <p:nvPr/>
            </p:nvSpPr>
            <p:spPr>
              <a:xfrm>
                <a:off x="7641203" y="2474786"/>
                <a:ext cx="548640" cy="302153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solidFill>
                  <a:schemeClr val="tx2"/>
                </a:solidFill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kern="600" dirty="0" smtClean="0">
                    <a:solidFill>
                      <a:schemeClr val="bg1"/>
                    </a:solidFill>
                    <a:latin typeface="CiscoSans" charset="0"/>
                    <a:ea typeface="CiscoSans" charset="0"/>
                    <a:cs typeface="CiscoSans" charset="0"/>
                  </a:rPr>
                  <a:t>2</a:t>
                </a:r>
                <a:endParaRPr lang="en-US" sz="1100" b="1" kern="600" dirty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7641203" y="2774573"/>
                <a:ext cx="548640" cy="305907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tx2"/>
                </a:solidFill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kern="600" dirty="0" smtClean="0">
                    <a:solidFill>
                      <a:schemeClr val="bg1"/>
                    </a:solidFill>
                    <a:latin typeface="CiscoSans" charset="0"/>
                    <a:ea typeface="CiscoSans" charset="0"/>
                    <a:cs typeface="CiscoSans" charset="0"/>
                  </a:rPr>
                  <a:t>3</a:t>
                </a:r>
                <a:endParaRPr lang="en-US" sz="1100" b="1" kern="600" dirty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106" name="Rectangle 105"/>
              <p:cNvSpPr/>
              <p:nvPr/>
            </p:nvSpPr>
            <p:spPr>
              <a:xfrm>
                <a:off x="7641203" y="3078875"/>
                <a:ext cx="548640" cy="307013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solidFill>
                  <a:schemeClr val="tx2"/>
                </a:solidFill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kern="600" dirty="0" smtClean="0">
                    <a:solidFill>
                      <a:schemeClr val="bg1"/>
                    </a:solidFill>
                    <a:latin typeface="CiscoSans" charset="0"/>
                    <a:ea typeface="CiscoSans" charset="0"/>
                    <a:cs typeface="CiscoSans" charset="0"/>
                  </a:rPr>
                  <a:t>4</a:t>
                </a:r>
                <a:endParaRPr lang="en-US" sz="1100" b="1" kern="600" dirty="0">
                  <a:solidFill>
                    <a:schemeClr val="bg1"/>
                  </a:solidFill>
                  <a:latin typeface="CiscoSans" charset="0"/>
                  <a:ea typeface="CiscoSans" charset="0"/>
                  <a:cs typeface="CiscoSans" charset="0"/>
                </a:endParaRPr>
              </a:p>
            </p:txBody>
          </p:sp>
          <p:sp>
            <p:nvSpPr>
              <p:cNvPr id="107" name="Rectangle 106"/>
              <p:cNvSpPr/>
              <p:nvPr/>
            </p:nvSpPr>
            <p:spPr>
              <a:xfrm>
                <a:off x="7641203" y="3385889"/>
                <a:ext cx="548640" cy="29069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solidFill>
                  <a:schemeClr val="tx2"/>
                </a:solidFill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100" b="1" kern="600" dirty="0">
                    <a:solidFill>
                      <a:schemeClr val="bg1"/>
                    </a:solidFill>
                    <a:latin typeface="CiscoSans" charset="0"/>
                    <a:ea typeface="CiscoSans" charset="0"/>
                    <a:cs typeface="CiscoSans" charset="0"/>
                  </a:rPr>
                  <a:t>5</a:t>
                </a:r>
              </a:p>
            </p:txBody>
          </p:sp>
        </p:grpSp>
        <p:sp>
          <p:nvSpPr>
            <p:cNvPr id="95" name="TextBox 94"/>
            <p:cNvSpPr txBox="1"/>
            <p:nvPr/>
          </p:nvSpPr>
          <p:spPr>
            <a:xfrm>
              <a:off x="7201940" y="1969399"/>
              <a:ext cx="13418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kern="600" dirty="0" smtClean="0">
                  <a:solidFill>
                    <a:schemeClr val="tx2"/>
                  </a:solidFill>
                  <a:latin typeface="CiscoSans" charset="0"/>
                  <a:ea typeface="CiscoSans" charset="0"/>
                  <a:cs typeface="CiscoSans" charset="0"/>
                </a:rPr>
                <a:t>Maturity Level Key</a:t>
              </a:r>
              <a:endParaRPr lang="en-US" sz="1000" b="1" kern="600" dirty="0">
                <a:solidFill>
                  <a:schemeClr val="tx2"/>
                </a:solidFill>
                <a:latin typeface="CiscoSans" charset="0"/>
                <a:ea typeface="CiscoSans" charset="0"/>
                <a:cs typeface="Cisco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54457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156 0.00154 " pathEditMode="relative" ptsTypes="AA">
                                      <p:cBhvr>
                                        <p:cTn id="59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156 0.00154 " pathEditMode="relative" ptsTypes="AA">
                                      <p:cBhvr>
                                        <p:cTn id="6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2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25156 0.00154 " pathEditMode="relative" ptsTypes="AA">
                                      <p:cBhvr>
                                        <p:cTn id="63" dur="2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7" grpId="1" animBg="1"/>
      <p:bldP spid="135" grpId="0" animBg="1"/>
      <p:bldP spid="135" grpId="1" animBg="1"/>
      <p:bldP spid="136" grpId="0"/>
      <p:bldP spid="136" grpId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 Same Side Corner Rectangle 22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5966" y="360378"/>
            <a:ext cx="7440862" cy="73183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000" dirty="0" smtClean="0"/>
              <a:t>Example CMPA Findings</a:t>
            </a:r>
            <a:endParaRPr lang="en-US" sz="1800" dirty="0"/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39" y="517319"/>
            <a:ext cx="519060" cy="519060"/>
          </a:xfrm>
          <a:prstGeom prst="rect">
            <a:avLst/>
          </a:prstGeom>
        </p:spPr>
      </p:pic>
      <p:grpSp>
        <p:nvGrpSpPr>
          <p:cNvPr id="41" name="Group 40"/>
          <p:cNvGrpSpPr/>
          <p:nvPr/>
        </p:nvGrpSpPr>
        <p:grpSpPr>
          <a:xfrm>
            <a:off x="5223128" y="1347174"/>
            <a:ext cx="3149941" cy="924428"/>
            <a:chOff x="4306812" y="52983"/>
            <a:chExt cx="4461216" cy="408980"/>
          </a:xfrm>
        </p:grpSpPr>
        <p:sp>
          <p:nvSpPr>
            <p:cNvPr id="42" name="Round Same Side Corner Rectangle 41"/>
            <p:cNvSpPr/>
            <p:nvPr/>
          </p:nvSpPr>
          <p:spPr>
            <a:xfrm rot="5400000">
              <a:off x="6332930" y="-1973135"/>
              <a:ext cx="408980" cy="4461216"/>
            </a:xfrm>
            <a:prstGeom prst="round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3" name="Round Same Side Corner Rectangle 4"/>
            <p:cNvSpPr/>
            <p:nvPr/>
          </p:nvSpPr>
          <p:spPr>
            <a:xfrm>
              <a:off x="4343507" y="72947"/>
              <a:ext cx="4404557" cy="369050"/>
            </a:xfrm>
            <a:prstGeom prst="round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19050" rIns="38100" bIns="19050" numCol="1" spcCol="1270" anchor="ctr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000" kern="1200" dirty="0" smtClean="0"/>
                <a:t>Assign ownership &amp; create IR plan</a:t>
              </a:r>
            </a:p>
            <a:p>
              <a:pPr marL="57150" lvl="1" indent="-57150" defTabSz="444500">
                <a:lnSpc>
                  <a:spcPct val="90000"/>
                </a:lnSpc>
                <a:spcAft>
                  <a:spcPct val="15000"/>
                </a:spcAft>
                <a:buFontTx/>
                <a:buChar char="••"/>
              </a:pPr>
              <a:r>
                <a:rPr lang="en-US" sz="1000" dirty="0"/>
                <a:t>Additional Threat </a:t>
              </a:r>
              <a:r>
                <a:rPr lang="en-US" sz="1000" dirty="0" smtClean="0"/>
                <a:t>Analysts/analytics </a:t>
              </a:r>
              <a:r>
                <a:rPr lang="en-US" sz="1000" dirty="0"/>
                <a:t>would be </a:t>
              </a:r>
              <a:r>
                <a:rPr lang="en-US" sz="1000" dirty="0" smtClean="0"/>
                <a:t>a crucial addition </a:t>
              </a:r>
              <a:r>
                <a:rPr lang="en-US" sz="1000" dirty="0"/>
                <a:t>to SOC</a:t>
              </a: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000" dirty="0" smtClean="0"/>
                <a:t>Emphasize a continuing training culture within the organization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5223129" y="2485613"/>
            <a:ext cx="3149939" cy="924428"/>
            <a:chOff x="4326866" y="52983"/>
            <a:chExt cx="4441161" cy="408980"/>
          </a:xfrm>
        </p:grpSpPr>
        <p:sp>
          <p:nvSpPr>
            <p:cNvPr id="45" name="Round Same Side Corner Rectangle 44"/>
            <p:cNvSpPr/>
            <p:nvPr/>
          </p:nvSpPr>
          <p:spPr>
            <a:xfrm rot="5400000">
              <a:off x="6342957" y="-1963108"/>
              <a:ext cx="408980" cy="4441161"/>
            </a:xfrm>
            <a:prstGeom prst="round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Round Same Side Corner Rectangle 4"/>
            <p:cNvSpPr/>
            <p:nvPr/>
          </p:nvSpPr>
          <p:spPr>
            <a:xfrm>
              <a:off x="4326867" y="72947"/>
              <a:ext cx="4421196" cy="369050"/>
            </a:xfrm>
            <a:prstGeom prst="round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19050" rIns="38100" bIns="19050" numCol="1" spcCol="1270" anchor="ctr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000" kern="1200" dirty="0" smtClean="0"/>
                <a:t>Manage passwords via best practice</a:t>
              </a: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000" dirty="0" smtClean="0"/>
                <a:t>Identify vulnerabilities and improve speed to remediation via patching</a:t>
              </a: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000" dirty="0" smtClean="0"/>
                <a:t>Further utilize objective, third-party assistance in the assessment of your network</a:t>
              </a:r>
              <a:endParaRPr lang="en-US" sz="1000" kern="1200" dirty="0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223129" y="3600738"/>
            <a:ext cx="3149939" cy="924428"/>
            <a:chOff x="4326866" y="52983"/>
            <a:chExt cx="4441161" cy="408980"/>
          </a:xfrm>
        </p:grpSpPr>
        <p:sp>
          <p:nvSpPr>
            <p:cNvPr id="48" name="Round Same Side Corner Rectangle 47"/>
            <p:cNvSpPr/>
            <p:nvPr/>
          </p:nvSpPr>
          <p:spPr>
            <a:xfrm rot="5400000">
              <a:off x="6342957" y="-1963108"/>
              <a:ext cx="408980" cy="4441161"/>
            </a:xfrm>
            <a:prstGeom prst="round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Round Same Side Corner Rectangle 4"/>
            <p:cNvSpPr/>
            <p:nvPr/>
          </p:nvSpPr>
          <p:spPr>
            <a:xfrm>
              <a:off x="4326867" y="72947"/>
              <a:ext cx="4421196" cy="369050"/>
            </a:xfrm>
            <a:prstGeom prst="round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19050" rIns="38100" bIns="19050" numCol="1" spcCol="1270" anchor="ctr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000" kern="1200" dirty="0" smtClean="0"/>
                <a:t>Appropriate segmentation needed</a:t>
              </a: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000" dirty="0" smtClean="0"/>
                <a:t>Utilize secure protocols wherever possible to obfuscate sensitive communications</a:t>
              </a:r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000" kern="1200" dirty="0" smtClean="0"/>
                <a:t>Implement encryption and authentication </a:t>
              </a:r>
              <a:r>
                <a:rPr lang="en-US" sz="1000" dirty="0" smtClean="0"/>
                <a:t>on</a:t>
              </a:r>
              <a:r>
                <a:rPr lang="en-US" sz="1000" dirty="0"/>
                <a:t> </a:t>
              </a:r>
              <a:r>
                <a:rPr lang="en-US" sz="1000" kern="1200" dirty="0" smtClean="0"/>
                <a:t>sensitive ones + CASB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835295" y="1273171"/>
            <a:ext cx="4323844" cy="1086311"/>
            <a:chOff x="1018175" y="1273171"/>
            <a:chExt cx="4323844" cy="1086311"/>
          </a:xfrm>
        </p:grpSpPr>
        <p:grpSp>
          <p:nvGrpSpPr>
            <p:cNvPr id="28" name="Group 27"/>
            <p:cNvGrpSpPr/>
            <p:nvPr/>
          </p:nvGrpSpPr>
          <p:grpSpPr>
            <a:xfrm>
              <a:off x="1945678" y="1347174"/>
              <a:ext cx="3396341" cy="924428"/>
              <a:chOff x="4204856" y="52983"/>
              <a:chExt cx="4788567" cy="408980"/>
            </a:xfrm>
          </p:grpSpPr>
          <p:sp>
            <p:nvSpPr>
              <p:cNvPr id="29" name="Round Same Side Corner Rectangle 28"/>
              <p:cNvSpPr/>
              <p:nvPr/>
            </p:nvSpPr>
            <p:spPr>
              <a:xfrm rot="5400000">
                <a:off x="6394650" y="-2136811"/>
                <a:ext cx="408980" cy="4788567"/>
              </a:xfrm>
              <a:prstGeom prst="upArrow">
                <a:avLst>
                  <a:gd name="adj1" fmla="val 100000"/>
                  <a:gd name="adj2" fmla="val 50000"/>
                </a:avLst>
              </a:prstGeom>
            </p:spPr>
            <p:style>
              <a:lnRef idx="2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0" name="Round Same Side Corner Rectangle 4"/>
              <p:cNvSpPr/>
              <p:nvPr/>
            </p:nvSpPr>
            <p:spPr>
              <a:xfrm>
                <a:off x="4326867" y="72947"/>
                <a:ext cx="4421196" cy="369050"/>
              </a:xfrm>
              <a:prstGeom prst="upArrow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8100" tIns="19050" rIns="38100" bIns="19050" numCol="1" spcCol="1270" anchor="ctr" anchorCtr="0">
                <a:noAutofit/>
              </a:bodyPr>
              <a:lstStyle/>
              <a:p>
                <a:pPr marL="0" lvl="1" defTabSz="444500">
                  <a:spcAft>
                    <a:spcPts val="0"/>
                  </a:spcAft>
                  <a:buChar char="••"/>
                </a:pPr>
                <a:endParaRPr lang="en-US" sz="1000" dirty="0"/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1018175" y="1273171"/>
              <a:ext cx="1017899" cy="1086311"/>
              <a:chOff x="0" y="0"/>
              <a:chExt cx="4323220" cy="511225"/>
            </a:xfrm>
          </p:grpSpPr>
          <p:sp>
            <p:nvSpPr>
              <p:cNvPr id="24" name="Rounded Rectangle 23"/>
              <p:cNvSpPr/>
              <p:nvPr/>
            </p:nvSpPr>
            <p:spPr>
              <a:xfrm>
                <a:off x="0" y="0"/>
                <a:ext cx="4323220" cy="511225"/>
              </a:xfrm>
              <a:prstGeom prst="roundRect">
                <a:avLst/>
              </a:prstGeom>
              <a:solidFill>
                <a:schemeClr val="accent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7" name="Rounded Rectangle 4"/>
              <p:cNvSpPr/>
              <p:nvPr/>
            </p:nvSpPr>
            <p:spPr>
              <a:xfrm>
                <a:off x="24956" y="24956"/>
                <a:ext cx="4273308" cy="46131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45720" tIns="22860" rIns="45720" bIns="22860" numCol="1" spcCol="1270" anchor="ctr" anchorCtr="0">
                <a:noAutofit/>
              </a:bodyPr>
              <a:lstStyle/>
              <a:p>
                <a:pPr lvl="0" algn="ctr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200" kern="1200" dirty="0" smtClean="0">
                    <a:solidFill>
                      <a:schemeClr val="bg1"/>
                    </a:solidFill>
                  </a:rPr>
                  <a:t>People</a:t>
                </a:r>
              </a:p>
              <a:p>
                <a:pPr lvl="0" algn="ctr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200" dirty="0">
                  <a:solidFill>
                    <a:schemeClr val="bg1"/>
                  </a:solidFill>
                </a:endParaRPr>
              </a:p>
              <a:p>
                <a:pPr lvl="0" algn="ctr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200" kern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1266841" y="1731560"/>
              <a:ext cx="514065" cy="491705"/>
              <a:chOff x="6493421" y="-20381"/>
              <a:chExt cx="1290462" cy="1234331"/>
            </a:xfrm>
          </p:grpSpPr>
          <p:grpSp>
            <p:nvGrpSpPr>
              <p:cNvPr id="54" name="Group 4"/>
              <p:cNvGrpSpPr>
                <a:grpSpLocks noChangeAspect="1"/>
              </p:cNvGrpSpPr>
              <p:nvPr/>
            </p:nvGrpSpPr>
            <p:grpSpPr bwMode="auto">
              <a:xfrm>
                <a:off x="6493421" y="299644"/>
                <a:ext cx="412156" cy="883191"/>
                <a:chOff x="598" y="1936"/>
                <a:chExt cx="287" cy="615"/>
              </a:xfrm>
              <a:solidFill>
                <a:schemeClr val="accent2"/>
              </a:solidFill>
            </p:grpSpPr>
            <p:sp>
              <p:nvSpPr>
                <p:cNvPr id="61" name="Freeform 6"/>
                <p:cNvSpPr>
                  <a:spLocks/>
                </p:cNvSpPr>
                <p:nvPr/>
              </p:nvSpPr>
              <p:spPr bwMode="auto">
                <a:xfrm>
                  <a:off x="598" y="2158"/>
                  <a:ext cx="287" cy="393"/>
                </a:xfrm>
                <a:custGeom>
                  <a:avLst/>
                  <a:gdLst>
                    <a:gd name="T0" fmla="*/ 145 w 572"/>
                    <a:gd name="T1" fmla="*/ 788 h 788"/>
                    <a:gd name="T2" fmla="*/ 130 w 572"/>
                    <a:gd name="T3" fmla="*/ 786 h 788"/>
                    <a:gd name="T4" fmla="*/ 102 w 572"/>
                    <a:gd name="T5" fmla="*/ 780 h 788"/>
                    <a:gd name="T6" fmla="*/ 76 w 572"/>
                    <a:gd name="T7" fmla="*/ 769 h 788"/>
                    <a:gd name="T8" fmla="*/ 52 w 572"/>
                    <a:gd name="T9" fmla="*/ 754 h 788"/>
                    <a:gd name="T10" fmla="*/ 33 w 572"/>
                    <a:gd name="T11" fmla="*/ 734 h 788"/>
                    <a:gd name="T12" fmla="*/ 17 w 572"/>
                    <a:gd name="T13" fmla="*/ 711 h 788"/>
                    <a:gd name="T14" fmla="*/ 6 w 572"/>
                    <a:gd name="T15" fmla="*/ 684 h 788"/>
                    <a:gd name="T16" fmla="*/ 0 w 572"/>
                    <a:gd name="T17" fmla="*/ 655 h 788"/>
                    <a:gd name="T18" fmla="*/ 0 w 572"/>
                    <a:gd name="T19" fmla="*/ 145 h 788"/>
                    <a:gd name="T20" fmla="*/ 0 w 572"/>
                    <a:gd name="T21" fmla="*/ 131 h 788"/>
                    <a:gd name="T22" fmla="*/ 6 w 572"/>
                    <a:gd name="T23" fmla="*/ 102 h 788"/>
                    <a:gd name="T24" fmla="*/ 17 w 572"/>
                    <a:gd name="T25" fmla="*/ 77 h 788"/>
                    <a:gd name="T26" fmla="*/ 33 w 572"/>
                    <a:gd name="T27" fmla="*/ 53 h 788"/>
                    <a:gd name="T28" fmla="*/ 52 w 572"/>
                    <a:gd name="T29" fmla="*/ 34 h 788"/>
                    <a:gd name="T30" fmla="*/ 76 w 572"/>
                    <a:gd name="T31" fmla="*/ 18 h 788"/>
                    <a:gd name="T32" fmla="*/ 102 w 572"/>
                    <a:gd name="T33" fmla="*/ 6 h 788"/>
                    <a:gd name="T34" fmla="*/ 130 w 572"/>
                    <a:gd name="T35" fmla="*/ 2 h 788"/>
                    <a:gd name="T36" fmla="*/ 425 w 572"/>
                    <a:gd name="T37" fmla="*/ 0 h 788"/>
                    <a:gd name="T38" fmla="*/ 441 w 572"/>
                    <a:gd name="T39" fmla="*/ 2 h 788"/>
                    <a:gd name="T40" fmla="*/ 468 w 572"/>
                    <a:gd name="T41" fmla="*/ 6 h 788"/>
                    <a:gd name="T42" fmla="*/ 495 w 572"/>
                    <a:gd name="T43" fmla="*/ 18 h 788"/>
                    <a:gd name="T44" fmla="*/ 518 w 572"/>
                    <a:gd name="T45" fmla="*/ 34 h 788"/>
                    <a:gd name="T46" fmla="*/ 539 w 572"/>
                    <a:gd name="T47" fmla="*/ 53 h 788"/>
                    <a:gd name="T48" fmla="*/ 553 w 572"/>
                    <a:gd name="T49" fmla="*/ 77 h 788"/>
                    <a:gd name="T50" fmla="*/ 564 w 572"/>
                    <a:gd name="T51" fmla="*/ 102 h 788"/>
                    <a:gd name="T52" fmla="*/ 570 w 572"/>
                    <a:gd name="T53" fmla="*/ 131 h 788"/>
                    <a:gd name="T54" fmla="*/ 572 w 572"/>
                    <a:gd name="T55" fmla="*/ 641 h 788"/>
                    <a:gd name="T56" fmla="*/ 570 w 572"/>
                    <a:gd name="T57" fmla="*/ 655 h 788"/>
                    <a:gd name="T58" fmla="*/ 564 w 572"/>
                    <a:gd name="T59" fmla="*/ 684 h 788"/>
                    <a:gd name="T60" fmla="*/ 553 w 572"/>
                    <a:gd name="T61" fmla="*/ 711 h 788"/>
                    <a:gd name="T62" fmla="*/ 539 w 572"/>
                    <a:gd name="T63" fmla="*/ 734 h 788"/>
                    <a:gd name="T64" fmla="*/ 518 w 572"/>
                    <a:gd name="T65" fmla="*/ 754 h 788"/>
                    <a:gd name="T66" fmla="*/ 495 w 572"/>
                    <a:gd name="T67" fmla="*/ 769 h 788"/>
                    <a:gd name="T68" fmla="*/ 468 w 572"/>
                    <a:gd name="T69" fmla="*/ 780 h 788"/>
                    <a:gd name="T70" fmla="*/ 441 w 572"/>
                    <a:gd name="T71" fmla="*/ 786 h 788"/>
                    <a:gd name="T72" fmla="*/ 425 w 572"/>
                    <a:gd name="T73" fmla="*/ 788 h 7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2" h="788">
                      <a:moveTo>
                        <a:pt x="425" y="788"/>
                      </a:moveTo>
                      <a:lnTo>
                        <a:pt x="145" y="788"/>
                      </a:lnTo>
                      <a:lnTo>
                        <a:pt x="145" y="788"/>
                      </a:lnTo>
                      <a:lnTo>
                        <a:pt x="130" y="786"/>
                      </a:lnTo>
                      <a:lnTo>
                        <a:pt x="116" y="785"/>
                      </a:lnTo>
                      <a:lnTo>
                        <a:pt x="102" y="780"/>
                      </a:lnTo>
                      <a:lnTo>
                        <a:pt x="89" y="775"/>
                      </a:lnTo>
                      <a:lnTo>
                        <a:pt x="76" y="769"/>
                      </a:lnTo>
                      <a:lnTo>
                        <a:pt x="63" y="762"/>
                      </a:lnTo>
                      <a:lnTo>
                        <a:pt x="52" y="754"/>
                      </a:lnTo>
                      <a:lnTo>
                        <a:pt x="43" y="745"/>
                      </a:lnTo>
                      <a:lnTo>
                        <a:pt x="33" y="734"/>
                      </a:lnTo>
                      <a:lnTo>
                        <a:pt x="24" y="722"/>
                      </a:lnTo>
                      <a:lnTo>
                        <a:pt x="17" y="711"/>
                      </a:lnTo>
                      <a:lnTo>
                        <a:pt x="11" y="698"/>
                      </a:lnTo>
                      <a:lnTo>
                        <a:pt x="6" y="684"/>
                      </a:lnTo>
                      <a:lnTo>
                        <a:pt x="3" y="671"/>
                      </a:lnTo>
                      <a:lnTo>
                        <a:pt x="0" y="655"/>
                      </a:lnTo>
                      <a:lnTo>
                        <a:pt x="0" y="641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31"/>
                      </a:lnTo>
                      <a:lnTo>
                        <a:pt x="3" y="116"/>
                      </a:lnTo>
                      <a:lnTo>
                        <a:pt x="6" y="102"/>
                      </a:lnTo>
                      <a:lnTo>
                        <a:pt x="11" y="89"/>
                      </a:lnTo>
                      <a:lnTo>
                        <a:pt x="17" y="77"/>
                      </a:lnTo>
                      <a:lnTo>
                        <a:pt x="24" y="64"/>
                      </a:lnTo>
                      <a:lnTo>
                        <a:pt x="33" y="53"/>
                      </a:lnTo>
                      <a:lnTo>
                        <a:pt x="43" y="43"/>
                      </a:lnTo>
                      <a:lnTo>
                        <a:pt x="52" y="34"/>
                      </a:lnTo>
                      <a:lnTo>
                        <a:pt x="63" y="26"/>
                      </a:lnTo>
                      <a:lnTo>
                        <a:pt x="76" y="18"/>
                      </a:lnTo>
                      <a:lnTo>
                        <a:pt x="89" y="11"/>
                      </a:lnTo>
                      <a:lnTo>
                        <a:pt x="102" y="6"/>
                      </a:lnTo>
                      <a:lnTo>
                        <a:pt x="116" y="3"/>
                      </a:lnTo>
                      <a:lnTo>
                        <a:pt x="130" y="2"/>
                      </a:lnTo>
                      <a:lnTo>
                        <a:pt x="145" y="0"/>
                      </a:lnTo>
                      <a:lnTo>
                        <a:pt x="425" y="0"/>
                      </a:lnTo>
                      <a:lnTo>
                        <a:pt x="425" y="0"/>
                      </a:lnTo>
                      <a:lnTo>
                        <a:pt x="441" y="2"/>
                      </a:lnTo>
                      <a:lnTo>
                        <a:pt x="456" y="3"/>
                      </a:lnTo>
                      <a:lnTo>
                        <a:pt x="468" y="6"/>
                      </a:lnTo>
                      <a:lnTo>
                        <a:pt x="483" y="11"/>
                      </a:lnTo>
                      <a:lnTo>
                        <a:pt x="495" y="18"/>
                      </a:lnTo>
                      <a:lnTo>
                        <a:pt x="507" y="26"/>
                      </a:lnTo>
                      <a:lnTo>
                        <a:pt x="518" y="34"/>
                      </a:lnTo>
                      <a:lnTo>
                        <a:pt x="529" y="43"/>
                      </a:lnTo>
                      <a:lnTo>
                        <a:pt x="539" y="53"/>
                      </a:lnTo>
                      <a:lnTo>
                        <a:pt x="546" y="64"/>
                      </a:lnTo>
                      <a:lnTo>
                        <a:pt x="553" y="77"/>
                      </a:lnTo>
                      <a:lnTo>
                        <a:pt x="559" y="89"/>
                      </a:lnTo>
                      <a:lnTo>
                        <a:pt x="564" y="102"/>
                      </a:lnTo>
                      <a:lnTo>
                        <a:pt x="569" y="116"/>
                      </a:lnTo>
                      <a:lnTo>
                        <a:pt x="570" y="131"/>
                      </a:lnTo>
                      <a:lnTo>
                        <a:pt x="572" y="145"/>
                      </a:lnTo>
                      <a:lnTo>
                        <a:pt x="572" y="641"/>
                      </a:lnTo>
                      <a:lnTo>
                        <a:pt x="572" y="641"/>
                      </a:lnTo>
                      <a:lnTo>
                        <a:pt x="570" y="655"/>
                      </a:lnTo>
                      <a:lnTo>
                        <a:pt x="569" y="671"/>
                      </a:lnTo>
                      <a:lnTo>
                        <a:pt x="564" y="684"/>
                      </a:lnTo>
                      <a:lnTo>
                        <a:pt x="559" y="698"/>
                      </a:lnTo>
                      <a:lnTo>
                        <a:pt x="553" y="711"/>
                      </a:lnTo>
                      <a:lnTo>
                        <a:pt x="546" y="722"/>
                      </a:lnTo>
                      <a:lnTo>
                        <a:pt x="539" y="734"/>
                      </a:lnTo>
                      <a:lnTo>
                        <a:pt x="529" y="745"/>
                      </a:lnTo>
                      <a:lnTo>
                        <a:pt x="518" y="754"/>
                      </a:lnTo>
                      <a:lnTo>
                        <a:pt x="507" y="762"/>
                      </a:lnTo>
                      <a:lnTo>
                        <a:pt x="495" y="769"/>
                      </a:lnTo>
                      <a:lnTo>
                        <a:pt x="483" y="775"/>
                      </a:lnTo>
                      <a:lnTo>
                        <a:pt x="468" y="780"/>
                      </a:lnTo>
                      <a:lnTo>
                        <a:pt x="456" y="785"/>
                      </a:lnTo>
                      <a:lnTo>
                        <a:pt x="441" y="786"/>
                      </a:lnTo>
                      <a:lnTo>
                        <a:pt x="425" y="788"/>
                      </a:lnTo>
                      <a:lnTo>
                        <a:pt x="425" y="78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" name="Freeform 7"/>
                <p:cNvSpPr>
                  <a:spLocks/>
                </p:cNvSpPr>
                <p:nvPr/>
              </p:nvSpPr>
              <p:spPr bwMode="auto">
                <a:xfrm>
                  <a:off x="655" y="1936"/>
                  <a:ext cx="172" cy="172"/>
                </a:xfrm>
                <a:custGeom>
                  <a:avLst/>
                  <a:gdLst>
                    <a:gd name="T0" fmla="*/ 0 w 344"/>
                    <a:gd name="T1" fmla="*/ 172 h 344"/>
                    <a:gd name="T2" fmla="*/ 3 w 344"/>
                    <a:gd name="T3" fmla="*/ 138 h 344"/>
                    <a:gd name="T4" fmla="*/ 14 w 344"/>
                    <a:gd name="T5" fmla="*/ 105 h 344"/>
                    <a:gd name="T6" fmla="*/ 30 w 344"/>
                    <a:gd name="T7" fmla="*/ 76 h 344"/>
                    <a:gd name="T8" fmla="*/ 51 w 344"/>
                    <a:gd name="T9" fmla="*/ 51 h 344"/>
                    <a:gd name="T10" fmla="*/ 76 w 344"/>
                    <a:gd name="T11" fmla="*/ 30 h 344"/>
                    <a:gd name="T12" fmla="*/ 105 w 344"/>
                    <a:gd name="T13" fmla="*/ 14 h 344"/>
                    <a:gd name="T14" fmla="*/ 137 w 344"/>
                    <a:gd name="T15" fmla="*/ 5 h 344"/>
                    <a:gd name="T16" fmla="*/ 172 w 344"/>
                    <a:gd name="T17" fmla="*/ 0 h 344"/>
                    <a:gd name="T18" fmla="*/ 190 w 344"/>
                    <a:gd name="T19" fmla="*/ 1 h 344"/>
                    <a:gd name="T20" fmla="*/ 223 w 344"/>
                    <a:gd name="T21" fmla="*/ 8 h 344"/>
                    <a:gd name="T22" fmla="*/ 255 w 344"/>
                    <a:gd name="T23" fmla="*/ 21 h 344"/>
                    <a:gd name="T24" fmla="*/ 282 w 344"/>
                    <a:gd name="T25" fmla="*/ 40 h 344"/>
                    <a:gd name="T26" fmla="*/ 304 w 344"/>
                    <a:gd name="T27" fmla="*/ 64 h 344"/>
                    <a:gd name="T28" fmla="*/ 323 w 344"/>
                    <a:gd name="T29" fmla="*/ 91 h 344"/>
                    <a:gd name="T30" fmla="*/ 336 w 344"/>
                    <a:gd name="T31" fmla="*/ 121 h 344"/>
                    <a:gd name="T32" fmla="*/ 344 w 344"/>
                    <a:gd name="T33" fmla="*/ 154 h 344"/>
                    <a:gd name="T34" fmla="*/ 344 w 344"/>
                    <a:gd name="T35" fmla="*/ 172 h 344"/>
                    <a:gd name="T36" fmla="*/ 341 w 344"/>
                    <a:gd name="T37" fmla="*/ 207 h 344"/>
                    <a:gd name="T38" fmla="*/ 331 w 344"/>
                    <a:gd name="T39" fmla="*/ 239 h 344"/>
                    <a:gd name="T40" fmla="*/ 316 w 344"/>
                    <a:gd name="T41" fmla="*/ 269 h 344"/>
                    <a:gd name="T42" fmla="*/ 295 w 344"/>
                    <a:gd name="T43" fmla="*/ 295 h 344"/>
                    <a:gd name="T44" fmla="*/ 269 w 344"/>
                    <a:gd name="T45" fmla="*/ 315 h 344"/>
                    <a:gd name="T46" fmla="*/ 239 w 344"/>
                    <a:gd name="T47" fmla="*/ 331 h 344"/>
                    <a:gd name="T48" fmla="*/ 207 w 344"/>
                    <a:gd name="T49" fmla="*/ 341 h 344"/>
                    <a:gd name="T50" fmla="*/ 172 w 344"/>
                    <a:gd name="T51" fmla="*/ 344 h 344"/>
                    <a:gd name="T52" fmla="*/ 154 w 344"/>
                    <a:gd name="T53" fmla="*/ 344 h 344"/>
                    <a:gd name="T54" fmla="*/ 121 w 344"/>
                    <a:gd name="T55" fmla="*/ 338 h 344"/>
                    <a:gd name="T56" fmla="*/ 91 w 344"/>
                    <a:gd name="T57" fmla="*/ 323 h 344"/>
                    <a:gd name="T58" fmla="*/ 64 w 344"/>
                    <a:gd name="T59" fmla="*/ 306 h 344"/>
                    <a:gd name="T60" fmla="*/ 40 w 344"/>
                    <a:gd name="T61" fmla="*/ 282 h 344"/>
                    <a:gd name="T62" fmla="*/ 21 w 344"/>
                    <a:gd name="T63" fmla="*/ 255 h 344"/>
                    <a:gd name="T64" fmla="*/ 8 w 344"/>
                    <a:gd name="T65" fmla="*/ 225 h 344"/>
                    <a:gd name="T66" fmla="*/ 1 w 344"/>
                    <a:gd name="T67" fmla="*/ 190 h 344"/>
                    <a:gd name="T68" fmla="*/ 0 w 344"/>
                    <a:gd name="T69" fmla="*/ 172 h 3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44" h="344">
                      <a:moveTo>
                        <a:pt x="0" y="172"/>
                      </a:moveTo>
                      <a:lnTo>
                        <a:pt x="0" y="172"/>
                      </a:lnTo>
                      <a:lnTo>
                        <a:pt x="1" y="154"/>
                      </a:lnTo>
                      <a:lnTo>
                        <a:pt x="3" y="138"/>
                      </a:lnTo>
                      <a:lnTo>
                        <a:pt x="8" y="121"/>
                      </a:lnTo>
                      <a:lnTo>
                        <a:pt x="14" y="105"/>
                      </a:lnTo>
                      <a:lnTo>
                        <a:pt x="21" y="91"/>
                      </a:lnTo>
                      <a:lnTo>
                        <a:pt x="30" y="76"/>
                      </a:lnTo>
                      <a:lnTo>
                        <a:pt x="40" y="64"/>
                      </a:lnTo>
                      <a:lnTo>
                        <a:pt x="51" y="51"/>
                      </a:lnTo>
                      <a:lnTo>
                        <a:pt x="64" y="40"/>
                      </a:lnTo>
                      <a:lnTo>
                        <a:pt x="76" y="30"/>
                      </a:lnTo>
                      <a:lnTo>
                        <a:pt x="91" y="21"/>
                      </a:lnTo>
                      <a:lnTo>
                        <a:pt x="105" y="14"/>
                      </a:lnTo>
                      <a:lnTo>
                        <a:pt x="121" y="8"/>
                      </a:lnTo>
                      <a:lnTo>
                        <a:pt x="137" y="5"/>
                      </a:lnTo>
                      <a:lnTo>
                        <a:pt x="154" y="1"/>
                      </a:lnTo>
                      <a:lnTo>
                        <a:pt x="172" y="0"/>
                      </a:lnTo>
                      <a:lnTo>
                        <a:pt x="172" y="0"/>
                      </a:lnTo>
                      <a:lnTo>
                        <a:pt x="190" y="1"/>
                      </a:lnTo>
                      <a:lnTo>
                        <a:pt x="207" y="5"/>
                      </a:lnTo>
                      <a:lnTo>
                        <a:pt x="223" y="8"/>
                      </a:lnTo>
                      <a:lnTo>
                        <a:pt x="239" y="14"/>
                      </a:lnTo>
                      <a:lnTo>
                        <a:pt x="255" y="21"/>
                      </a:lnTo>
                      <a:lnTo>
                        <a:pt x="269" y="30"/>
                      </a:lnTo>
                      <a:lnTo>
                        <a:pt x="282" y="40"/>
                      </a:lnTo>
                      <a:lnTo>
                        <a:pt x="295" y="51"/>
                      </a:lnTo>
                      <a:lnTo>
                        <a:pt x="304" y="64"/>
                      </a:lnTo>
                      <a:lnTo>
                        <a:pt x="316" y="76"/>
                      </a:lnTo>
                      <a:lnTo>
                        <a:pt x="323" y="91"/>
                      </a:lnTo>
                      <a:lnTo>
                        <a:pt x="331" y="105"/>
                      </a:lnTo>
                      <a:lnTo>
                        <a:pt x="336" y="121"/>
                      </a:lnTo>
                      <a:lnTo>
                        <a:pt x="341" y="138"/>
                      </a:lnTo>
                      <a:lnTo>
                        <a:pt x="344" y="154"/>
                      </a:lnTo>
                      <a:lnTo>
                        <a:pt x="344" y="172"/>
                      </a:lnTo>
                      <a:lnTo>
                        <a:pt x="344" y="172"/>
                      </a:lnTo>
                      <a:lnTo>
                        <a:pt x="344" y="190"/>
                      </a:lnTo>
                      <a:lnTo>
                        <a:pt x="341" y="207"/>
                      </a:lnTo>
                      <a:lnTo>
                        <a:pt x="336" y="225"/>
                      </a:lnTo>
                      <a:lnTo>
                        <a:pt x="331" y="239"/>
                      </a:lnTo>
                      <a:lnTo>
                        <a:pt x="323" y="255"/>
                      </a:lnTo>
                      <a:lnTo>
                        <a:pt x="316" y="269"/>
                      </a:lnTo>
                      <a:lnTo>
                        <a:pt x="304" y="282"/>
                      </a:lnTo>
                      <a:lnTo>
                        <a:pt x="295" y="295"/>
                      </a:lnTo>
                      <a:lnTo>
                        <a:pt x="282" y="306"/>
                      </a:lnTo>
                      <a:lnTo>
                        <a:pt x="269" y="315"/>
                      </a:lnTo>
                      <a:lnTo>
                        <a:pt x="255" y="323"/>
                      </a:lnTo>
                      <a:lnTo>
                        <a:pt x="239" y="331"/>
                      </a:lnTo>
                      <a:lnTo>
                        <a:pt x="223" y="338"/>
                      </a:lnTo>
                      <a:lnTo>
                        <a:pt x="207" y="341"/>
                      </a:lnTo>
                      <a:lnTo>
                        <a:pt x="190" y="344"/>
                      </a:lnTo>
                      <a:lnTo>
                        <a:pt x="172" y="344"/>
                      </a:lnTo>
                      <a:lnTo>
                        <a:pt x="172" y="344"/>
                      </a:lnTo>
                      <a:lnTo>
                        <a:pt x="154" y="344"/>
                      </a:lnTo>
                      <a:lnTo>
                        <a:pt x="137" y="341"/>
                      </a:lnTo>
                      <a:lnTo>
                        <a:pt x="121" y="338"/>
                      </a:lnTo>
                      <a:lnTo>
                        <a:pt x="105" y="331"/>
                      </a:lnTo>
                      <a:lnTo>
                        <a:pt x="91" y="323"/>
                      </a:lnTo>
                      <a:lnTo>
                        <a:pt x="76" y="315"/>
                      </a:lnTo>
                      <a:lnTo>
                        <a:pt x="64" y="306"/>
                      </a:lnTo>
                      <a:lnTo>
                        <a:pt x="51" y="295"/>
                      </a:lnTo>
                      <a:lnTo>
                        <a:pt x="40" y="282"/>
                      </a:lnTo>
                      <a:lnTo>
                        <a:pt x="30" y="269"/>
                      </a:lnTo>
                      <a:lnTo>
                        <a:pt x="21" y="255"/>
                      </a:lnTo>
                      <a:lnTo>
                        <a:pt x="14" y="239"/>
                      </a:lnTo>
                      <a:lnTo>
                        <a:pt x="8" y="225"/>
                      </a:lnTo>
                      <a:lnTo>
                        <a:pt x="3" y="207"/>
                      </a:lnTo>
                      <a:lnTo>
                        <a:pt x="1" y="190"/>
                      </a:lnTo>
                      <a:lnTo>
                        <a:pt x="0" y="172"/>
                      </a:lnTo>
                      <a:lnTo>
                        <a:pt x="0" y="17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55" name="Group 4"/>
              <p:cNvGrpSpPr>
                <a:grpSpLocks noChangeAspect="1"/>
              </p:cNvGrpSpPr>
              <p:nvPr/>
            </p:nvGrpSpPr>
            <p:grpSpPr bwMode="auto">
              <a:xfrm>
                <a:off x="7371727" y="299644"/>
                <a:ext cx="412156" cy="883191"/>
                <a:chOff x="598" y="1936"/>
                <a:chExt cx="287" cy="615"/>
              </a:xfrm>
              <a:solidFill>
                <a:schemeClr val="accent1"/>
              </a:solidFill>
            </p:grpSpPr>
            <p:sp>
              <p:nvSpPr>
                <p:cNvPr id="59" name="Freeform 6"/>
                <p:cNvSpPr>
                  <a:spLocks/>
                </p:cNvSpPr>
                <p:nvPr/>
              </p:nvSpPr>
              <p:spPr bwMode="auto">
                <a:xfrm>
                  <a:off x="598" y="2158"/>
                  <a:ext cx="287" cy="393"/>
                </a:xfrm>
                <a:custGeom>
                  <a:avLst/>
                  <a:gdLst>
                    <a:gd name="T0" fmla="*/ 145 w 572"/>
                    <a:gd name="T1" fmla="*/ 788 h 788"/>
                    <a:gd name="T2" fmla="*/ 130 w 572"/>
                    <a:gd name="T3" fmla="*/ 786 h 788"/>
                    <a:gd name="T4" fmla="*/ 102 w 572"/>
                    <a:gd name="T5" fmla="*/ 780 h 788"/>
                    <a:gd name="T6" fmla="*/ 76 w 572"/>
                    <a:gd name="T7" fmla="*/ 769 h 788"/>
                    <a:gd name="T8" fmla="*/ 52 w 572"/>
                    <a:gd name="T9" fmla="*/ 754 h 788"/>
                    <a:gd name="T10" fmla="*/ 33 w 572"/>
                    <a:gd name="T11" fmla="*/ 734 h 788"/>
                    <a:gd name="T12" fmla="*/ 17 w 572"/>
                    <a:gd name="T13" fmla="*/ 711 h 788"/>
                    <a:gd name="T14" fmla="*/ 6 w 572"/>
                    <a:gd name="T15" fmla="*/ 684 h 788"/>
                    <a:gd name="T16" fmla="*/ 0 w 572"/>
                    <a:gd name="T17" fmla="*/ 655 h 788"/>
                    <a:gd name="T18" fmla="*/ 0 w 572"/>
                    <a:gd name="T19" fmla="*/ 145 h 788"/>
                    <a:gd name="T20" fmla="*/ 0 w 572"/>
                    <a:gd name="T21" fmla="*/ 131 h 788"/>
                    <a:gd name="T22" fmla="*/ 6 w 572"/>
                    <a:gd name="T23" fmla="*/ 102 h 788"/>
                    <a:gd name="T24" fmla="*/ 17 w 572"/>
                    <a:gd name="T25" fmla="*/ 77 h 788"/>
                    <a:gd name="T26" fmla="*/ 33 w 572"/>
                    <a:gd name="T27" fmla="*/ 53 h 788"/>
                    <a:gd name="T28" fmla="*/ 52 w 572"/>
                    <a:gd name="T29" fmla="*/ 34 h 788"/>
                    <a:gd name="T30" fmla="*/ 76 w 572"/>
                    <a:gd name="T31" fmla="*/ 18 h 788"/>
                    <a:gd name="T32" fmla="*/ 102 w 572"/>
                    <a:gd name="T33" fmla="*/ 6 h 788"/>
                    <a:gd name="T34" fmla="*/ 130 w 572"/>
                    <a:gd name="T35" fmla="*/ 2 h 788"/>
                    <a:gd name="T36" fmla="*/ 425 w 572"/>
                    <a:gd name="T37" fmla="*/ 0 h 788"/>
                    <a:gd name="T38" fmla="*/ 441 w 572"/>
                    <a:gd name="T39" fmla="*/ 2 h 788"/>
                    <a:gd name="T40" fmla="*/ 468 w 572"/>
                    <a:gd name="T41" fmla="*/ 6 h 788"/>
                    <a:gd name="T42" fmla="*/ 495 w 572"/>
                    <a:gd name="T43" fmla="*/ 18 h 788"/>
                    <a:gd name="T44" fmla="*/ 518 w 572"/>
                    <a:gd name="T45" fmla="*/ 34 h 788"/>
                    <a:gd name="T46" fmla="*/ 539 w 572"/>
                    <a:gd name="T47" fmla="*/ 53 h 788"/>
                    <a:gd name="T48" fmla="*/ 553 w 572"/>
                    <a:gd name="T49" fmla="*/ 77 h 788"/>
                    <a:gd name="T50" fmla="*/ 564 w 572"/>
                    <a:gd name="T51" fmla="*/ 102 h 788"/>
                    <a:gd name="T52" fmla="*/ 570 w 572"/>
                    <a:gd name="T53" fmla="*/ 131 h 788"/>
                    <a:gd name="T54" fmla="*/ 572 w 572"/>
                    <a:gd name="T55" fmla="*/ 641 h 788"/>
                    <a:gd name="T56" fmla="*/ 570 w 572"/>
                    <a:gd name="T57" fmla="*/ 655 h 788"/>
                    <a:gd name="T58" fmla="*/ 564 w 572"/>
                    <a:gd name="T59" fmla="*/ 684 h 788"/>
                    <a:gd name="T60" fmla="*/ 553 w 572"/>
                    <a:gd name="T61" fmla="*/ 711 h 788"/>
                    <a:gd name="T62" fmla="*/ 539 w 572"/>
                    <a:gd name="T63" fmla="*/ 734 h 788"/>
                    <a:gd name="T64" fmla="*/ 518 w 572"/>
                    <a:gd name="T65" fmla="*/ 754 h 788"/>
                    <a:gd name="T66" fmla="*/ 495 w 572"/>
                    <a:gd name="T67" fmla="*/ 769 h 788"/>
                    <a:gd name="T68" fmla="*/ 468 w 572"/>
                    <a:gd name="T69" fmla="*/ 780 h 788"/>
                    <a:gd name="T70" fmla="*/ 441 w 572"/>
                    <a:gd name="T71" fmla="*/ 786 h 788"/>
                    <a:gd name="T72" fmla="*/ 425 w 572"/>
                    <a:gd name="T73" fmla="*/ 788 h 7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2" h="788">
                      <a:moveTo>
                        <a:pt x="425" y="788"/>
                      </a:moveTo>
                      <a:lnTo>
                        <a:pt x="145" y="788"/>
                      </a:lnTo>
                      <a:lnTo>
                        <a:pt x="145" y="788"/>
                      </a:lnTo>
                      <a:lnTo>
                        <a:pt x="130" y="786"/>
                      </a:lnTo>
                      <a:lnTo>
                        <a:pt x="116" y="785"/>
                      </a:lnTo>
                      <a:lnTo>
                        <a:pt x="102" y="780"/>
                      </a:lnTo>
                      <a:lnTo>
                        <a:pt x="89" y="775"/>
                      </a:lnTo>
                      <a:lnTo>
                        <a:pt x="76" y="769"/>
                      </a:lnTo>
                      <a:lnTo>
                        <a:pt x="63" y="762"/>
                      </a:lnTo>
                      <a:lnTo>
                        <a:pt x="52" y="754"/>
                      </a:lnTo>
                      <a:lnTo>
                        <a:pt x="43" y="745"/>
                      </a:lnTo>
                      <a:lnTo>
                        <a:pt x="33" y="734"/>
                      </a:lnTo>
                      <a:lnTo>
                        <a:pt x="24" y="722"/>
                      </a:lnTo>
                      <a:lnTo>
                        <a:pt x="17" y="711"/>
                      </a:lnTo>
                      <a:lnTo>
                        <a:pt x="11" y="698"/>
                      </a:lnTo>
                      <a:lnTo>
                        <a:pt x="6" y="684"/>
                      </a:lnTo>
                      <a:lnTo>
                        <a:pt x="3" y="671"/>
                      </a:lnTo>
                      <a:lnTo>
                        <a:pt x="0" y="655"/>
                      </a:lnTo>
                      <a:lnTo>
                        <a:pt x="0" y="641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31"/>
                      </a:lnTo>
                      <a:lnTo>
                        <a:pt x="3" y="116"/>
                      </a:lnTo>
                      <a:lnTo>
                        <a:pt x="6" y="102"/>
                      </a:lnTo>
                      <a:lnTo>
                        <a:pt x="11" y="89"/>
                      </a:lnTo>
                      <a:lnTo>
                        <a:pt x="17" y="77"/>
                      </a:lnTo>
                      <a:lnTo>
                        <a:pt x="24" y="64"/>
                      </a:lnTo>
                      <a:lnTo>
                        <a:pt x="33" y="53"/>
                      </a:lnTo>
                      <a:lnTo>
                        <a:pt x="43" y="43"/>
                      </a:lnTo>
                      <a:lnTo>
                        <a:pt x="52" y="34"/>
                      </a:lnTo>
                      <a:lnTo>
                        <a:pt x="63" y="26"/>
                      </a:lnTo>
                      <a:lnTo>
                        <a:pt x="76" y="18"/>
                      </a:lnTo>
                      <a:lnTo>
                        <a:pt x="89" y="11"/>
                      </a:lnTo>
                      <a:lnTo>
                        <a:pt x="102" y="6"/>
                      </a:lnTo>
                      <a:lnTo>
                        <a:pt x="116" y="3"/>
                      </a:lnTo>
                      <a:lnTo>
                        <a:pt x="130" y="2"/>
                      </a:lnTo>
                      <a:lnTo>
                        <a:pt x="145" y="0"/>
                      </a:lnTo>
                      <a:lnTo>
                        <a:pt x="425" y="0"/>
                      </a:lnTo>
                      <a:lnTo>
                        <a:pt x="425" y="0"/>
                      </a:lnTo>
                      <a:lnTo>
                        <a:pt x="441" y="2"/>
                      </a:lnTo>
                      <a:lnTo>
                        <a:pt x="456" y="3"/>
                      </a:lnTo>
                      <a:lnTo>
                        <a:pt x="468" y="6"/>
                      </a:lnTo>
                      <a:lnTo>
                        <a:pt x="483" y="11"/>
                      </a:lnTo>
                      <a:lnTo>
                        <a:pt x="495" y="18"/>
                      </a:lnTo>
                      <a:lnTo>
                        <a:pt x="507" y="26"/>
                      </a:lnTo>
                      <a:lnTo>
                        <a:pt x="518" y="34"/>
                      </a:lnTo>
                      <a:lnTo>
                        <a:pt x="529" y="43"/>
                      </a:lnTo>
                      <a:lnTo>
                        <a:pt x="539" y="53"/>
                      </a:lnTo>
                      <a:lnTo>
                        <a:pt x="546" y="64"/>
                      </a:lnTo>
                      <a:lnTo>
                        <a:pt x="553" y="77"/>
                      </a:lnTo>
                      <a:lnTo>
                        <a:pt x="559" y="89"/>
                      </a:lnTo>
                      <a:lnTo>
                        <a:pt x="564" y="102"/>
                      </a:lnTo>
                      <a:lnTo>
                        <a:pt x="569" y="116"/>
                      </a:lnTo>
                      <a:lnTo>
                        <a:pt x="570" y="131"/>
                      </a:lnTo>
                      <a:lnTo>
                        <a:pt x="572" y="145"/>
                      </a:lnTo>
                      <a:lnTo>
                        <a:pt x="572" y="641"/>
                      </a:lnTo>
                      <a:lnTo>
                        <a:pt x="572" y="641"/>
                      </a:lnTo>
                      <a:lnTo>
                        <a:pt x="570" y="655"/>
                      </a:lnTo>
                      <a:lnTo>
                        <a:pt x="569" y="671"/>
                      </a:lnTo>
                      <a:lnTo>
                        <a:pt x="564" y="684"/>
                      </a:lnTo>
                      <a:lnTo>
                        <a:pt x="559" y="698"/>
                      </a:lnTo>
                      <a:lnTo>
                        <a:pt x="553" y="711"/>
                      </a:lnTo>
                      <a:lnTo>
                        <a:pt x="546" y="722"/>
                      </a:lnTo>
                      <a:lnTo>
                        <a:pt x="539" y="734"/>
                      </a:lnTo>
                      <a:lnTo>
                        <a:pt x="529" y="745"/>
                      </a:lnTo>
                      <a:lnTo>
                        <a:pt x="518" y="754"/>
                      </a:lnTo>
                      <a:lnTo>
                        <a:pt x="507" y="762"/>
                      </a:lnTo>
                      <a:lnTo>
                        <a:pt x="495" y="769"/>
                      </a:lnTo>
                      <a:lnTo>
                        <a:pt x="483" y="775"/>
                      </a:lnTo>
                      <a:lnTo>
                        <a:pt x="468" y="780"/>
                      </a:lnTo>
                      <a:lnTo>
                        <a:pt x="456" y="785"/>
                      </a:lnTo>
                      <a:lnTo>
                        <a:pt x="441" y="786"/>
                      </a:lnTo>
                      <a:lnTo>
                        <a:pt x="425" y="788"/>
                      </a:lnTo>
                      <a:lnTo>
                        <a:pt x="425" y="78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" name="Freeform 7"/>
                <p:cNvSpPr>
                  <a:spLocks/>
                </p:cNvSpPr>
                <p:nvPr/>
              </p:nvSpPr>
              <p:spPr bwMode="auto">
                <a:xfrm>
                  <a:off x="655" y="1936"/>
                  <a:ext cx="172" cy="172"/>
                </a:xfrm>
                <a:custGeom>
                  <a:avLst/>
                  <a:gdLst>
                    <a:gd name="T0" fmla="*/ 0 w 344"/>
                    <a:gd name="T1" fmla="*/ 172 h 344"/>
                    <a:gd name="T2" fmla="*/ 3 w 344"/>
                    <a:gd name="T3" fmla="*/ 138 h 344"/>
                    <a:gd name="T4" fmla="*/ 14 w 344"/>
                    <a:gd name="T5" fmla="*/ 105 h 344"/>
                    <a:gd name="T6" fmla="*/ 30 w 344"/>
                    <a:gd name="T7" fmla="*/ 76 h 344"/>
                    <a:gd name="T8" fmla="*/ 51 w 344"/>
                    <a:gd name="T9" fmla="*/ 51 h 344"/>
                    <a:gd name="T10" fmla="*/ 76 w 344"/>
                    <a:gd name="T11" fmla="*/ 30 h 344"/>
                    <a:gd name="T12" fmla="*/ 105 w 344"/>
                    <a:gd name="T13" fmla="*/ 14 h 344"/>
                    <a:gd name="T14" fmla="*/ 137 w 344"/>
                    <a:gd name="T15" fmla="*/ 5 h 344"/>
                    <a:gd name="T16" fmla="*/ 172 w 344"/>
                    <a:gd name="T17" fmla="*/ 0 h 344"/>
                    <a:gd name="T18" fmla="*/ 190 w 344"/>
                    <a:gd name="T19" fmla="*/ 1 h 344"/>
                    <a:gd name="T20" fmla="*/ 223 w 344"/>
                    <a:gd name="T21" fmla="*/ 8 h 344"/>
                    <a:gd name="T22" fmla="*/ 255 w 344"/>
                    <a:gd name="T23" fmla="*/ 21 h 344"/>
                    <a:gd name="T24" fmla="*/ 282 w 344"/>
                    <a:gd name="T25" fmla="*/ 40 h 344"/>
                    <a:gd name="T26" fmla="*/ 304 w 344"/>
                    <a:gd name="T27" fmla="*/ 64 h 344"/>
                    <a:gd name="T28" fmla="*/ 323 w 344"/>
                    <a:gd name="T29" fmla="*/ 91 h 344"/>
                    <a:gd name="T30" fmla="*/ 336 w 344"/>
                    <a:gd name="T31" fmla="*/ 121 h 344"/>
                    <a:gd name="T32" fmla="*/ 344 w 344"/>
                    <a:gd name="T33" fmla="*/ 154 h 344"/>
                    <a:gd name="T34" fmla="*/ 344 w 344"/>
                    <a:gd name="T35" fmla="*/ 172 h 344"/>
                    <a:gd name="T36" fmla="*/ 341 w 344"/>
                    <a:gd name="T37" fmla="*/ 207 h 344"/>
                    <a:gd name="T38" fmla="*/ 331 w 344"/>
                    <a:gd name="T39" fmla="*/ 239 h 344"/>
                    <a:gd name="T40" fmla="*/ 316 w 344"/>
                    <a:gd name="T41" fmla="*/ 269 h 344"/>
                    <a:gd name="T42" fmla="*/ 295 w 344"/>
                    <a:gd name="T43" fmla="*/ 295 h 344"/>
                    <a:gd name="T44" fmla="*/ 269 w 344"/>
                    <a:gd name="T45" fmla="*/ 315 h 344"/>
                    <a:gd name="T46" fmla="*/ 239 w 344"/>
                    <a:gd name="T47" fmla="*/ 331 h 344"/>
                    <a:gd name="T48" fmla="*/ 207 w 344"/>
                    <a:gd name="T49" fmla="*/ 341 h 344"/>
                    <a:gd name="T50" fmla="*/ 172 w 344"/>
                    <a:gd name="T51" fmla="*/ 344 h 344"/>
                    <a:gd name="T52" fmla="*/ 154 w 344"/>
                    <a:gd name="T53" fmla="*/ 344 h 344"/>
                    <a:gd name="T54" fmla="*/ 121 w 344"/>
                    <a:gd name="T55" fmla="*/ 338 h 344"/>
                    <a:gd name="T56" fmla="*/ 91 w 344"/>
                    <a:gd name="T57" fmla="*/ 323 h 344"/>
                    <a:gd name="T58" fmla="*/ 64 w 344"/>
                    <a:gd name="T59" fmla="*/ 306 h 344"/>
                    <a:gd name="T60" fmla="*/ 40 w 344"/>
                    <a:gd name="T61" fmla="*/ 282 h 344"/>
                    <a:gd name="T62" fmla="*/ 21 w 344"/>
                    <a:gd name="T63" fmla="*/ 255 h 344"/>
                    <a:gd name="T64" fmla="*/ 8 w 344"/>
                    <a:gd name="T65" fmla="*/ 225 h 344"/>
                    <a:gd name="T66" fmla="*/ 1 w 344"/>
                    <a:gd name="T67" fmla="*/ 190 h 344"/>
                    <a:gd name="T68" fmla="*/ 0 w 344"/>
                    <a:gd name="T69" fmla="*/ 172 h 3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44" h="344">
                      <a:moveTo>
                        <a:pt x="0" y="172"/>
                      </a:moveTo>
                      <a:lnTo>
                        <a:pt x="0" y="172"/>
                      </a:lnTo>
                      <a:lnTo>
                        <a:pt x="1" y="154"/>
                      </a:lnTo>
                      <a:lnTo>
                        <a:pt x="3" y="138"/>
                      </a:lnTo>
                      <a:lnTo>
                        <a:pt x="8" y="121"/>
                      </a:lnTo>
                      <a:lnTo>
                        <a:pt x="14" y="105"/>
                      </a:lnTo>
                      <a:lnTo>
                        <a:pt x="21" y="91"/>
                      </a:lnTo>
                      <a:lnTo>
                        <a:pt x="30" y="76"/>
                      </a:lnTo>
                      <a:lnTo>
                        <a:pt x="40" y="64"/>
                      </a:lnTo>
                      <a:lnTo>
                        <a:pt x="51" y="51"/>
                      </a:lnTo>
                      <a:lnTo>
                        <a:pt x="64" y="40"/>
                      </a:lnTo>
                      <a:lnTo>
                        <a:pt x="76" y="30"/>
                      </a:lnTo>
                      <a:lnTo>
                        <a:pt x="91" y="21"/>
                      </a:lnTo>
                      <a:lnTo>
                        <a:pt x="105" y="14"/>
                      </a:lnTo>
                      <a:lnTo>
                        <a:pt x="121" y="8"/>
                      </a:lnTo>
                      <a:lnTo>
                        <a:pt x="137" y="5"/>
                      </a:lnTo>
                      <a:lnTo>
                        <a:pt x="154" y="1"/>
                      </a:lnTo>
                      <a:lnTo>
                        <a:pt x="172" y="0"/>
                      </a:lnTo>
                      <a:lnTo>
                        <a:pt x="172" y="0"/>
                      </a:lnTo>
                      <a:lnTo>
                        <a:pt x="190" y="1"/>
                      </a:lnTo>
                      <a:lnTo>
                        <a:pt x="207" y="5"/>
                      </a:lnTo>
                      <a:lnTo>
                        <a:pt x="223" y="8"/>
                      </a:lnTo>
                      <a:lnTo>
                        <a:pt x="239" y="14"/>
                      </a:lnTo>
                      <a:lnTo>
                        <a:pt x="255" y="21"/>
                      </a:lnTo>
                      <a:lnTo>
                        <a:pt x="269" y="30"/>
                      </a:lnTo>
                      <a:lnTo>
                        <a:pt x="282" y="40"/>
                      </a:lnTo>
                      <a:lnTo>
                        <a:pt x="295" y="51"/>
                      </a:lnTo>
                      <a:lnTo>
                        <a:pt x="304" y="64"/>
                      </a:lnTo>
                      <a:lnTo>
                        <a:pt x="316" y="76"/>
                      </a:lnTo>
                      <a:lnTo>
                        <a:pt x="323" y="91"/>
                      </a:lnTo>
                      <a:lnTo>
                        <a:pt x="331" y="105"/>
                      </a:lnTo>
                      <a:lnTo>
                        <a:pt x="336" y="121"/>
                      </a:lnTo>
                      <a:lnTo>
                        <a:pt x="341" y="138"/>
                      </a:lnTo>
                      <a:lnTo>
                        <a:pt x="344" y="154"/>
                      </a:lnTo>
                      <a:lnTo>
                        <a:pt x="344" y="172"/>
                      </a:lnTo>
                      <a:lnTo>
                        <a:pt x="344" y="172"/>
                      </a:lnTo>
                      <a:lnTo>
                        <a:pt x="344" y="190"/>
                      </a:lnTo>
                      <a:lnTo>
                        <a:pt x="341" y="207"/>
                      </a:lnTo>
                      <a:lnTo>
                        <a:pt x="336" y="225"/>
                      </a:lnTo>
                      <a:lnTo>
                        <a:pt x="331" y="239"/>
                      </a:lnTo>
                      <a:lnTo>
                        <a:pt x="323" y="255"/>
                      </a:lnTo>
                      <a:lnTo>
                        <a:pt x="316" y="269"/>
                      </a:lnTo>
                      <a:lnTo>
                        <a:pt x="304" y="282"/>
                      </a:lnTo>
                      <a:lnTo>
                        <a:pt x="295" y="295"/>
                      </a:lnTo>
                      <a:lnTo>
                        <a:pt x="282" y="306"/>
                      </a:lnTo>
                      <a:lnTo>
                        <a:pt x="269" y="315"/>
                      </a:lnTo>
                      <a:lnTo>
                        <a:pt x="255" y="323"/>
                      </a:lnTo>
                      <a:lnTo>
                        <a:pt x="239" y="331"/>
                      </a:lnTo>
                      <a:lnTo>
                        <a:pt x="223" y="338"/>
                      </a:lnTo>
                      <a:lnTo>
                        <a:pt x="207" y="341"/>
                      </a:lnTo>
                      <a:lnTo>
                        <a:pt x="190" y="344"/>
                      </a:lnTo>
                      <a:lnTo>
                        <a:pt x="172" y="344"/>
                      </a:lnTo>
                      <a:lnTo>
                        <a:pt x="172" y="344"/>
                      </a:lnTo>
                      <a:lnTo>
                        <a:pt x="154" y="344"/>
                      </a:lnTo>
                      <a:lnTo>
                        <a:pt x="137" y="341"/>
                      </a:lnTo>
                      <a:lnTo>
                        <a:pt x="121" y="338"/>
                      </a:lnTo>
                      <a:lnTo>
                        <a:pt x="105" y="331"/>
                      </a:lnTo>
                      <a:lnTo>
                        <a:pt x="91" y="323"/>
                      </a:lnTo>
                      <a:lnTo>
                        <a:pt x="76" y="315"/>
                      </a:lnTo>
                      <a:lnTo>
                        <a:pt x="64" y="306"/>
                      </a:lnTo>
                      <a:lnTo>
                        <a:pt x="51" y="295"/>
                      </a:lnTo>
                      <a:lnTo>
                        <a:pt x="40" y="282"/>
                      </a:lnTo>
                      <a:lnTo>
                        <a:pt x="30" y="269"/>
                      </a:lnTo>
                      <a:lnTo>
                        <a:pt x="21" y="255"/>
                      </a:lnTo>
                      <a:lnTo>
                        <a:pt x="14" y="239"/>
                      </a:lnTo>
                      <a:lnTo>
                        <a:pt x="8" y="225"/>
                      </a:lnTo>
                      <a:lnTo>
                        <a:pt x="3" y="207"/>
                      </a:lnTo>
                      <a:lnTo>
                        <a:pt x="1" y="190"/>
                      </a:lnTo>
                      <a:lnTo>
                        <a:pt x="0" y="172"/>
                      </a:lnTo>
                      <a:lnTo>
                        <a:pt x="0" y="172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56" name="Group 55"/>
              <p:cNvGrpSpPr>
                <a:grpSpLocks noChangeAspect="1"/>
              </p:cNvGrpSpPr>
              <p:nvPr/>
            </p:nvGrpSpPr>
            <p:grpSpPr bwMode="auto">
              <a:xfrm>
                <a:off x="6846910" y="-20381"/>
                <a:ext cx="576021" cy="1234331"/>
                <a:chOff x="598" y="1936"/>
                <a:chExt cx="287" cy="615"/>
              </a:xfrm>
              <a:solidFill>
                <a:schemeClr val="accent5"/>
              </a:solidFill>
            </p:grpSpPr>
            <p:sp>
              <p:nvSpPr>
                <p:cNvPr id="57" name="Freeform 6"/>
                <p:cNvSpPr>
                  <a:spLocks/>
                </p:cNvSpPr>
                <p:nvPr/>
              </p:nvSpPr>
              <p:spPr bwMode="auto">
                <a:xfrm>
                  <a:off x="598" y="2158"/>
                  <a:ext cx="287" cy="393"/>
                </a:xfrm>
                <a:custGeom>
                  <a:avLst/>
                  <a:gdLst>
                    <a:gd name="T0" fmla="*/ 145 w 572"/>
                    <a:gd name="T1" fmla="*/ 788 h 788"/>
                    <a:gd name="T2" fmla="*/ 130 w 572"/>
                    <a:gd name="T3" fmla="*/ 786 h 788"/>
                    <a:gd name="T4" fmla="*/ 102 w 572"/>
                    <a:gd name="T5" fmla="*/ 780 h 788"/>
                    <a:gd name="T6" fmla="*/ 76 w 572"/>
                    <a:gd name="T7" fmla="*/ 769 h 788"/>
                    <a:gd name="T8" fmla="*/ 52 w 572"/>
                    <a:gd name="T9" fmla="*/ 754 h 788"/>
                    <a:gd name="T10" fmla="*/ 33 w 572"/>
                    <a:gd name="T11" fmla="*/ 734 h 788"/>
                    <a:gd name="T12" fmla="*/ 17 w 572"/>
                    <a:gd name="T13" fmla="*/ 711 h 788"/>
                    <a:gd name="T14" fmla="*/ 6 w 572"/>
                    <a:gd name="T15" fmla="*/ 684 h 788"/>
                    <a:gd name="T16" fmla="*/ 0 w 572"/>
                    <a:gd name="T17" fmla="*/ 655 h 788"/>
                    <a:gd name="T18" fmla="*/ 0 w 572"/>
                    <a:gd name="T19" fmla="*/ 145 h 788"/>
                    <a:gd name="T20" fmla="*/ 0 w 572"/>
                    <a:gd name="T21" fmla="*/ 131 h 788"/>
                    <a:gd name="T22" fmla="*/ 6 w 572"/>
                    <a:gd name="T23" fmla="*/ 102 h 788"/>
                    <a:gd name="T24" fmla="*/ 17 w 572"/>
                    <a:gd name="T25" fmla="*/ 77 h 788"/>
                    <a:gd name="T26" fmla="*/ 33 w 572"/>
                    <a:gd name="T27" fmla="*/ 53 h 788"/>
                    <a:gd name="T28" fmla="*/ 52 w 572"/>
                    <a:gd name="T29" fmla="*/ 34 h 788"/>
                    <a:gd name="T30" fmla="*/ 76 w 572"/>
                    <a:gd name="T31" fmla="*/ 18 h 788"/>
                    <a:gd name="T32" fmla="*/ 102 w 572"/>
                    <a:gd name="T33" fmla="*/ 6 h 788"/>
                    <a:gd name="T34" fmla="*/ 130 w 572"/>
                    <a:gd name="T35" fmla="*/ 2 h 788"/>
                    <a:gd name="T36" fmla="*/ 425 w 572"/>
                    <a:gd name="T37" fmla="*/ 0 h 788"/>
                    <a:gd name="T38" fmla="*/ 441 w 572"/>
                    <a:gd name="T39" fmla="*/ 2 h 788"/>
                    <a:gd name="T40" fmla="*/ 468 w 572"/>
                    <a:gd name="T41" fmla="*/ 6 h 788"/>
                    <a:gd name="T42" fmla="*/ 495 w 572"/>
                    <a:gd name="T43" fmla="*/ 18 h 788"/>
                    <a:gd name="T44" fmla="*/ 518 w 572"/>
                    <a:gd name="T45" fmla="*/ 34 h 788"/>
                    <a:gd name="T46" fmla="*/ 539 w 572"/>
                    <a:gd name="T47" fmla="*/ 53 h 788"/>
                    <a:gd name="T48" fmla="*/ 553 w 572"/>
                    <a:gd name="T49" fmla="*/ 77 h 788"/>
                    <a:gd name="T50" fmla="*/ 564 w 572"/>
                    <a:gd name="T51" fmla="*/ 102 h 788"/>
                    <a:gd name="T52" fmla="*/ 570 w 572"/>
                    <a:gd name="T53" fmla="*/ 131 h 788"/>
                    <a:gd name="T54" fmla="*/ 572 w 572"/>
                    <a:gd name="T55" fmla="*/ 641 h 788"/>
                    <a:gd name="T56" fmla="*/ 570 w 572"/>
                    <a:gd name="T57" fmla="*/ 655 h 788"/>
                    <a:gd name="T58" fmla="*/ 564 w 572"/>
                    <a:gd name="T59" fmla="*/ 684 h 788"/>
                    <a:gd name="T60" fmla="*/ 553 w 572"/>
                    <a:gd name="T61" fmla="*/ 711 h 788"/>
                    <a:gd name="T62" fmla="*/ 539 w 572"/>
                    <a:gd name="T63" fmla="*/ 734 h 788"/>
                    <a:gd name="T64" fmla="*/ 518 w 572"/>
                    <a:gd name="T65" fmla="*/ 754 h 788"/>
                    <a:gd name="T66" fmla="*/ 495 w 572"/>
                    <a:gd name="T67" fmla="*/ 769 h 788"/>
                    <a:gd name="T68" fmla="*/ 468 w 572"/>
                    <a:gd name="T69" fmla="*/ 780 h 788"/>
                    <a:gd name="T70" fmla="*/ 441 w 572"/>
                    <a:gd name="T71" fmla="*/ 786 h 788"/>
                    <a:gd name="T72" fmla="*/ 425 w 572"/>
                    <a:gd name="T73" fmla="*/ 788 h 7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2" h="788">
                      <a:moveTo>
                        <a:pt x="425" y="788"/>
                      </a:moveTo>
                      <a:lnTo>
                        <a:pt x="145" y="788"/>
                      </a:lnTo>
                      <a:lnTo>
                        <a:pt x="145" y="788"/>
                      </a:lnTo>
                      <a:lnTo>
                        <a:pt x="130" y="786"/>
                      </a:lnTo>
                      <a:lnTo>
                        <a:pt x="116" y="785"/>
                      </a:lnTo>
                      <a:lnTo>
                        <a:pt x="102" y="780"/>
                      </a:lnTo>
                      <a:lnTo>
                        <a:pt x="89" y="775"/>
                      </a:lnTo>
                      <a:lnTo>
                        <a:pt x="76" y="769"/>
                      </a:lnTo>
                      <a:lnTo>
                        <a:pt x="63" y="762"/>
                      </a:lnTo>
                      <a:lnTo>
                        <a:pt x="52" y="754"/>
                      </a:lnTo>
                      <a:lnTo>
                        <a:pt x="43" y="745"/>
                      </a:lnTo>
                      <a:lnTo>
                        <a:pt x="33" y="734"/>
                      </a:lnTo>
                      <a:lnTo>
                        <a:pt x="24" y="722"/>
                      </a:lnTo>
                      <a:lnTo>
                        <a:pt x="17" y="711"/>
                      </a:lnTo>
                      <a:lnTo>
                        <a:pt x="11" y="698"/>
                      </a:lnTo>
                      <a:lnTo>
                        <a:pt x="6" y="684"/>
                      </a:lnTo>
                      <a:lnTo>
                        <a:pt x="3" y="671"/>
                      </a:lnTo>
                      <a:lnTo>
                        <a:pt x="0" y="655"/>
                      </a:lnTo>
                      <a:lnTo>
                        <a:pt x="0" y="641"/>
                      </a:lnTo>
                      <a:lnTo>
                        <a:pt x="0" y="145"/>
                      </a:lnTo>
                      <a:lnTo>
                        <a:pt x="0" y="145"/>
                      </a:lnTo>
                      <a:lnTo>
                        <a:pt x="0" y="131"/>
                      </a:lnTo>
                      <a:lnTo>
                        <a:pt x="3" y="116"/>
                      </a:lnTo>
                      <a:lnTo>
                        <a:pt x="6" y="102"/>
                      </a:lnTo>
                      <a:lnTo>
                        <a:pt x="11" y="89"/>
                      </a:lnTo>
                      <a:lnTo>
                        <a:pt x="17" y="77"/>
                      </a:lnTo>
                      <a:lnTo>
                        <a:pt x="24" y="64"/>
                      </a:lnTo>
                      <a:lnTo>
                        <a:pt x="33" y="53"/>
                      </a:lnTo>
                      <a:lnTo>
                        <a:pt x="43" y="43"/>
                      </a:lnTo>
                      <a:lnTo>
                        <a:pt x="52" y="34"/>
                      </a:lnTo>
                      <a:lnTo>
                        <a:pt x="63" y="26"/>
                      </a:lnTo>
                      <a:lnTo>
                        <a:pt x="76" y="18"/>
                      </a:lnTo>
                      <a:lnTo>
                        <a:pt x="89" y="11"/>
                      </a:lnTo>
                      <a:lnTo>
                        <a:pt x="102" y="6"/>
                      </a:lnTo>
                      <a:lnTo>
                        <a:pt x="116" y="3"/>
                      </a:lnTo>
                      <a:lnTo>
                        <a:pt x="130" y="2"/>
                      </a:lnTo>
                      <a:lnTo>
                        <a:pt x="145" y="0"/>
                      </a:lnTo>
                      <a:lnTo>
                        <a:pt x="425" y="0"/>
                      </a:lnTo>
                      <a:lnTo>
                        <a:pt x="425" y="0"/>
                      </a:lnTo>
                      <a:lnTo>
                        <a:pt x="441" y="2"/>
                      </a:lnTo>
                      <a:lnTo>
                        <a:pt x="456" y="3"/>
                      </a:lnTo>
                      <a:lnTo>
                        <a:pt x="468" y="6"/>
                      </a:lnTo>
                      <a:lnTo>
                        <a:pt x="483" y="11"/>
                      </a:lnTo>
                      <a:lnTo>
                        <a:pt x="495" y="18"/>
                      </a:lnTo>
                      <a:lnTo>
                        <a:pt x="507" y="26"/>
                      </a:lnTo>
                      <a:lnTo>
                        <a:pt x="518" y="34"/>
                      </a:lnTo>
                      <a:lnTo>
                        <a:pt x="529" y="43"/>
                      </a:lnTo>
                      <a:lnTo>
                        <a:pt x="539" y="53"/>
                      </a:lnTo>
                      <a:lnTo>
                        <a:pt x="546" y="64"/>
                      </a:lnTo>
                      <a:lnTo>
                        <a:pt x="553" y="77"/>
                      </a:lnTo>
                      <a:lnTo>
                        <a:pt x="559" y="89"/>
                      </a:lnTo>
                      <a:lnTo>
                        <a:pt x="564" y="102"/>
                      </a:lnTo>
                      <a:lnTo>
                        <a:pt x="569" y="116"/>
                      </a:lnTo>
                      <a:lnTo>
                        <a:pt x="570" y="131"/>
                      </a:lnTo>
                      <a:lnTo>
                        <a:pt x="572" y="145"/>
                      </a:lnTo>
                      <a:lnTo>
                        <a:pt x="572" y="641"/>
                      </a:lnTo>
                      <a:lnTo>
                        <a:pt x="572" y="641"/>
                      </a:lnTo>
                      <a:lnTo>
                        <a:pt x="570" y="655"/>
                      </a:lnTo>
                      <a:lnTo>
                        <a:pt x="569" y="671"/>
                      </a:lnTo>
                      <a:lnTo>
                        <a:pt x="564" y="684"/>
                      </a:lnTo>
                      <a:lnTo>
                        <a:pt x="559" y="698"/>
                      </a:lnTo>
                      <a:lnTo>
                        <a:pt x="553" y="711"/>
                      </a:lnTo>
                      <a:lnTo>
                        <a:pt x="546" y="722"/>
                      </a:lnTo>
                      <a:lnTo>
                        <a:pt x="539" y="734"/>
                      </a:lnTo>
                      <a:lnTo>
                        <a:pt x="529" y="745"/>
                      </a:lnTo>
                      <a:lnTo>
                        <a:pt x="518" y="754"/>
                      </a:lnTo>
                      <a:lnTo>
                        <a:pt x="507" y="762"/>
                      </a:lnTo>
                      <a:lnTo>
                        <a:pt x="495" y="769"/>
                      </a:lnTo>
                      <a:lnTo>
                        <a:pt x="483" y="775"/>
                      </a:lnTo>
                      <a:lnTo>
                        <a:pt x="468" y="780"/>
                      </a:lnTo>
                      <a:lnTo>
                        <a:pt x="456" y="785"/>
                      </a:lnTo>
                      <a:lnTo>
                        <a:pt x="441" y="786"/>
                      </a:lnTo>
                      <a:lnTo>
                        <a:pt x="425" y="788"/>
                      </a:lnTo>
                      <a:lnTo>
                        <a:pt x="425" y="7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Freeform 7"/>
                <p:cNvSpPr>
                  <a:spLocks/>
                </p:cNvSpPr>
                <p:nvPr/>
              </p:nvSpPr>
              <p:spPr bwMode="auto">
                <a:xfrm>
                  <a:off x="655" y="1936"/>
                  <a:ext cx="172" cy="172"/>
                </a:xfrm>
                <a:custGeom>
                  <a:avLst/>
                  <a:gdLst>
                    <a:gd name="T0" fmla="*/ 0 w 344"/>
                    <a:gd name="T1" fmla="*/ 172 h 344"/>
                    <a:gd name="T2" fmla="*/ 3 w 344"/>
                    <a:gd name="T3" fmla="*/ 138 h 344"/>
                    <a:gd name="T4" fmla="*/ 14 w 344"/>
                    <a:gd name="T5" fmla="*/ 105 h 344"/>
                    <a:gd name="T6" fmla="*/ 30 w 344"/>
                    <a:gd name="T7" fmla="*/ 76 h 344"/>
                    <a:gd name="T8" fmla="*/ 51 w 344"/>
                    <a:gd name="T9" fmla="*/ 51 h 344"/>
                    <a:gd name="T10" fmla="*/ 76 w 344"/>
                    <a:gd name="T11" fmla="*/ 30 h 344"/>
                    <a:gd name="T12" fmla="*/ 105 w 344"/>
                    <a:gd name="T13" fmla="*/ 14 h 344"/>
                    <a:gd name="T14" fmla="*/ 137 w 344"/>
                    <a:gd name="T15" fmla="*/ 5 h 344"/>
                    <a:gd name="T16" fmla="*/ 172 w 344"/>
                    <a:gd name="T17" fmla="*/ 0 h 344"/>
                    <a:gd name="T18" fmla="*/ 190 w 344"/>
                    <a:gd name="T19" fmla="*/ 1 h 344"/>
                    <a:gd name="T20" fmla="*/ 223 w 344"/>
                    <a:gd name="T21" fmla="*/ 8 h 344"/>
                    <a:gd name="T22" fmla="*/ 255 w 344"/>
                    <a:gd name="T23" fmla="*/ 21 h 344"/>
                    <a:gd name="T24" fmla="*/ 282 w 344"/>
                    <a:gd name="T25" fmla="*/ 40 h 344"/>
                    <a:gd name="T26" fmla="*/ 304 w 344"/>
                    <a:gd name="T27" fmla="*/ 64 h 344"/>
                    <a:gd name="T28" fmla="*/ 323 w 344"/>
                    <a:gd name="T29" fmla="*/ 91 h 344"/>
                    <a:gd name="T30" fmla="*/ 336 w 344"/>
                    <a:gd name="T31" fmla="*/ 121 h 344"/>
                    <a:gd name="T32" fmla="*/ 344 w 344"/>
                    <a:gd name="T33" fmla="*/ 154 h 344"/>
                    <a:gd name="T34" fmla="*/ 344 w 344"/>
                    <a:gd name="T35" fmla="*/ 172 h 344"/>
                    <a:gd name="T36" fmla="*/ 341 w 344"/>
                    <a:gd name="T37" fmla="*/ 207 h 344"/>
                    <a:gd name="T38" fmla="*/ 331 w 344"/>
                    <a:gd name="T39" fmla="*/ 239 h 344"/>
                    <a:gd name="T40" fmla="*/ 316 w 344"/>
                    <a:gd name="T41" fmla="*/ 269 h 344"/>
                    <a:gd name="T42" fmla="*/ 295 w 344"/>
                    <a:gd name="T43" fmla="*/ 295 h 344"/>
                    <a:gd name="T44" fmla="*/ 269 w 344"/>
                    <a:gd name="T45" fmla="*/ 315 h 344"/>
                    <a:gd name="T46" fmla="*/ 239 w 344"/>
                    <a:gd name="T47" fmla="*/ 331 h 344"/>
                    <a:gd name="T48" fmla="*/ 207 w 344"/>
                    <a:gd name="T49" fmla="*/ 341 h 344"/>
                    <a:gd name="T50" fmla="*/ 172 w 344"/>
                    <a:gd name="T51" fmla="*/ 344 h 344"/>
                    <a:gd name="T52" fmla="*/ 154 w 344"/>
                    <a:gd name="T53" fmla="*/ 344 h 344"/>
                    <a:gd name="T54" fmla="*/ 121 w 344"/>
                    <a:gd name="T55" fmla="*/ 338 h 344"/>
                    <a:gd name="T56" fmla="*/ 91 w 344"/>
                    <a:gd name="T57" fmla="*/ 323 h 344"/>
                    <a:gd name="T58" fmla="*/ 64 w 344"/>
                    <a:gd name="T59" fmla="*/ 306 h 344"/>
                    <a:gd name="T60" fmla="*/ 40 w 344"/>
                    <a:gd name="T61" fmla="*/ 282 h 344"/>
                    <a:gd name="T62" fmla="*/ 21 w 344"/>
                    <a:gd name="T63" fmla="*/ 255 h 344"/>
                    <a:gd name="T64" fmla="*/ 8 w 344"/>
                    <a:gd name="T65" fmla="*/ 225 h 344"/>
                    <a:gd name="T66" fmla="*/ 1 w 344"/>
                    <a:gd name="T67" fmla="*/ 190 h 344"/>
                    <a:gd name="T68" fmla="*/ 0 w 344"/>
                    <a:gd name="T69" fmla="*/ 172 h 3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44" h="344">
                      <a:moveTo>
                        <a:pt x="0" y="172"/>
                      </a:moveTo>
                      <a:lnTo>
                        <a:pt x="0" y="172"/>
                      </a:lnTo>
                      <a:lnTo>
                        <a:pt x="1" y="154"/>
                      </a:lnTo>
                      <a:lnTo>
                        <a:pt x="3" y="138"/>
                      </a:lnTo>
                      <a:lnTo>
                        <a:pt x="8" y="121"/>
                      </a:lnTo>
                      <a:lnTo>
                        <a:pt x="14" y="105"/>
                      </a:lnTo>
                      <a:lnTo>
                        <a:pt x="21" y="91"/>
                      </a:lnTo>
                      <a:lnTo>
                        <a:pt x="30" y="76"/>
                      </a:lnTo>
                      <a:lnTo>
                        <a:pt x="40" y="64"/>
                      </a:lnTo>
                      <a:lnTo>
                        <a:pt x="51" y="51"/>
                      </a:lnTo>
                      <a:lnTo>
                        <a:pt x="64" y="40"/>
                      </a:lnTo>
                      <a:lnTo>
                        <a:pt x="76" y="30"/>
                      </a:lnTo>
                      <a:lnTo>
                        <a:pt x="91" y="21"/>
                      </a:lnTo>
                      <a:lnTo>
                        <a:pt x="105" y="14"/>
                      </a:lnTo>
                      <a:lnTo>
                        <a:pt x="121" y="8"/>
                      </a:lnTo>
                      <a:lnTo>
                        <a:pt x="137" y="5"/>
                      </a:lnTo>
                      <a:lnTo>
                        <a:pt x="154" y="1"/>
                      </a:lnTo>
                      <a:lnTo>
                        <a:pt x="172" y="0"/>
                      </a:lnTo>
                      <a:lnTo>
                        <a:pt x="172" y="0"/>
                      </a:lnTo>
                      <a:lnTo>
                        <a:pt x="190" y="1"/>
                      </a:lnTo>
                      <a:lnTo>
                        <a:pt x="207" y="5"/>
                      </a:lnTo>
                      <a:lnTo>
                        <a:pt x="223" y="8"/>
                      </a:lnTo>
                      <a:lnTo>
                        <a:pt x="239" y="14"/>
                      </a:lnTo>
                      <a:lnTo>
                        <a:pt x="255" y="21"/>
                      </a:lnTo>
                      <a:lnTo>
                        <a:pt x="269" y="30"/>
                      </a:lnTo>
                      <a:lnTo>
                        <a:pt x="282" y="40"/>
                      </a:lnTo>
                      <a:lnTo>
                        <a:pt x="295" y="51"/>
                      </a:lnTo>
                      <a:lnTo>
                        <a:pt x="304" y="64"/>
                      </a:lnTo>
                      <a:lnTo>
                        <a:pt x="316" y="76"/>
                      </a:lnTo>
                      <a:lnTo>
                        <a:pt x="323" y="91"/>
                      </a:lnTo>
                      <a:lnTo>
                        <a:pt x="331" y="105"/>
                      </a:lnTo>
                      <a:lnTo>
                        <a:pt x="336" y="121"/>
                      </a:lnTo>
                      <a:lnTo>
                        <a:pt x="341" y="138"/>
                      </a:lnTo>
                      <a:lnTo>
                        <a:pt x="344" y="154"/>
                      </a:lnTo>
                      <a:lnTo>
                        <a:pt x="344" y="172"/>
                      </a:lnTo>
                      <a:lnTo>
                        <a:pt x="344" y="172"/>
                      </a:lnTo>
                      <a:lnTo>
                        <a:pt x="344" y="190"/>
                      </a:lnTo>
                      <a:lnTo>
                        <a:pt x="341" y="207"/>
                      </a:lnTo>
                      <a:lnTo>
                        <a:pt x="336" y="225"/>
                      </a:lnTo>
                      <a:lnTo>
                        <a:pt x="331" y="239"/>
                      </a:lnTo>
                      <a:lnTo>
                        <a:pt x="323" y="255"/>
                      </a:lnTo>
                      <a:lnTo>
                        <a:pt x="316" y="269"/>
                      </a:lnTo>
                      <a:lnTo>
                        <a:pt x="304" y="282"/>
                      </a:lnTo>
                      <a:lnTo>
                        <a:pt x="295" y="295"/>
                      </a:lnTo>
                      <a:lnTo>
                        <a:pt x="282" y="306"/>
                      </a:lnTo>
                      <a:lnTo>
                        <a:pt x="269" y="315"/>
                      </a:lnTo>
                      <a:lnTo>
                        <a:pt x="255" y="323"/>
                      </a:lnTo>
                      <a:lnTo>
                        <a:pt x="239" y="331"/>
                      </a:lnTo>
                      <a:lnTo>
                        <a:pt x="223" y="338"/>
                      </a:lnTo>
                      <a:lnTo>
                        <a:pt x="207" y="341"/>
                      </a:lnTo>
                      <a:lnTo>
                        <a:pt x="190" y="344"/>
                      </a:lnTo>
                      <a:lnTo>
                        <a:pt x="172" y="344"/>
                      </a:lnTo>
                      <a:lnTo>
                        <a:pt x="172" y="344"/>
                      </a:lnTo>
                      <a:lnTo>
                        <a:pt x="154" y="344"/>
                      </a:lnTo>
                      <a:lnTo>
                        <a:pt x="137" y="341"/>
                      </a:lnTo>
                      <a:lnTo>
                        <a:pt x="121" y="338"/>
                      </a:lnTo>
                      <a:lnTo>
                        <a:pt x="105" y="331"/>
                      </a:lnTo>
                      <a:lnTo>
                        <a:pt x="91" y="323"/>
                      </a:lnTo>
                      <a:lnTo>
                        <a:pt x="76" y="315"/>
                      </a:lnTo>
                      <a:lnTo>
                        <a:pt x="64" y="306"/>
                      </a:lnTo>
                      <a:lnTo>
                        <a:pt x="51" y="295"/>
                      </a:lnTo>
                      <a:lnTo>
                        <a:pt x="40" y="282"/>
                      </a:lnTo>
                      <a:lnTo>
                        <a:pt x="30" y="269"/>
                      </a:lnTo>
                      <a:lnTo>
                        <a:pt x="21" y="255"/>
                      </a:lnTo>
                      <a:lnTo>
                        <a:pt x="14" y="239"/>
                      </a:lnTo>
                      <a:lnTo>
                        <a:pt x="8" y="225"/>
                      </a:lnTo>
                      <a:lnTo>
                        <a:pt x="3" y="207"/>
                      </a:lnTo>
                      <a:lnTo>
                        <a:pt x="1" y="190"/>
                      </a:lnTo>
                      <a:lnTo>
                        <a:pt x="0" y="172"/>
                      </a:lnTo>
                      <a:lnTo>
                        <a:pt x="0" y="1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3" name="Rectangle 2"/>
            <p:cNvSpPr/>
            <p:nvPr/>
          </p:nvSpPr>
          <p:spPr>
            <a:xfrm>
              <a:off x="2018119" y="1475494"/>
              <a:ext cx="2847709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lvl="1" defTabSz="444500">
                <a:spcAft>
                  <a:spcPts val="0"/>
                </a:spcAft>
                <a:buChar char="••"/>
              </a:pPr>
              <a:r>
                <a:rPr lang="en-US" sz="1000" dirty="0">
                  <a:latin typeface="+mn-lt"/>
                </a:rPr>
                <a:t>Is there an owner ready to lead an Incident Response scenario?</a:t>
              </a:r>
            </a:p>
            <a:p>
              <a:pPr marL="0" lvl="1" defTabSz="444500">
                <a:spcAft>
                  <a:spcPts val="0"/>
                </a:spcAft>
                <a:buFontTx/>
                <a:buChar char="••"/>
              </a:pPr>
              <a:r>
                <a:rPr lang="en-US" sz="1000" dirty="0">
                  <a:latin typeface="+mn-lt"/>
                </a:rPr>
                <a:t>Are skill sets positioned optimally?</a:t>
              </a:r>
            </a:p>
            <a:p>
              <a:pPr marL="0" lvl="1" defTabSz="444500">
                <a:spcAft>
                  <a:spcPts val="0"/>
                </a:spcAft>
                <a:buChar char="••"/>
              </a:pPr>
              <a:r>
                <a:rPr lang="en-US" sz="1000" dirty="0" smtClean="0">
                  <a:latin typeface="+mn-lt"/>
                </a:rPr>
                <a:t>Are </a:t>
              </a:r>
              <a:r>
                <a:rPr lang="en-US" sz="1000" dirty="0">
                  <a:latin typeface="+mn-lt"/>
                </a:rPr>
                <a:t>SOC resources </a:t>
              </a:r>
              <a:r>
                <a:rPr lang="en-US" sz="1000" dirty="0" smtClean="0">
                  <a:latin typeface="+mn-lt"/>
                </a:rPr>
                <a:t>appropriately skilled?</a:t>
              </a:r>
              <a:endParaRPr lang="en-US" sz="1000" dirty="0">
                <a:latin typeface="+mn-l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29419" y="2405623"/>
            <a:ext cx="5589899" cy="1086311"/>
            <a:chOff x="829419" y="2405623"/>
            <a:chExt cx="5589899" cy="1086311"/>
          </a:xfrm>
        </p:grpSpPr>
        <p:grpSp>
          <p:nvGrpSpPr>
            <p:cNvPr id="7" name="Group 6"/>
            <p:cNvGrpSpPr/>
            <p:nvPr/>
          </p:nvGrpSpPr>
          <p:grpSpPr>
            <a:xfrm>
              <a:off x="829419" y="2405623"/>
              <a:ext cx="4329721" cy="1086311"/>
              <a:chOff x="1012299" y="2405623"/>
              <a:chExt cx="4329721" cy="1086311"/>
            </a:xfrm>
          </p:grpSpPr>
          <p:grpSp>
            <p:nvGrpSpPr>
              <p:cNvPr id="31" name="Group 30"/>
              <p:cNvGrpSpPr/>
              <p:nvPr/>
            </p:nvGrpSpPr>
            <p:grpSpPr>
              <a:xfrm>
                <a:off x="1778519" y="2485613"/>
                <a:ext cx="3563501" cy="924428"/>
                <a:chOff x="4004822" y="52983"/>
                <a:chExt cx="4743241" cy="408980"/>
              </a:xfrm>
            </p:grpSpPr>
            <p:sp>
              <p:nvSpPr>
                <p:cNvPr id="32" name="Round Same Side Corner Rectangle 31"/>
                <p:cNvSpPr/>
                <p:nvPr/>
              </p:nvSpPr>
              <p:spPr>
                <a:xfrm rot="5400000">
                  <a:off x="6171953" y="-2114148"/>
                  <a:ext cx="408980" cy="4743241"/>
                </a:xfrm>
                <a:prstGeom prst="upArrow">
                  <a:avLst>
                    <a:gd name="adj1" fmla="val 100000"/>
                    <a:gd name="adj2" fmla="val 50000"/>
                  </a:avLst>
                </a:prstGeom>
              </p:spPr>
              <p:style>
                <a:lnRef idx="2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33" name="Round Same Side Corner Rectangle 4"/>
                <p:cNvSpPr/>
                <p:nvPr/>
              </p:nvSpPr>
              <p:spPr>
                <a:xfrm>
                  <a:off x="4326867" y="72947"/>
                  <a:ext cx="4421196" cy="369050"/>
                </a:xfrm>
                <a:prstGeom prst="upArrow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38100" tIns="19050" rIns="38100" bIns="19050" numCol="1" spcCol="1270" anchor="ctr" anchorCtr="0">
                  <a:noAutofit/>
                </a:bodyPr>
                <a:lstStyle/>
                <a:p>
                  <a:pPr marL="57150" lvl="1" indent="-57150" defTabSz="444500">
                    <a:lnSpc>
                      <a:spcPct val="90000"/>
                    </a:lnSpc>
                    <a:spcAft>
                      <a:spcPct val="15000"/>
                    </a:spcAft>
                    <a:buChar char="••"/>
                  </a:pPr>
                  <a:endParaRPr lang="en-US" sz="1000" dirty="0"/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1012299" y="2405623"/>
                <a:ext cx="1017899" cy="1086311"/>
                <a:chOff x="1" y="536785"/>
                <a:chExt cx="4323220" cy="511225"/>
              </a:xfrm>
            </p:grpSpPr>
            <p:sp>
              <p:nvSpPr>
                <p:cNvPr id="21" name="Rounded Rectangle 20"/>
                <p:cNvSpPr/>
                <p:nvPr/>
              </p:nvSpPr>
              <p:spPr>
                <a:xfrm>
                  <a:off x="1" y="536785"/>
                  <a:ext cx="4323220" cy="511225"/>
                </a:xfrm>
                <a:prstGeom prst="roundRect">
                  <a:avLst/>
                </a:prstGeom>
                <a:solidFill>
                  <a:schemeClr val="accent2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2" name="Rounded Rectangle 6"/>
                <p:cNvSpPr/>
                <p:nvPr/>
              </p:nvSpPr>
              <p:spPr>
                <a:xfrm>
                  <a:off x="24957" y="561741"/>
                  <a:ext cx="4273308" cy="46131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5720" tIns="22860" rIns="45720" bIns="22860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b="0" i="0" u="none" kern="1200" dirty="0" smtClean="0"/>
                    <a:t>Process</a:t>
                  </a:r>
                </a:p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1200" dirty="0">
                    <a:solidFill>
                      <a:schemeClr val="bg1"/>
                    </a:solidFill>
                  </a:endParaRPr>
                </a:p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1200" kern="1200" dirty="0" smtClean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38" name="Group 37"/>
              <p:cNvGrpSpPr>
                <a:grpSpLocks noChangeAspect="1"/>
              </p:cNvGrpSpPr>
              <p:nvPr/>
            </p:nvGrpSpPr>
            <p:grpSpPr>
              <a:xfrm>
                <a:off x="1188191" y="2966625"/>
                <a:ext cx="634758" cy="362080"/>
                <a:chOff x="4217644" y="2466553"/>
                <a:chExt cx="709979" cy="404988"/>
              </a:xfrm>
            </p:grpSpPr>
            <p:sp>
              <p:nvSpPr>
                <p:cNvPr id="39" name="Freeform 99"/>
                <p:cNvSpPr>
                  <a:spLocks/>
                </p:cNvSpPr>
                <p:nvPr/>
              </p:nvSpPr>
              <p:spPr bwMode="auto">
                <a:xfrm>
                  <a:off x="4449637" y="2639548"/>
                  <a:ext cx="474985" cy="44999"/>
                </a:xfrm>
                <a:custGeom>
                  <a:avLst/>
                  <a:gdLst>
                    <a:gd name="T0" fmla="*/ 191 w 201"/>
                    <a:gd name="T1" fmla="*/ 19 h 19"/>
                    <a:gd name="T2" fmla="*/ 10 w 201"/>
                    <a:gd name="T3" fmla="*/ 19 h 19"/>
                    <a:gd name="T4" fmla="*/ 0 w 201"/>
                    <a:gd name="T5" fmla="*/ 10 h 19"/>
                    <a:gd name="T6" fmla="*/ 10 w 201"/>
                    <a:gd name="T7" fmla="*/ 0 h 19"/>
                    <a:gd name="T8" fmla="*/ 191 w 201"/>
                    <a:gd name="T9" fmla="*/ 0 h 19"/>
                    <a:gd name="T10" fmla="*/ 201 w 201"/>
                    <a:gd name="T11" fmla="*/ 10 h 19"/>
                    <a:gd name="T12" fmla="*/ 191 w 201"/>
                    <a:gd name="T1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1" h="19">
                      <a:moveTo>
                        <a:pt x="191" y="19"/>
                      </a:move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5" y="19"/>
                        <a:pt x="0" y="15"/>
                        <a:pt x="0" y="10"/>
                      </a:cubicBezTo>
                      <a:cubicBezTo>
                        <a:pt x="0" y="4"/>
                        <a:pt x="5" y="0"/>
                        <a:pt x="10" y="0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197" y="0"/>
                        <a:pt x="201" y="4"/>
                        <a:pt x="201" y="10"/>
                      </a:cubicBezTo>
                      <a:cubicBezTo>
                        <a:pt x="201" y="15"/>
                        <a:pt x="197" y="19"/>
                        <a:pt x="191" y="19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Freeform 100"/>
                <p:cNvSpPr>
                  <a:spLocks/>
                </p:cNvSpPr>
                <p:nvPr/>
              </p:nvSpPr>
              <p:spPr bwMode="auto">
                <a:xfrm>
                  <a:off x="4792627" y="2551551"/>
                  <a:ext cx="134996" cy="132996"/>
                </a:xfrm>
                <a:custGeom>
                  <a:avLst/>
                  <a:gdLst>
                    <a:gd name="T0" fmla="*/ 46 w 57"/>
                    <a:gd name="T1" fmla="*/ 56 h 56"/>
                    <a:gd name="T2" fmla="*/ 40 w 57"/>
                    <a:gd name="T3" fmla="*/ 53 h 56"/>
                    <a:gd name="T4" fmla="*/ 4 w 57"/>
                    <a:gd name="T5" fmla="*/ 17 h 56"/>
                    <a:gd name="T6" fmla="*/ 4 w 57"/>
                    <a:gd name="T7" fmla="*/ 4 h 56"/>
                    <a:gd name="T8" fmla="*/ 17 w 57"/>
                    <a:gd name="T9" fmla="*/ 4 h 56"/>
                    <a:gd name="T10" fmla="*/ 53 w 57"/>
                    <a:gd name="T11" fmla="*/ 40 h 56"/>
                    <a:gd name="T12" fmla="*/ 53 w 57"/>
                    <a:gd name="T13" fmla="*/ 53 h 56"/>
                    <a:gd name="T14" fmla="*/ 46 w 57"/>
                    <a:gd name="T15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7" h="56">
                      <a:moveTo>
                        <a:pt x="46" y="56"/>
                      </a:moveTo>
                      <a:cubicBezTo>
                        <a:pt x="44" y="56"/>
                        <a:pt x="42" y="55"/>
                        <a:pt x="40" y="53"/>
                      </a:cubicBezTo>
                      <a:cubicBezTo>
                        <a:pt x="4" y="17"/>
                        <a:pt x="4" y="17"/>
                        <a:pt x="4" y="17"/>
                      </a:cubicBezTo>
                      <a:cubicBezTo>
                        <a:pt x="0" y="13"/>
                        <a:pt x="0" y="7"/>
                        <a:pt x="4" y="4"/>
                      </a:cubicBezTo>
                      <a:cubicBezTo>
                        <a:pt x="7" y="0"/>
                        <a:pt x="13" y="0"/>
                        <a:pt x="17" y="4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7" y="44"/>
                        <a:pt x="57" y="50"/>
                        <a:pt x="53" y="53"/>
                      </a:cubicBezTo>
                      <a:cubicBezTo>
                        <a:pt x="51" y="55"/>
                        <a:pt x="49" y="56"/>
                        <a:pt x="46" y="56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" name="Freeform 101"/>
                <p:cNvSpPr>
                  <a:spLocks/>
                </p:cNvSpPr>
                <p:nvPr/>
              </p:nvSpPr>
              <p:spPr bwMode="auto">
                <a:xfrm>
                  <a:off x="4792627" y="2637548"/>
                  <a:ext cx="134996" cy="131996"/>
                </a:xfrm>
                <a:custGeom>
                  <a:avLst/>
                  <a:gdLst>
                    <a:gd name="T0" fmla="*/ 10 w 57"/>
                    <a:gd name="T1" fmla="*/ 56 h 56"/>
                    <a:gd name="T2" fmla="*/ 4 w 57"/>
                    <a:gd name="T3" fmla="*/ 53 h 56"/>
                    <a:gd name="T4" fmla="*/ 4 w 57"/>
                    <a:gd name="T5" fmla="*/ 40 h 56"/>
                    <a:gd name="T6" fmla="*/ 40 w 57"/>
                    <a:gd name="T7" fmla="*/ 4 h 56"/>
                    <a:gd name="T8" fmla="*/ 53 w 57"/>
                    <a:gd name="T9" fmla="*/ 4 h 56"/>
                    <a:gd name="T10" fmla="*/ 53 w 57"/>
                    <a:gd name="T11" fmla="*/ 17 h 56"/>
                    <a:gd name="T12" fmla="*/ 17 w 57"/>
                    <a:gd name="T13" fmla="*/ 53 h 56"/>
                    <a:gd name="T14" fmla="*/ 10 w 57"/>
                    <a:gd name="T15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7" h="56">
                      <a:moveTo>
                        <a:pt x="10" y="56"/>
                      </a:moveTo>
                      <a:cubicBezTo>
                        <a:pt x="8" y="56"/>
                        <a:pt x="5" y="55"/>
                        <a:pt x="4" y="53"/>
                      </a:cubicBezTo>
                      <a:cubicBezTo>
                        <a:pt x="0" y="50"/>
                        <a:pt x="0" y="44"/>
                        <a:pt x="4" y="40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3" y="0"/>
                        <a:pt x="49" y="0"/>
                        <a:pt x="53" y="4"/>
                      </a:cubicBezTo>
                      <a:cubicBezTo>
                        <a:pt x="57" y="8"/>
                        <a:pt x="57" y="14"/>
                        <a:pt x="53" y="17"/>
                      </a:cubicBezTo>
                      <a:cubicBezTo>
                        <a:pt x="17" y="53"/>
                        <a:pt x="17" y="53"/>
                        <a:pt x="17" y="53"/>
                      </a:cubicBezTo>
                      <a:cubicBezTo>
                        <a:pt x="15" y="55"/>
                        <a:pt x="13" y="56"/>
                        <a:pt x="10" y="56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Freeform 102"/>
                <p:cNvSpPr>
                  <a:spLocks/>
                </p:cNvSpPr>
                <p:nvPr/>
              </p:nvSpPr>
              <p:spPr bwMode="auto">
                <a:xfrm>
                  <a:off x="4648631" y="2826542"/>
                  <a:ext cx="174995" cy="44999"/>
                </a:xfrm>
                <a:custGeom>
                  <a:avLst/>
                  <a:gdLst>
                    <a:gd name="T0" fmla="*/ 64 w 74"/>
                    <a:gd name="T1" fmla="*/ 19 h 19"/>
                    <a:gd name="T2" fmla="*/ 9 w 74"/>
                    <a:gd name="T3" fmla="*/ 19 h 19"/>
                    <a:gd name="T4" fmla="*/ 0 w 74"/>
                    <a:gd name="T5" fmla="*/ 10 h 19"/>
                    <a:gd name="T6" fmla="*/ 9 w 74"/>
                    <a:gd name="T7" fmla="*/ 0 h 19"/>
                    <a:gd name="T8" fmla="*/ 64 w 74"/>
                    <a:gd name="T9" fmla="*/ 0 h 19"/>
                    <a:gd name="T10" fmla="*/ 74 w 74"/>
                    <a:gd name="T11" fmla="*/ 10 h 19"/>
                    <a:gd name="T12" fmla="*/ 64 w 74"/>
                    <a:gd name="T1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4" h="19">
                      <a:moveTo>
                        <a:pt x="64" y="19"/>
                      </a:move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4" y="19"/>
                        <a:pt x="0" y="15"/>
                        <a:pt x="0" y="10"/>
                      </a:cubicBezTo>
                      <a:cubicBezTo>
                        <a:pt x="0" y="4"/>
                        <a:pt x="4" y="0"/>
                        <a:pt x="9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70" y="0"/>
                        <a:pt x="74" y="4"/>
                        <a:pt x="74" y="10"/>
                      </a:cubicBezTo>
                      <a:cubicBezTo>
                        <a:pt x="74" y="15"/>
                        <a:pt x="70" y="19"/>
                        <a:pt x="64" y="19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Freeform 103"/>
                <p:cNvSpPr>
                  <a:spLocks/>
                </p:cNvSpPr>
                <p:nvPr/>
              </p:nvSpPr>
              <p:spPr bwMode="auto">
                <a:xfrm>
                  <a:off x="4217644" y="2466553"/>
                  <a:ext cx="430987" cy="44999"/>
                </a:xfrm>
                <a:custGeom>
                  <a:avLst/>
                  <a:gdLst>
                    <a:gd name="T0" fmla="*/ 172 w 182"/>
                    <a:gd name="T1" fmla="*/ 19 h 19"/>
                    <a:gd name="T2" fmla="*/ 10 w 182"/>
                    <a:gd name="T3" fmla="*/ 19 h 19"/>
                    <a:gd name="T4" fmla="*/ 0 w 182"/>
                    <a:gd name="T5" fmla="*/ 10 h 19"/>
                    <a:gd name="T6" fmla="*/ 10 w 182"/>
                    <a:gd name="T7" fmla="*/ 0 h 19"/>
                    <a:gd name="T8" fmla="*/ 172 w 182"/>
                    <a:gd name="T9" fmla="*/ 0 h 19"/>
                    <a:gd name="T10" fmla="*/ 182 w 182"/>
                    <a:gd name="T11" fmla="*/ 10 h 19"/>
                    <a:gd name="T12" fmla="*/ 172 w 182"/>
                    <a:gd name="T1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2" h="19">
                      <a:moveTo>
                        <a:pt x="172" y="19"/>
                      </a:move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5" y="19"/>
                        <a:pt x="0" y="15"/>
                        <a:pt x="0" y="10"/>
                      </a:cubicBezTo>
                      <a:cubicBezTo>
                        <a:pt x="0" y="5"/>
                        <a:pt x="5" y="0"/>
                        <a:pt x="10" y="0"/>
                      </a:cubicBezTo>
                      <a:cubicBezTo>
                        <a:pt x="172" y="0"/>
                        <a:pt x="172" y="0"/>
                        <a:pt x="172" y="0"/>
                      </a:cubicBezTo>
                      <a:cubicBezTo>
                        <a:pt x="178" y="0"/>
                        <a:pt x="182" y="5"/>
                        <a:pt x="182" y="10"/>
                      </a:cubicBezTo>
                      <a:cubicBezTo>
                        <a:pt x="182" y="15"/>
                        <a:pt x="178" y="19"/>
                        <a:pt x="172" y="19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4" name="Rectangle 3"/>
            <p:cNvSpPr/>
            <p:nvPr/>
          </p:nvSpPr>
          <p:spPr>
            <a:xfrm>
              <a:off x="1847318" y="2646480"/>
              <a:ext cx="457200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57150" lvl="1" indent="-57150" defTabSz="444500">
                <a:lnSpc>
                  <a:spcPct val="90000"/>
                </a:lnSpc>
                <a:spcAft>
                  <a:spcPct val="15000"/>
                </a:spcAft>
                <a:buChar char="••"/>
              </a:pPr>
              <a:r>
                <a:rPr lang="en-US" sz="1000" dirty="0">
                  <a:latin typeface="+mn-lt"/>
                </a:rPr>
                <a:t>Are passwords being managed appropriately?</a:t>
              </a:r>
            </a:p>
            <a:p>
              <a:pPr marL="57150" lvl="1" indent="-57150" defTabSz="444500">
                <a:lnSpc>
                  <a:spcPct val="90000"/>
                </a:lnSpc>
                <a:spcAft>
                  <a:spcPct val="15000"/>
                </a:spcAft>
                <a:buChar char="••"/>
              </a:pPr>
              <a:r>
                <a:rPr lang="en-US" sz="1000" dirty="0">
                  <a:latin typeface="+mn-lt"/>
                </a:rPr>
                <a:t>Is network vulnerability discovered and tracked?</a:t>
              </a:r>
            </a:p>
            <a:p>
              <a:pPr marL="57150" lvl="1" indent="-57150" defTabSz="444500">
                <a:lnSpc>
                  <a:spcPct val="90000"/>
                </a:lnSpc>
                <a:spcAft>
                  <a:spcPct val="15000"/>
                </a:spcAft>
                <a:buChar char="••"/>
              </a:pPr>
              <a:r>
                <a:rPr lang="en-US" sz="1000" dirty="0">
                  <a:latin typeface="+mn-lt"/>
                </a:rPr>
                <a:t>Are third-parties leveraged to assess the network?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829419" y="3519796"/>
            <a:ext cx="5569125" cy="1086311"/>
            <a:chOff x="829419" y="3519796"/>
            <a:chExt cx="5569125" cy="1086311"/>
          </a:xfrm>
        </p:grpSpPr>
        <p:grpSp>
          <p:nvGrpSpPr>
            <p:cNvPr id="8" name="Group 7"/>
            <p:cNvGrpSpPr/>
            <p:nvPr/>
          </p:nvGrpSpPr>
          <p:grpSpPr>
            <a:xfrm>
              <a:off x="829419" y="3519796"/>
              <a:ext cx="4329721" cy="1086311"/>
              <a:chOff x="1012299" y="3519796"/>
              <a:chExt cx="4329721" cy="1086311"/>
            </a:xfrm>
          </p:grpSpPr>
          <p:grpSp>
            <p:nvGrpSpPr>
              <p:cNvPr id="34" name="Group 33"/>
              <p:cNvGrpSpPr/>
              <p:nvPr/>
            </p:nvGrpSpPr>
            <p:grpSpPr>
              <a:xfrm>
                <a:off x="1866167" y="3600738"/>
                <a:ext cx="3475853" cy="924428"/>
                <a:chOff x="4090016" y="52983"/>
                <a:chExt cx="4924567" cy="408980"/>
              </a:xfrm>
            </p:grpSpPr>
            <p:sp>
              <p:nvSpPr>
                <p:cNvPr id="35" name="Round Same Side Corner Rectangle 34"/>
                <p:cNvSpPr/>
                <p:nvPr/>
              </p:nvSpPr>
              <p:spPr>
                <a:xfrm rot="5400000">
                  <a:off x="6347810" y="-2204811"/>
                  <a:ext cx="408980" cy="4924567"/>
                </a:xfrm>
                <a:prstGeom prst="upArrow">
                  <a:avLst>
                    <a:gd name="adj1" fmla="val 100000"/>
                    <a:gd name="adj2" fmla="val 50000"/>
                  </a:avLst>
                </a:prstGeom>
              </p:spPr>
              <p:style>
                <a:lnRef idx="2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36" name="Round Same Side Corner Rectangle 4"/>
                <p:cNvSpPr/>
                <p:nvPr/>
              </p:nvSpPr>
              <p:spPr>
                <a:xfrm>
                  <a:off x="4326867" y="72947"/>
                  <a:ext cx="4421196" cy="369050"/>
                </a:xfrm>
                <a:prstGeom prst="upArrow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38100" tIns="19050" rIns="38100" bIns="19050" numCol="1" spcCol="1270" anchor="ctr" anchorCtr="0">
                  <a:noAutofit/>
                </a:bodyPr>
                <a:lstStyle/>
                <a:p>
                  <a:pPr marL="57150" lvl="1" indent="-57150" defTabSz="444500">
                    <a:lnSpc>
                      <a:spcPct val="90000"/>
                    </a:lnSpc>
                    <a:spcAft>
                      <a:spcPct val="15000"/>
                    </a:spcAft>
                    <a:buChar char="••"/>
                  </a:pPr>
                  <a:endParaRPr lang="en-US" sz="1000" dirty="0"/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1012299" y="3519796"/>
                <a:ext cx="1017899" cy="1086311"/>
                <a:chOff x="1" y="1073572"/>
                <a:chExt cx="4323220" cy="511225"/>
              </a:xfrm>
            </p:grpSpPr>
            <p:sp>
              <p:nvSpPr>
                <p:cNvPr id="19" name="Rounded Rectangle 18"/>
                <p:cNvSpPr/>
                <p:nvPr/>
              </p:nvSpPr>
              <p:spPr>
                <a:xfrm>
                  <a:off x="1" y="1073572"/>
                  <a:ext cx="4323220" cy="511225"/>
                </a:xfrm>
                <a:prstGeom prst="roundRect">
                  <a:avLst/>
                </a:prstGeom>
                <a:solidFill>
                  <a:schemeClr val="accent5"/>
                </a:solidFill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0" name="Rounded Rectangle 8"/>
                <p:cNvSpPr/>
                <p:nvPr/>
              </p:nvSpPr>
              <p:spPr>
                <a:xfrm>
                  <a:off x="24957" y="1098528"/>
                  <a:ext cx="4273308" cy="46131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45720" tIns="22860" rIns="45720" bIns="22860" numCol="1" spcCol="1270" anchor="ctr" anchorCtr="0">
                  <a:noAutofit/>
                </a:bodyPr>
                <a:lstStyle/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200" b="0" i="0" u="none" kern="1200" dirty="0" smtClean="0"/>
                    <a:t>Technology</a:t>
                  </a:r>
                </a:p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1200" b="0" i="0" u="none" kern="1200" dirty="0" smtClean="0"/>
                </a:p>
                <a:p>
                  <a:pPr lvl="0" algn="ctr" defTabSz="533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US" sz="1200" kern="1200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63" name="Group 62"/>
              <p:cNvGrpSpPr/>
              <p:nvPr/>
            </p:nvGrpSpPr>
            <p:grpSpPr>
              <a:xfrm rot="3549379">
                <a:off x="1270790" y="4041420"/>
                <a:ext cx="473359" cy="445977"/>
                <a:chOff x="1225181" y="3641989"/>
                <a:chExt cx="606085" cy="530099"/>
              </a:xfrm>
            </p:grpSpPr>
            <p:grpSp>
              <p:nvGrpSpPr>
                <p:cNvPr id="64" name="Group 63"/>
                <p:cNvGrpSpPr>
                  <a:grpSpLocks noChangeAspect="1"/>
                </p:cNvGrpSpPr>
                <p:nvPr/>
              </p:nvGrpSpPr>
              <p:grpSpPr>
                <a:xfrm>
                  <a:off x="1225181" y="3724551"/>
                  <a:ext cx="280862" cy="283247"/>
                  <a:chOff x="12587348" y="2301556"/>
                  <a:chExt cx="115021" cy="115998"/>
                </a:xfrm>
                <a:solidFill>
                  <a:schemeClr val="accent3"/>
                </a:solidFill>
              </p:grpSpPr>
              <p:sp>
                <p:nvSpPr>
                  <p:cNvPr id="95" name="Freeform 36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25555"/>
                    <a:ext cx="20999" cy="22999"/>
                  </a:xfrm>
                  <a:custGeom>
                    <a:avLst/>
                    <a:gdLst>
                      <a:gd name="T0" fmla="*/ 9 w 9"/>
                      <a:gd name="T1" fmla="*/ 0 h 10"/>
                      <a:gd name="T2" fmla="*/ 7 w 9"/>
                      <a:gd name="T3" fmla="*/ 0 h 10"/>
                      <a:gd name="T4" fmla="*/ 0 w 9"/>
                      <a:gd name="T5" fmla="*/ 0 h 10"/>
                      <a:gd name="T6" fmla="*/ 0 w 9"/>
                      <a:gd name="T7" fmla="*/ 10 h 10"/>
                      <a:gd name="T8" fmla="*/ 9 w 9"/>
                      <a:gd name="T9" fmla="*/ 10 h 10"/>
                      <a:gd name="T10" fmla="*/ 9 w 9"/>
                      <a:gd name="T11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" h="10">
                        <a:moveTo>
                          <a:pt x="9" y="0"/>
                        </a:moveTo>
                        <a:cubicBezTo>
                          <a:pt x="9" y="0"/>
                          <a:pt x="8" y="0"/>
                          <a:pt x="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9" y="10"/>
                          <a:pt x="9" y="10"/>
                          <a:pt x="9" y="10"/>
                        </a:cubicBezTo>
                        <a:cubicBezTo>
                          <a:pt x="9" y="0"/>
                          <a:pt x="9" y="0"/>
                          <a:pt x="9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6" name="Freeform 37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01556"/>
                    <a:ext cx="20999" cy="23999"/>
                  </a:xfrm>
                  <a:custGeom>
                    <a:avLst/>
                    <a:gdLst>
                      <a:gd name="T0" fmla="*/ 4 w 9"/>
                      <a:gd name="T1" fmla="*/ 0 h 10"/>
                      <a:gd name="T2" fmla="*/ 0 w 9"/>
                      <a:gd name="T3" fmla="*/ 5 h 10"/>
                      <a:gd name="T4" fmla="*/ 0 w 9"/>
                      <a:gd name="T5" fmla="*/ 10 h 10"/>
                      <a:gd name="T6" fmla="*/ 7 w 9"/>
                      <a:gd name="T7" fmla="*/ 10 h 10"/>
                      <a:gd name="T8" fmla="*/ 9 w 9"/>
                      <a:gd name="T9" fmla="*/ 10 h 10"/>
                      <a:gd name="T10" fmla="*/ 9 w 9"/>
                      <a:gd name="T11" fmla="*/ 5 h 10"/>
                      <a:gd name="T12" fmla="*/ 4 w 9"/>
                      <a:gd name="T13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" h="10">
                        <a:moveTo>
                          <a:pt x="4" y="0"/>
                        </a:move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7" y="10"/>
                          <a:pt x="7" y="10"/>
                          <a:pt x="7" y="10"/>
                        </a:cubicBezTo>
                        <a:cubicBezTo>
                          <a:pt x="8" y="10"/>
                          <a:pt x="9" y="10"/>
                          <a:pt x="9" y="10"/>
                        </a:cubicBezTo>
                        <a:cubicBezTo>
                          <a:pt x="9" y="5"/>
                          <a:pt x="9" y="5"/>
                          <a:pt x="9" y="5"/>
                        </a:cubicBezTo>
                        <a:cubicBezTo>
                          <a:pt x="9" y="2"/>
                          <a:pt x="7" y="0"/>
                          <a:pt x="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7" name="Freeform 38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77554"/>
                    <a:ext cx="20999" cy="39999"/>
                  </a:xfrm>
                  <a:custGeom>
                    <a:avLst/>
                    <a:gdLst>
                      <a:gd name="T0" fmla="*/ 9 w 9"/>
                      <a:gd name="T1" fmla="*/ 0 h 17"/>
                      <a:gd name="T2" fmla="*/ 0 w 9"/>
                      <a:gd name="T3" fmla="*/ 0 h 17"/>
                      <a:gd name="T4" fmla="*/ 0 w 9"/>
                      <a:gd name="T5" fmla="*/ 13 h 17"/>
                      <a:gd name="T6" fmla="*/ 4 w 9"/>
                      <a:gd name="T7" fmla="*/ 17 h 17"/>
                      <a:gd name="T8" fmla="*/ 9 w 9"/>
                      <a:gd name="T9" fmla="*/ 13 h 17"/>
                      <a:gd name="T10" fmla="*/ 9 w 9"/>
                      <a:gd name="T11" fmla="*/ 0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" h="17">
                        <a:moveTo>
                          <a:pt x="9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5"/>
                          <a:pt x="2" y="17"/>
                          <a:pt x="4" y="17"/>
                        </a:cubicBezTo>
                        <a:cubicBezTo>
                          <a:pt x="7" y="17"/>
                          <a:pt x="9" y="15"/>
                          <a:pt x="9" y="13"/>
                        </a:cubicBezTo>
                        <a:cubicBezTo>
                          <a:pt x="9" y="0"/>
                          <a:pt x="9" y="0"/>
                          <a:pt x="9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8" name="Rectangle 3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8" y="2370554"/>
                    <a:ext cx="20999" cy="7000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9" name="Rectangle 4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8" y="2370554"/>
                    <a:ext cx="20999" cy="7000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0" name="Freeform 41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2587348" y="2348555"/>
                    <a:ext cx="114996" cy="21999"/>
                  </a:xfrm>
                  <a:custGeom>
                    <a:avLst/>
                    <a:gdLst>
                      <a:gd name="T0" fmla="*/ 20 w 49"/>
                      <a:gd name="T1" fmla="*/ 0 h 9"/>
                      <a:gd name="T2" fmla="*/ 4 w 49"/>
                      <a:gd name="T3" fmla="*/ 0 h 9"/>
                      <a:gd name="T4" fmla="*/ 0 w 49"/>
                      <a:gd name="T5" fmla="*/ 5 h 9"/>
                      <a:gd name="T6" fmla="*/ 4 w 49"/>
                      <a:gd name="T7" fmla="*/ 9 h 9"/>
                      <a:gd name="T8" fmla="*/ 20 w 49"/>
                      <a:gd name="T9" fmla="*/ 9 h 9"/>
                      <a:gd name="T10" fmla="*/ 20 w 49"/>
                      <a:gd name="T11" fmla="*/ 0 h 9"/>
                      <a:gd name="T12" fmla="*/ 44 w 49"/>
                      <a:gd name="T13" fmla="*/ 0 h 9"/>
                      <a:gd name="T14" fmla="*/ 29 w 49"/>
                      <a:gd name="T15" fmla="*/ 0 h 9"/>
                      <a:gd name="T16" fmla="*/ 29 w 49"/>
                      <a:gd name="T17" fmla="*/ 9 h 9"/>
                      <a:gd name="T18" fmla="*/ 44 w 49"/>
                      <a:gd name="T19" fmla="*/ 9 h 9"/>
                      <a:gd name="T20" fmla="*/ 49 w 49"/>
                      <a:gd name="T21" fmla="*/ 5 h 9"/>
                      <a:gd name="T22" fmla="*/ 44 w 49"/>
                      <a:gd name="T23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49" h="9">
                        <a:moveTo>
                          <a:pt x="20" y="0"/>
                        </a:move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7"/>
                          <a:pt x="2" y="9"/>
                          <a:pt x="4" y="9"/>
                        </a:cubicBezTo>
                        <a:cubicBezTo>
                          <a:pt x="20" y="9"/>
                          <a:pt x="20" y="9"/>
                          <a:pt x="20" y="9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moveTo>
                          <a:pt x="44" y="0"/>
                        </a:moveTo>
                        <a:cubicBezTo>
                          <a:pt x="29" y="0"/>
                          <a:pt x="29" y="0"/>
                          <a:pt x="29" y="0"/>
                        </a:cubicBezTo>
                        <a:cubicBezTo>
                          <a:pt x="29" y="9"/>
                          <a:pt x="29" y="9"/>
                          <a:pt x="29" y="9"/>
                        </a:cubicBezTo>
                        <a:cubicBezTo>
                          <a:pt x="44" y="9"/>
                          <a:pt x="44" y="9"/>
                          <a:pt x="44" y="9"/>
                        </a:cubicBezTo>
                        <a:cubicBezTo>
                          <a:pt x="47" y="9"/>
                          <a:pt x="49" y="7"/>
                          <a:pt x="49" y="5"/>
                        </a:cubicBezTo>
                        <a:cubicBezTo>
                          <a:pt x="49" y="2"/>
                          <a:pt x="47" y="0"/>
                          <a:pt x="4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1" name="Rectangle 4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7" y="2348555"/>
                    <a:ext cx="20999" cy="21999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2" name="Rectangle 4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7" y="2348555"/>
                    <a:ext cx="20999" cy="21999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3" name="Freeform 44"/>
                  <p:cNvSpPr>
                    <a:spLocks noChangeAspect="1"/>
                  </p:cNvSpPr>
                  <p:nvPr/>
                </p:nvSpPr>
                <p:spPr bwMode="auto">
                  <a:xfrm>
                    <a:off x="12634347" y="2301558"/>
                    <a:ext cx="20999" cy="115996"/>
                  </a:xfrm>
                  <a:custGeom>
                    <a:avLst/>
                    <a:gdLst>
                      <a:gd name="T0" fmla="*/ 0 w 9"/>
                      <a:gd name="T1" fmla="*/ 45 h 49"/>
                      <a:gd name="T2" fmla="*/ 0 w 9"/>
                      <a:gd name="T3" fmla="*/ 5 h 49"/>
                      <a:gd name="T4" fmla="*/ 4 w 9"/>
                      <a:gd name="T5" fmla="*/ 0 h 49"/>
                      <a:gd name="T6" fmla="*/ 9 w 9"/>
                      <a:gd name="T7" fmla="*/ 5 h 49"/>
                      <a:gd name="T8" fmla="*/ 9 w 9"/>
                      <a:gd name="T9" fmla="*/ 45 h 49"/>
                      <a:gd name="T10" fmla="*/ 4 w 9"/>
                      <a:gd name="T11" fmla="*/ 49 h 49"/>
                      <a:gd name="T12" fmla="*/ 0 w 9"/>
                      <a:gd name="T13" fmla="*/ 45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" h="49">
                        <a:moveTo>
                          <a:pt x="0" y="45"/>
                        </a:moveTo>
                        <a:cubicBezTo>
                          <a:pt x="0" y="5"/>
                          <a:pt x="0" y="5"/>
                          <a:pt x="0" y="5"/>
                        </a:cubicBezTo>
                        <a:cubicBezTo>
                          <a:pt x="0" y="2"/>
                          <a:pt x="2" y="0"/>
                          <a:pt x="4" y="0"/>
                        </a:cubicBezTo>
                        <a:cubicBezTo>
                          <a:pt x="7" y="0"/>
                          <a:pt x="9" y="2"/>
                          <a:pt x="9" y="5"/>
                        </a:cubicBezTo>
                        <a:cubicBezTo>
                          <a:pt x="9" y="45"/>
                          <a:pt x="9" y="45"/>
                          <a:pt x="9" y="45"/>
                        </a:cubicBezTo>
                        <a:cubicBezTo>
                          <a:pt x="9" y="47"/>
                          <a:pt x="7" y="49"/>
                          <a:pt x="4" y="49"/>
                        </a:cubicBezTo>
                        <a:cubicBezTo>
                          <a:pt x="2" y="49"/>
                          <a:pt x="0" y="47"/>
                          <a:pt x="0" y="4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4" name="Freeform 45"/>
                  <p:cNvSpPr>
                    <a:spLocks noChangeAspect="1"/>
                  </p:cNvSpPr>
                  <p:nvPr/>
                </p:nvSpPr>
                <p:spPr bwMode="auto">
                  <a:xfrm>
                    <a:off x="12587373" y="2348557"/>
                    <a:ext cx="114996" cy="21999"/>
                  </a:xfrm>
                  <a:custGeom>
                    <a:avLst/>
                    <a:gdLst>
                      <a:gd name="T0" fmla="*/ 4 w 49"/>
                      <a:gd name="T1" fmla="*/ 0 h 9"/>
                      <a:gd name="T2" fmla="*/ 44 w 49"/>
                      <a:gd name="T3" fmla="*/ 0 h 9"/>
                      <a:gd name="T4" fmla="*/ 49 w 49"/>
                      <a:gd name="T5" fmla="*/ 5 h 9"/>
                      <a:gd name="T6" fmla="*/ 44 w 49"/>
                      <a:gd name="T7" fmla="*/ 9 h 9"/>
                      <a:gd name="T8" fmla="*/ 4 w 49"/>
                      <a:gd name="T9" fmla="*/ 9 h 9"/>
                      <a:gd name="T10" fmla="*/ 0 w 49"/>
                      <a:gd name="T11" fmla="*/ 5 h 9"/>
                      <a:gd name="T12" fmla="*/ 4 w 49"/>
                      <a:gd name="T13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9" h="9">
                        <a:moveTo>
                          <a:pt x="4" y="0"/>
                        </a:move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7" y="0"/>
                          <a:pt x="49" y="2"/>
                          <a:pt x="49" y="5"/>
                        </a:cubicBezTo>
                        <a:cubicBezTo>
                          <a:pt x="49" y="7"/>
                          <a:pt x="47" y="9"/>
                          <a:pt x="44" y="9"/>
                        </a:cubicBezTo>
                        <a:cubicBezTo>
                          <a:pt x="4" y="9"/>
                          <a:pt x="4" y="9"/>
                          <a:pt x="4" y="9"/>
                        </a:cubicBezTo>
                        <a:cubicBezTo>
                          <a:pt x="2" y="9"/>
                          <a:pt x="0" y="7"/>
                          <a:pt x="0" y="5"/>
                        </a:cubicBezTo>
                        <a:cubicBezTo>
                          <a:pt x="0" y="2"/>
                          <a:pt x="2" y="0"/>
                          <a:pt x="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5" name="Freeform 46"/>
                  <p:cNvSpPr>
                    <a:spLocks noChangeAspect="1"/>
                  </p:cNvSpPr>
                  <p:nvPr/>
                </p:nvSpPr>
                <p:spPr bwMode="auto">
                  <a:xfrm>
                    <a:off x="12598381" y="2313558"/>
                    <a:ext cx="92997" cy="91997"/>
                  </a:xfrm>
                  <a:custGeom>
                    <a:avLst/>
                    <a:gdLst>
                      <a:gd name="T0" fmla="*/ 2 w 39"/>
                      <a:gd name="T1" fmla="*/ 30 h 39"/>
                      <a:gd name="T2" fmla="*/ 30 w 39"/>
                      <a:gd name="T3" fmla="*/ 2 h 39"/>
                      <a:gd name="T4" fmla="*/ 37 w 39"/>
                      <a:gd name="T5" fmla="*/ 2 h 39"/>
                      <a:gd name="T6" fmla="*/ 37 w 39"/>
                      <a:gd name="T7" fmla="*/ 9 h 39"/>
                      <a:gd name="T8" fmla="*/ 9 w 39"/>
                      <a:gd name="T9" fmla="*/ 37 h 39"/>
                      <a:gd name="T10" fmla="*/ 2 w 39"/>
                      <a:gd name="T11" fmla="*/ 37 h 39"/>
                      <a:gd name="T12" fmla="*/ 2 w 39"/>
                      <a:gd name="T13" fmla="*/ 30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9" h="39">
                        <a:moveTo>
                          <a:pt x="2" y="30"/>
                        </a:moveTo>
                        <a:cubicBezTo>
                          <a:pt x="30" y="2"/>
                          <a:pt x="30" y="2"/>
                          <a:pt x="30" y="2"/>
                        </a:cubicBezTo>
                        <a:cubicBezTo>
                          <a:pt x="32" y="0"/>
                          <a:pt x="35" y="0"/>
                          <a:pt x="37" y="2"/>
                        </a:cubicBezTo>
                        <a:cubicBezTo>
                          <a:pt x="39" y="4"/>
                          <a:pt x="39" y="7"/>
                          <a:pt x="37" y="9"/>
                        </a:cubicBezTo>
                        <a:cubicBezTo>
                          <a:pt x="9" y="37"/>
                          <a:pt x="9" y="37"/>
                          <a:pt x="9" y="37"/>
                        </a:cubicBezTo>
                        <a:cubicBezTo>
                          <a:pt x="7" y="39"/>
                          <a:pt x="4" y="39"/>
                          <a:pt x="2" y="37"/>
                        </a:cubicBezTo>
                        <a:cubicBezTo>
                          <a:pt x="0" y="35"/>
                          <a:pt x="0" y="32"/>
                          <a:pt x="2" y="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6" name="Freeform 47"/>
                  <p:cNvSpPr>
                    <a:spLocks noChangeAspect="1"/>
                  </p:cNvSpPr>
                  <p:nvPr/>
                </p:nvSpPr>
                <p:spPr bwMode="auto">
                  <a:xfrm>
                    <a:off x="12598373" y="2313558"/>
                    <a:ext cx="92997" cy="91997"/>
                  </a:xfrm>
                  <a:custGeom>
                    <a:avLst/>
                    <a:gdLst>
                      <a:gd name="T0" fmla="*/ 9 w 39"/>
                      <a:gd name="T1" fmla="*/ 2 h 39"/>
                      <a:gd name="T2" fmla="*/ 37 w 39"/>
                      <a:gd name="T3" fmla="*/ 30 h 39"/>
                      <a:gd name="T4" fmla="*/ 37 w 39"/>
                      <a:gd name="T5" fmla="*/ 37 h 39"/>
                      <a:gd name="T6" fmla="*/ 30 w 39"/>
                      <a:gd name="T7" fmla="*/ 37 h 39"/>
                      <a:gd name="T8" fmla="*/ 2 w 39"/>
                      <a:gd name="T9" fmla="*/ 9 h 39"/>
                      <a:gd name="T10" fmla="*/ 2 w 39"/>
                      <a:gd name="T11" fmla="*/ 2 h 39"/>
                      <a:gd name="T12" fmla="*/ 9 w 39"/>
                      <a:gd name="T13" fmla="*/ 2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9" h="39">
                        <a:moveTo>
                          <a:pt x="9" y="2"/>
                        </a:moveTo>
                        <a:cubicBezTo>
                          <a:pt x="37" y="30"/>
                          <a:pt x="37" y="30"/>
                          <a:pt x="37" y="30"/>
                        </a:cubicBezTo>
                        <a:cubicBezTo>
                          <a:pt x="39" y="32"/>
                          <a:pt x="39" y="35"/>
                          <a:pt x="37" y="37"/>
                        </a:cubicBezTo>
                        <a:cubicBezTo>
                          <a:pt x="35" y="39"/>
                          <a:pt x="32" y="39"/>
                          <a:pt x="30" y="37"/>
                        </a:cubicBezTo>
                        <a:cubicBezTo>
                          <a:pt x="2" y="9"/>
                          <a:pt x="2" y="9"/>
                          <a:pt x="2" y="9"/>
                        </a:cubicBezTo>
                        <a:cubicBezTo>
                          <a:pt x="0" y="7"/>
                          <a:pt x="0" y="4"/>
                          <a:pt x="2" y="2"/>
                        </a:cubicBezTo>
                        <a:cubicBezTo>
                          <a:pt x="4" y="0"/>
                          <a:pt x="7" y="0"/>
                          <a:pt x="9" y="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7" name="Oval 4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27372" y="2341557"/>
                    <a:ext cx="34999" cy="35999"/>
                  </a:xfrm>
                  <a:prstGeom prst="ellipse">
                    <a:avLst/>
                  </a:prstGeom>
                  <a:solidFill>
                    <a:schemeClr val="accent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08" name="Freeform 49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2608373" y="2325559"/>
                    <a:ext cx="70998" cy="70998"/>
                  </a:xfrm>
                  <a:custGeom>
                    <a:avLst/>
                    <a:gdLst>
                      <a:gd name="T0" fmla="*/ 15 w 30"/>
                      <a:gd name="T1" fmla="*/ 7 h 30"/>
                      <a:gd name="T2" fmla="*/ 23 w 30"/>
                      <a:gd name="T3" fmla="*/ 15 h 30"/>
                      <a:gd name="T4" fmla="*/ 15 w 30"/>
                      <a:gd name="T5" fmla="*/ 22 h 30"/>
                      <a:gd name="T6" fmla="*/ 8 w 30"/>
                      <a:gd name="T7" fmla="*/ 15 h 30"/>
                      <a:gd name="T8" fmla="*/ 15 w 30"/>
                      <a:gd name="T9" fmla="*/ 7 h 30"/>
                      <a:gd name="T10" fmla="*/ 15 w 30"/>
                      <a:gd name="T11" fmla="*/ 0 h 30"/>
                      <a:gd name="T12" fmla="*/ 0 w 30"/>
                      <a:gd name="T13" fmla="*/ 15 h 30"/>
                      <a:gd name="T14" fmla="*/ 15 w 30"/>
                      <a:gd name="T15" fmla="*/ 30 h 30"/>
                      <a:gd name="T16" fmla="*/ 30 w 30"/>
                      <a:gd name="T17" fmla="*/ 15 h 30"/>
                      <a:gd name="T18" fmla="*/ 15 w 30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0" h="30">
                        <a:moveTo>
                          <a:pt x="15" y="7"/>
                        </a:moveTo>
                        <a:cubicBezTo>
                          <a:pt x="20" y="7"/>
                          <a:pt x="23" y="10"/>
                          <a:pt x="23" y="15"/>
                        </a:cubicBezTo>
                        <a:cubicBezTo>
                          <a:pt x="23" y="19"/>
                          <a:pt x="20" y="22"/>
                          <a:pt x="15" y="22"/>
                        </a:cubicBezTo>
                        <a:cubicBezTo>
                          <a:pt x="11" y="22"/>
                          <a:pt x="8" y="19"/>
                          <a:pt x="8" y="15"/>
                        </a:cubicBezTo>
                        <a:cubicBezTo>
                          <a:pt x="8" y="10"/>
                          <a:pt x="11" y="7"/>
                          <a:pt x="15" y="7"/>
                        </a:cubicBezTo>
                        <a:moveTo>
                          <a:pt x="15" y="0"/>
                        </a:moveTo>
                        <a:cubicBezTo>
                          <a:pt x="7" y="0"/>
                          <a:pt x="0" y="6"/>
                          <a:pt x="0" y="15"/>
                        </a:cubicBezTo>
                        <a:cubicBezTo>
                          <a:pt x="0" y="23"/>
                          <a:pt x="7" y="30"/>
                          <a:pt x="15" y="30"/>
                        </a:cubicBezTo>
                        <a:cubicBezTo>
                          <a:pt x="24" y="30"/>
                          <a:pt x="30" y="23"/>
                          <a:pt x="30" y="15"/>
                        </a:cubicBezTo>
                        <a:cubicBezTo>
                          <a:pt x="30" y="6"/>
                          <a:pt x="24" y="0"/>
                          <a:pt x="1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65" name="Group 64"/>
                <p:cNvGrpSpPr>
                  <a:grpSpLocks noChangeAspect="1"/>
                </p:cNvGrpSpPr>
                <p:nvPr/>
              </p:nvGrpSpPr>
              <p:grpSpPr>
                <a:xfrm>
                  <a:off x="1380014" y="3957911"/>
                  <a:ext cx="212333" cy="214177"/>
                  <a:chOff x="12587345" y="2301556"/>
                  <a:chExt cx="114999" cy="115998"/>
                </a:xfrm>
                <a:solidFill>
                  <a:schemeClr val="accent3"/>
                </a:solidFill>
              </p:grpSpPr>
              <p:sp>
                <p:nvSpPr>
                  <p:cNvPr id="81" name="Freeform 36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25555"/>
                    <a:ext cx="20999" cy="22999"/>
                  </a:xfrm>
                  <a:custGeom>
                    <a:avLst/>
                    <a:gdLst>
                      <a:gd name="T0" fmla="*/ 9 w 9"/>
                      <a:gd name="T1" fmla="*/ 0 h 10"/>
                      <a:gd name="T2" fmla="*/ 7 w 9"/>
                      <a:gd name="T3" fmla="*/ 0 h 10"/>
                      <a:gd name="T4" fmla="*/ 0 w 9"/>
                      <a:gd name="T5" fmla="*/ 0 h 10"/>
                      <a:gd name="T6" fmla="*/ 0 w 9"/>
                      <a:gd name="T7" fmla="*/ 10 h 10"/>
                      <a:gd name="T8" fmla="*/ 9 w 9"/>
                      <a:gd name="T9" fmla="*/ 10 h 10"/>
                      <a:gd name="T10" fmla="*/ 9 w 9"/>
                      <a:gd name="T11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" h="10">
                        <a:moveTo>
                          <a:pt x="9" y="0"/>
                        </a:moveTo>
                        <a:cubicBezTo>
                          <a:pt x="9" y="0"/>
                          <a:pt x="8" y="0"/>
                          <a:pt x="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9" y="10"/>
                          <a:pt x="9" y="10"/>
                          <a:pt x="9" y="10"/>
                        </a:cubicBezTo>
                        <a:cubicBezTo>
                          <a:pt x="9" y="0"/>
                          <a:pt x="9" y="0"/>
                          <a:pt x="9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2" name="Freeform 37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01556"/>
                    <a:ext cx="20999" cy="23999"/>
                  </a:xfrm>
                  <a:custGeom>
                    <a:avLst/>
                    <a:gdLst>
                      <a:gd name="T0" fmla="*/ 4 w 9"/>
                      <a:gd name="T1" fmla="*/ 0 h 10"/>
                      <a:gd name="T2" fmla="*/ 0 w 9"/>
                      <a:gd name="T3" fmla="*/ 5 h 10"/>
                      <a:gd name="T4" fmla="*/ 0 w 9"/>
                      <a:gd name="T5" fmla="*/ 10 h 10"/>
                      <a:gd name="T6" fmla="*/ 7 w 9"/>
                      <a:gd name="T7" fmla="*/ 10 h 10"/>
                      <a:gd name="T8" fmla="*/ 9 w 9"/>
                      <a:gd name="T9" fmla="*/ 10 h 10"/>
                      <a:gd name="T10" fmla="*/ 9 w 9"/>
                      <a:gd name="T11" fmla="*/ 5 h 10"/>
                      <a:gd name="T12" fmla="*/ 4 w 9"/>
                      <a:gd name="T13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" h="10">
                        <a:moveTo>
                          <a:pt x="4" y="0"/>
                        </a:move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7" y="10"/>
                          <a:pt x="7" y="10"/>
                          <a:pt x="7" y="10"/>
                        </a:cubicBezTo>
                        <a:cubicBezTo>
                          <a:pt x="8" y="10"/>
                          <a:pt x="9" y="10"/>
                          <a:pt x="9" y="10"/>
                        </a:cubicBezTo>
                        <a:cubicBezTo>
                          <a:pt x="9" y="5"/>
                          <a:pt x="9" y="5"/>
                          <a:pt x="9" y="5"/>
                        </a:cubicBezTo>
                        <a:cubicBezTo>
                          <a:pt x="9" y="2"/>
                          <a:pt x="7" y="0"/>
                          <a:pt x="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3" name="Freeform 38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77554"/>
                    <a:ext cx="20999" cy="39999"/>
                  </a:xfrm>
                  <a:custGeom>
                    <a:avLst/>
                    <a:gdLst>
                      <a:gd name="T0" fmla="*/ 9 w 9"/>
                      <a:gd name="T1" fmla="*/ 0 h 17"/>
                      <a:gd name="T2" fmla="*/ 0 w 9"/>
                      <a:gd name="T3" fmla="*/ 0 h 17"/>
                      <a:gd name="T4" fmla="*/ 0 w 9"/>
                      <a:gd name="T5" fmla="*/ 13 h 17"/>
                      <a:gd name="T6" fmla="*/ 4 w 9"/>
                      <a:gd name="T7" fmla="*/ 17 h 17"/>
                      <a:gd name="T8" fmla="*/ 9 w 9"/>
                      <a:gd name="T9" fmla="*/ 13 h 17"/>
                      <a:gd name="T10" fmla="*/ 9 w 9"/>
                      <a:gd name="T11" fmla="*/ 0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" h="17">
                        <a:moveTo>
                          <a:pt x="9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5"/>
                          <a:pt x="2" y="17"/>
                          <a:pt x="4" y="17"/>
                        </a:cubicBezTo>
                        <a:cubicBezTo>
                          <a:pt x="7" y="17"/>
                          <a:pt x="9" y="15"/>
                          <a:pt x="9" y="13"/>
                        </a:cubicBezTo>
                        <a:cubicBezTo>
                          <a:pt x="9" y="0"/>
                          <a:pt x="9" y="0"/>
                          <a:pt x="9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4" name="Rectangle 3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8" y="2370554"/>
                    <a:ext cx="20999" cy="7000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5" name="Rectangle 4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8" y="2370554"/>
                    <a:ext cx="20999" cy="7000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6" name="Freeform 41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2587348" y="2348555"/>
                    <a:ext cx="114996" cy="21999"/>
                  </a:xfrm>
                  <a:custGeom>
                    <a:avLst/>
                    <a:gdLst>
                      <a:gd name="T0" fmla="*/ 20 w 49"/>
                      <a:gd name="T1" fmla="*/ 0 h 9"/>
                      <a:gd name="T2" fmla="*/ 4 w 49"/>
                      <a:gd name="T3" fmla="*/ 0 h 9"/>
                      <a:gd name="T4" fmla="*/ 0 w 49"/>
                      <a:gd name="T5" fmla="*/ 5 h 9"/>
                      <a:gd name="T6" fmla="*/ 4 w 49"/>
                      <a:gd name="T7" fmla="*/ 9 h 9"/>
                      <a:gd name="T8" fmla="*/ 20 w 49"/>
                      <a:gd name="T9" fmla="*/ 9 h 9"/>
                      <a:gd name="T10" fmla="*/ 20 w 49"/>
                      <a:gd name="T11" fmla="*/ 0 h 9"/>
                      <a:gd name="T12" fmla="*/ 44 w 49"/>
                      <a:gd name="T13" fmla="*/ 0 h 9"/>
                      <a:gd name="T14" fmla="*/ 29 w 49"/>
                      <a:gd name="T15" fmla="*/ 0 h 9"/>
                      <a:gd name="T16" fmla="*/ 29 w 49"/>
                      <a:gd name="T17" fmla="*/ 9 h 9"/>
                      <a:gd name="T18" fmla="*/ 44 w 49"/>
                      <a:gd name="T19" fmla="*/ 9 h 9"/>
                      <a:gd name="T20" fmla="*/ 49 w 49"/>
                      <a:gd name="T21" fmla="*/ 5 h 9"/>
                      <a:gd name="T22" fmla="*/ 44 w 49"/>
                      <a:gd name="T23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49" h="9">
                        <a:moveTo>
                          <a:pt x="20" y="0"/>
                        </a:move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7"/>
                          <a:pt x="2" y="9"/>
                          <a:pt x="4" y="9"/>
                        </a:cubicBezTo>
                        <a:cubicBezTo>
                          <a:pt x="20" y="9"/>
                          <a:pt x="20" y="9"/>
                          <a:pt x="20" y="9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moveTo>
                          <a:pt x="44" y="0"/>
                        </a:moveTo>
                        <a:cubicBezTo>
                          <a:pt x="29" y="0"/>
                          <a:pt x="29" y="0"/>
                          <a:pt x="29" y="0"/>
                        </a:cubicBezTo>
                        <a:cubicBezTo>
                          <a:pt x="29" y="9"/>
                          <a:pt x="29" y="9"/>
                          <a:pt x="29" y="9"/>
                        </a:cubicBezTo>
                        <a:cubicBezTo>
                          <a:pt x="44" y="9"/>
                          <a:pt x="44" y="9"/>
                          <a:pt x="44" y="9"/>
                        </a:cubicBezTo>
                        <a:cubicBezTo>
                          <a:pt x="47" y="9"/>
                          <a:pt x="49" y="7"/>
                          <a:pt x="49" y="5"/>
                        </a:cubicBezTo>
                        <a:cubicBezTo>
                          <a:pt x="49" y="2"/>
                          <a:pt x="47" y="0"/>
                          <a:pt x="4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7" name="Rectangle 4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7" y="2348555"/>
                    <a:ext cx="20999" cy="21999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8" name="Rectangle 4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7" y="2348555"/>
                    <a:ext cx="20999" cy="21999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9" name="Freeform 44"/>
                  <p:cNvSpPr>
                    <a:spLocks noChangeAspect="1"/>
                  </p:cNvSpPr>
                  <p:nvPr/>
                </p:nvSpPr>
                <p:spPr bwMode="auto">
                  <a:xfrm>
                    <a:off x="12634347" y="2301558"/>
                    <a:ext cx="20999" cy="115996"/>
                  </a:xfrm>
                  <a:custGeom>
                    <a:avLst/>
                    <a:gdLst>
                      <a:gd name="T0" fmla="*/ 0 w 9"/>
                      <a:gd name="T1" fmla="*/ 45 h 49"/>
                      <a:gd name="T2" fmla="*/ 0 w 9"/>
                      <a:gd name="T3" fmla="*/ 5 h 49"/>
                      <a:gd name="T4" fmla="*/ 4 w 9"/>
                      <a:gd name="T5" fmla="*/ 0 h 49"/>
                      <a:gd name="T6" fmla="*/ 9 w 9"/>
                      <a:gd name="T7" fmla="*/ 5 h 49"/>
                      <a:gd name="T8" fmla="*/ 9 w 9"/>
                      <a:gd name="T9" fmla="*/ 45 h 49"/>
                      <a:gd name="T10" fmla="*/ 4 w 9"/>
                      <a:gd name="T11" fmla="*/ 49 h 49"/>
                      <a:gd name="T12" fmla="*/ 0 w 9"/>
                      <a:gd name="T13" fmla="*/ 45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" h="49">
                        <a:moveTo>
                          <a:pt x="0" y="45"/>
                        </a:moveTo>
                        <a:cubicBezTo>
                          <a:pt x="0" y="5"/>
                          <a:pt x="0" y="5"/>
                          <a:pt x="0" y="5"/>
                        </a:cubicBezTo>
                        <a:cubicBezTo>
                          <a:pt x="0" y="2"/>
                          <a:pt x="2" y="0"/>
                          <a:pt x="4" y="0"/>
                        </a:cubicBezTo>
                        <a:cubicBezTo>
                          <a:pt x="7" y="0"/>
                          <a:pt x="9" y="2"/>
                          <a:pt x="9" y="5"/>
                        </a:cubicBezTo>
                        <a:cubicBezTo>
                          <a:pt x="9" y="45"/>
                          <a:pt x="9" y="45"/>
                          <a:pt x="9" y="45"/>
                        </a:cubicBezTo>
                        <a:cubicBezTo>
                          <a:pt x="9" y="47"/>
                          <a:pt x="7" y="49"/>
                          <a:pt x="4" y="49"/>
                        </a:cubicBezTo>
                        <a:cubicBezTo>
                          <a:pt x="2" y="49"/>
                          <a:pt x="0" y="47"/>
                          <a:pt x="0" y="4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0" name="Freeform 45"/>
                  <p:cNvSpPr>
                    <a:spLocks noChangeAspect="1"/>
                  </p:cNvSpPr>
                  <p:nvPr/>
                </p:nvSpPr>
                <p:spPr bwMode="auto">
                  <a:xfrm>
                    <a:off x="12587373" y="2348557"/>
                    <a:ext cx="114996" cy="21999"/>
                  </a:xfrm>
                  <a:custGeom>
                    <a:avLst/>
                    <a:gdLst>
                      <a:gd name="T0" fmla="*/ 4 w 49"/>
                      <a:gd name="T1" fmla="*/ 0 h 9"/>
                      <a:gd name="T2" fmla="*/ 44 w 49"/>
                      <a:gd name="T3" fmla="*/ 0 h 9"/>
                      <a:gd name="T4" fmla="*/ 49 w 49"/>
                      <a:gd name="T5" fmla="*/ 5 h 9"/>
                      <a:gd name="T6" fmla="*/ 44 w 49"/>
                      <a:gd name="T7" fmla="*/ 9 h 9"/>
                      <a:gd name="T8" fmla="*/ 4 w 49"/>
                      <a:gd name="T9" fmla="*/ 9 h 9"/>
                      <a:gd name="T10" fmla="*/ 0 w 49"/>
                      <a:gd name="T11" fmla="*/ 5 h 9"/>
                      <a:gd name="T12" fmla="*/ 4 w 49"/>
                      <a:gd name="T13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9" h="9">
                        <a:moveTo>
                          <a:pt x="4" y="0"/>
                        </a:move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7" y="0"/>
                          <a:pt x="49" y="2"/>
                          <a:pt x="49" y="5"/>
                        </a:cubicBezTo>
                        <a:cubicBezTo>
                          <a:pt x="49" y="7"/>
                          <a:pt x="47" y="9"/>
                          <a:pt x="44" y="9"/>
                        </a:cubicBezTo>
                        <a:cubicBezTo>
                          <a:pt x="4" y="9"/>
                          <a:pt x="4" y="9"/>
                          <a:pt x="4" y="9"/>
                        </a:cubicBezTo>
                        <a:cubicBezTo>
                          <a:pt x="2" y="9"/>
                          <a:pt x="0" y="7"/>
                          <a:pt x="0" y="5"/>
                        </a:cubicBezTo>
                        <a:cubicBezTo>
                          <a:pt x="0" y="2"/>
                          <a:pt x="2" y="0"/>
                          <a:pt x="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1" name="Freeform 46"/>
                  <p:cNvSpPr>
                    <a:spLocks noChangeAspect="1"/>
                  </p:cNvSpPr>
                  <p:nvPr/>
                </p:nvSpPr>
                <p:spPr bwMode="auto">
                  <a:xfrm>
                    <a:off x="12598381" y="2313558"/>
                    <a:ext cx="92997" cy="91997"/>
                  </a:xfrm>
                  <a:custGeom>
                    <a:avLst/>
                    <a:gdLst>
                      <a:gd name="T0" fmla="*/ 2 w 39"/>
                      <a:gd name="T1" fmla="*/ 30 h 39"/>
                      <a:gd name="T2" fmla="*/ 30 w 39"/>
                      <a:gd name="T3" fmla="*/ 2 h 39"/>
                      <a:gd name="T4" fmla="*/ 37 w 39"/>
                      <a:gd name="T5" fmla="*/ 2 h 39"/>
                      <a:gd name="T6" fmla="*/ 37 w 39"/>
                      <a:gd name="T7" fmla="*/ 9 h 39"/>
                      <a:gd name="T8" fmla="*/ 9 w 39"/>
                      <a:gd name="T9" fmla="*/ 37 h 39"/>
                      <a:gd name="T10" fmla="*/ 2 w 39"/>
                      <a:gd name="T11" fmla="*/ 37 h 39"/>
                      <a:gd name="T12" fmla="*/ 2 w 39"/>
                      <a:gd name="T13" fmla="*/ 30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9" h="39">
                        <a:moveTo>
                          <a:pt x="2" y="30"/>
                        </a:moveTo>
                        <a:cubicBezTo>
                          <a:pt x="30" y="2"/>
                          <a:pt x="30" y="2"/>
                          <a:pt x="30" y="2"/>
                        </a:cubicBezTo>
                        <a:cubicBezTo>
                          <a:pt x="32" y="0"/>
                          <a:pt x="35" y="0"/>
                          <a:pt x="37" y="2"/>
                        </a:cubicBezTo>
                        <a:cubicBezTo>
                          <a:pt x="39" y="4"/>
                          <a:pt x="39" y="7"/>
                          <a:pt x="37" y="9"/>
                        </a:cubicBezTo>
                        <a:cubicBezTo>
                          <a:pt x="9" y="37"/>
                          <a:pt x="9" y="37"/>
                          <a:pt x="9" y="37"/>
                        </a:cubicBezTo>
                        <a:cubicBezTo>
                          <a:pt x="7" y="39"/>
                          <a:pt x="4" y="39"/>
                          <a:pt x="2" y="37"/>
                        </a:cubicBezTo>
                        <a:cubicBezTo>
                          <a:pt x="0" y="35"/>
                          <a:pt x="0" y="32"/>
                          <a:pt x="2" y="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2" name="Freeform 47"/>
                  <p:cNvSpPr>
                    <a:spLocks noChangeAspect="1"/>
                  </p:cNvSpPr>
                  <p:nvPr/>
                </p:nvSpPr>
                <p:spPr bwMode="auto">
                  <a:xfrm>
                    <a:off x="12598373" y="2313558"/>
                    <a:ext cx="92997" cy="91997"/>
                  </a:xfrm>
                  <a:custGeom>
                    <a:avLst/>
                    <a:gdLst>
                      <a:gd name="T0" fmla="*/ 9 w 39"/>
                      <a:gd name="T1" fmla="*/ 2 h 39"/>
                      <a:gd name="T2" fmla="*/ 37 w 39"/>
                      <a:gd name="T3" fmla="*/ 30 h 39"/>
                      <a:gd name="T4" fmla="*/ 37 w 39"/>
                      <a:gd name="T5" fmla="*/ 37 h 39"/>
                      <a:gd name="T6" fmla="*/ 30 w 39"/>
                      <a:gd name="T7" fmla="*/ 37 h 39"/>
                      <a:gd name="T8" fmla="*/ 2 w 39"/>
                      <a:gd name="T9" fmla="*/ 9 h 39"/>
                      <a:gd name="T10" fmla="*/ 2 w 39"/>
                      <a:gd name="T11" fmla="*/ 2 h 39"/>
                      <a:gd name="T12" fmla="*/ 9 w 39"/>
                      <a:gd name="T13" fmla="*/ 2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9" h="39">
                        <a:moveTo>
                          <a:pt x="9" y="2"/>
                        </a:moveTo>
                        <a:cubicBezTo>
                          <a:pt x="37" y="30"/>
                          <a:pt x="37" y="30"/>
                          <a:pt x="37" y="30"/>
                        </a:cubicBezTo>
                        <a:cubicBezTo>
                          <a:pt x="39" y="32"/>
                          <a:pt x="39" y="35"/>
                          <a:pt x="37" y="37"/>
                        </a:cubicBezTo>
                        <a:cubicBezTo>
                          <a:pt x="35" y="39"/>
                          <a:pt x="32" y="39"/>
                          <a:pt x="30" y="37"/>
                        </a:cubicBezTo>
                        <a:cubicBezTo>
                          <a:pt x="2" y="9"/>
                          <a:pt x="2" y="9"/>
                          <a:pt x="2" y="9"/>
                        </a:cubicBezTo>
                        <a:cubicBezTo>
                          <a:pt x="0" y="7"/>
                          <a:pt x="0" y="4"/>
                          <a:pt x="2" y="2"/>
                        </a:cubicBezTo>
                        <a:cubicBezTo>
                          <a:pt x="4" y="0"/>
                          <a:pt x="7" y="0"/>
                          <a:pt x="9" y="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3" name="Oval 4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27372" y="2341557"/>
                    <a:ext cx="34999" cy="35999"/>
                  </a:xfrm>
                  <a:prstGeom prst="ellipse">
                    <a:avLst/>
                  </a:prstGeom>
                  <a:solidFill>
                    <a:schemeClr val="accent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94" name="Freeform 49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2608373" y="2325559"/>
                    <a:ext cx="70998" cy="70998"/>
                  </a:xfrm>
                  <a:custGeom>
                    <a:avLst/>
                    <a:gdLst>
                      <a:gd name="T0" fmla="*/ 15 w 30"/>
                      <a:gd name="T1" fmla="*/ 7 h 30"/>
                      <a:gd name="T2" fmla="*/ 23 w 30"/>
                      <a:gd name="T3" fmla="*/ 15 h 30"/>
                      <a:gd name="T4" fmla="*/ 15 w 30"/>
                      <a:gd name="T5" fmla="*/ 22 h 30"/>
                      <a:gd name="T6" fmla="*/ 8 w 30"/>
                      <a:gd name="T7" fmla="*/ 15 h 30"/>
                      <a:gd name="T8" fmla="*/ 15 w 30"/>
                      <a:gd name="T9" fmla="*/ 7 h 30"/>
                      <a:gd name="T10" fmla="*/ 15 w 30"/>
                      <a:gd name="T11" fmla="*/ 0 h 30"/>
                      <a:gd name="T12" fmla="*/ 0 w 30"/>
                      <a:gd name="T13" fmla="*/ 15 h 30"/>
                      <a:gd name="T14" fmla="*/ 15 w 30"/>
                      <a:gd name="T15" fmla="*/ 30 h 30"/>
                      <a:gd name="T16" fmla="*/ 30 w 30"/>
                      <a:gd name="T17" fmla="*/ 15 h 30"/>
                      <a:gd name="T18" fmla="*/ 15 w 30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0" h="30">
                        <a:moveTo>
                          <a:pt x="15" y="7"/>
                        </a:moveTo>
                        <a:cubicBezTo>
                          <a:pt x="20" y="7"/>
                          <a:pt x="23" y="10"/>
                          <a:pt x="23" y="15"/>
                        </a:cubicBezTo>
                        <a:cubicBezTo>
                          <a:pt x="23" y="19"/>
                          <a:pt x="20" y="22"/>
                          <a:pt x="15" y="22"/>
                        </a:cubicBezTo>
                        <a:cubicBezTo>
                          <a:pt x="11" y="22"/>
                          <a:pt x="8" y="19"/>
                          <a:pt x="8" y="15"/>
                        </a:cubicBezTo>
                        <a:cubicBezTo>
                          <a:pt x="8" y="10"/>
                          <a:pt x="11" y="7"/>
                          <a:pt x="15" y="7"/>
                        </a:cubicBezTo>
                        <a:moveTo>
                          <a:pt x="15" y="0"/>
                        </a:moveTo>
                        <a:cubicBezTo>
                          <a:pt x="7" y="0"/>
                          <a:pt x="0" y="6"/>
                          <a:pt x="0" y="15"/>
                        </a:cubicBezTo>
                        <a:cubicBezTo>
                          <a:pt x="0" y="23"/>
                          <a:pt x="7" y="30"/>
                          <a:pt x="15" y="30"/>
                        </a:cubicBezTo>
                        <a:cubicBezTo>
                          <a:pt x="24" y="30"/>
                          <a:pt x="30" y="23"/>
                          <a:pt x="30" y="15"/>
                        </a:cubicBezTo>
                        <a:cubicBezTo>
                          <a:pt x="30" y="6"/>
                          <a:pt x="24" y="0"/>
                          <a:pt x="1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66" name="Group 65"/>
                <p:cNvGrpSpPr>
                  <a:grpSpLocks noChangeAspect="1"/>
                </p:cNvGrpSpPr>
                <p:nvPr/>
              </p:nvGrpSpPr>
              <p:grpSpPr>
                <a:xfrm>
                  <a:off x="1480910" y="3641989"/>
                  <a:ext cx="350356" cy="353399"/>
                  <a:chOff x="12587345" y="2301556"/>
                  <a:chExt cx="114999" cy="115998"/>
                </a:xfrm>
                <a:solidFill>
                  <a:schemeClr val="accent3"/>
                </a:solidFill>
              </p:grpSpPr>
              <p:sp>
                <p:nvSpPr>
                  <p:cNvPr id="67" name="Freeform 36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25555"/>
                    <a:ext cx="20999" cy="22999"/>
                  </a:xfrm>
                  <a:custGeom>
                    <a:avLst/>
                    <a:gdLst>
                      <a:gd name="T0" fmla="*/ 9 w 9"/>
                      <a:gd name="T1" fmla="*/ 0 h 10"/>
                      <a:gd name="T2" fmla="*/ 7 w 9"/>
                      <a:gd name="T3" fmla="*/ 0 h 10"/>
                      <a:gd name="T4" fmla="*/ 0 w 9"/>
                      <a:gd name="T5" fmla="*/ 0 h 10"/>
                      <a:gd name="T6" fmla="*/ 0 w 9"/>
                      <a:gd name="T7" fmla="*/ 10 h 10"/>
                      <a:gd name="T8" fmla="*/ 9 w 9"/>
                      <a:gd name="T9" fmla="*/ 10 h 10"/>
                      <a:gd name="T10" fmla="*/ 9 w 9"/>
                      <a:gd name="T11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" h="10">
                        <a:moveTo>
                          <a:pt x="9" y="0"/>
                        </a:moveTo>
                        <a:cubicBezTo>
                          <a:pt x="9" y="0"/>
                          <a:pt x="8" y="0"/>
                          <a:pt x="7" y="0"/>
                        </a:cubicBez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9" y="10"/>
                          <a:pt x="9" y="10"/>
                          <a:pt x="9" y="10"/>
                        </a:cubicBezTo>
                        <a:cubicBezTo>
                          <a:pt x="9" y="0"/>
                          <a:pt x="9" y="0"/>
                          <a:pt x="9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8" name="Freeform 37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01556"/>
                    <a:ext cx="20999" cy="23999"/>
                  </a:xfrm>
                  <a:custGeom>
                    <a:avLst/>
                    <a:gdLst>
                      <a:gd name="T0" fmla="*/ 4 w 9"/>
                      <a:gd name="T1" fmla="*/ 0 h 10"/>
                      <a:gd name="T2" fmla="*/ 0 w 9"/>
                      <a:gd name="T3" fmla="*/ 5 h 10"/>
                      <a:gd name="T4" fmla="*/ 0 w 9"/>
                      <a:gd name="T5" fmla="*/ 10 h 10"/>
                      <a:gd name="T6" fmla="*/ 7 w 9"/>
                      <a:gd name="T7" fmla="*/ 10 h 10"/>
                      <a:gd name="T8" fmla="*/ 9 w 9"/>
                      <a:gd name="T9" fmla="*/ 10 h 10"/>
                      <a:gd name="T10" fmla="*/ 9 w 9"/>
                      <a:gd name="T11" fmla="*/ 5 h 10"/>
                      <a:gd name="T12" fmla="*/ 4 w 9"/>
                      <a:gd name="T13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" h="10">
                        <a:moveTo>
                          <a:pt x="4" y="0"/>
                        </a:move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10"/>
                          <a:pt x="0" y="10"/>
                          <a:pt x="0" y="10"/>
                        </a:cubicBezTo>
                        <a:cubicBezTo>
                          <a:pt x="7" y="10"/>
                          <a:pt x="7" y="10"/>
                          <a:pt x="7" y="10"/>
                        </a:cubicBezTo>
                        <a:cubicBezTo>
                          <a:pt x="8" y="10"/>
                          <a:pt x="9" y="10"/>
                          <a:pt x="9" y="10"/>
                        </a:cubicBezTo>
                        <a:cubicBezTo>
                          <a:pt x="9" y="5"/>
                          <a:pt x="9" y="5"/>
                          <a:pt x="9" y="5"/>
                        </a:cubicBezTo>
                        <a:cubicBezTo>
                          <a:pt x="9" y="2"/>
                          <a:pt x="7" y="0"/>
                          <a:pt x="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9" name="Freeform 38"/>
                  <p:cNvSpPr>
                    <a:spLocks noChangeAspect="1"/>
                  </p:cNvSpPr>
                  <p:nvPr/>
                </p:nvSpPr>
                <p:spPr bwMode="auto">
                  <a:xfrm>
                    <a:off x="12634348" y="2377554"/>
                    <a:ext cx="20999" cy="39999"/>
                  </a:xfrm>
                  <a:custGeom>
                    <a:avLst/>
                    <a:gdLst>
                      <a:gd name="T0" fmla="*/ 9 w 9"/>
                      <a:gd name="T1" fmla="*/ 0 h 17"/>
                      <a:gd name="T2" fmla="*/ 0 w 9"/>
                      <a:gd name="T3" fmla="*/ 0 h 17"/>
                      <a:gd name="T4" fmla="*/ 0 w 9"/>
                      <a:gd name="T5" fmla="*/ 13 h 17"/>
                      <a:gd name="T6" fmla="*/ 4 w 9"/>
                      <a:gd name="T7" fmla="*/ 17 h 17"/>
                      <a:gd name="T8" fmla="*/ 9 w 9"/>
                      <a:gd name="T9" fmla="*/ 13 h 17"/>
                      <a:gd name="T10" fmla="*/ 9 w 9"/>
                      <a:gd name="T11" fmla="*/ 0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9" h="17">
                        <a:moveTo>
                          <a:pt x="9" y="0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0" y="15"/>
                          <a:pt x="2" y="17"/>
                          <a:pt x="4" y="17"/>
                        </a:cubicBezTo>
                        <a:cubicBezTo>
                          <a:pt x="7" y="17"/>
                          <a:pt x="9" y="15"/>
                          <a:pt x="9" y="13"/>
                        </a:cubicBezTo>
                        <a:cubicBezTo>
                          <a:pt x="9" y="0"/>
                          <a:pt x="9" y="0"/>
                          <a:pt x="9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0" name="Rectangle 39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8" y="2370554"/>
                    <a:ext cx="20999" cy="7000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1" name="Rectangle 40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8" y="2370554"/>
                    <a:ext cx="20999" cy="7000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2" name="Freeform 41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2587348" y="2348555"/>
                    <a:ext cx="114996" cy="21999"/>
                  </a:xfrm>
                  <a:custGeom>
                    <a:avLst/>
                    <a:gdLst>
                      <a:gd name="T0" fmla="*/ 20 w 49"/>
                      <a:gd name="T1" fmla="*/ 0 h 9"/>
                      <a:gd name="T2" fmla="*/ 4 w 49"/>
                      <a:gd name="T3" fmla="*/ 0 h 9"/>
                      <a:gd name="T4" fmla="*/ 0 w 49"/>
                      <a:gd name="T5" fmla="*/ 5 h 9"/>
                      <a:gd name="T6" fmla="*/ 4 w 49"/>
                      <a:gd name="T7" fmla="*/ 9 h 9"/>
                      <a:gd name="T8" fmla="*/ 20 w 49"/>
                      <a:gd name="T9" fmla="*/ 9 h 9"/>
                      <a:gd name="T10" fmla="*/ 20 w 49"/>
                      <a:gd name="T11" fmla="*/ 0 h 9"/>
                      <a:gd name="T12" fmla="*/ 44 w 49"/>
                      <a:gd name="T13" fmla="*/ 0 h 9"/>
                      <a:gd name="T14" fmla="*/ 29 w 49"/>
                      <a:gd name="T15" fmla="*/ 0 h 9"/>
                      <a:gd name="T16" fmla="*/ 29 w 49"/>
                      <a:gd name="T17" fmla="*/ 9 h 9"/>
                      <a:gd name="T18" fmla="*/ 44 w 49"/>
                      <a:gd name="T19" fmla="*/ 9 h 9"/>
                      <a:gd name="T20" fmla="*/ 49 w 49"/>
                      <a:gd name="T21" fmla="*/ 5 h 9"/>
                      <a:gd name="T22" fmla="*/ 44 w 49"/>
                      <a:gd name="T23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49" h="9">
                        <a:moveTo>
                          <a:pt x="20" y="0"/>
                        </a:move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7"/>
                          <a:pt x="2" y="9"/>
                          <a:pt x="4" y="9"/>
                        </a:cubicBezTo>
                        <a:cubicBezTo>
                          <a:pt x="20" y="9"/>
                          <a:pt x="20" y="9"/>
                          <a:pt x="20" y="9"/>
                        </a:cubicBezTo>
                        <a:cubicBezTo>
                          <a:pt x="20" y="0"/>
                          <a:pt x="20" y="0"/>
                          <a:pt x="20" y="0"/>
                        </a:cubicBezTo>
                        <a:moveTo>
                          <a:pt x="44" y="0"/>
                        </a:moveTo>
                        <a:cubicBezTo>
                          <a:pt x="29" y="0"/>
                          <a:pt x="29" y="0"/>
                          <a:pt x="29" y="0"/>
                        </a:cubicBezTo>
                        <a:cubicBezTo>
                          <a:pt x="29" y="9"/>
                          <a:pt x="29" y="9"/>
                          <a:pt x="29" y="9"/>
                        </a:cubicBezTo>
                        <a:cubicBezTo>
                          <a:pt x="44" y="9"/>
                          <a:pt x="44" y="9"/>
                          <a:pt x="44" y="9"/>
                        </a:cubicBezTo>
                        <a:cubicBezTo>
                          <a:pt x="47" y="9"/>
                          <a:pt x="49" y="7"/>
                          <a:pt x="49" y="5"/>
                        </a:cubicBezTo>
                        <a:cubicBezTo>
                          <a:pt x="49" y="2"/>
                          <a:pt x="47" y="0"/>
                          <a:pt x="4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3" name="Rectangle 42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7" y="2348555"/>
                    <a:ext cx="20999" cy="21999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4" name="Rectangle 43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34347" y="2348555"/>
                    <a:ext cx="20999" cy="21999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5" name="Freeform 44"/>
                  <p:cNvSpPr>
                    <a:spLocks noChangeAspect="1"/>
                  </p:cNvSpPr>
                  <p:nvPr/>
                </p:nvSpPr>
                <p:spPr bwMode="auto">
                  <a:xfrm>
                    <a:off x="12634347" y="2301558"/>
                    <a:ext cx="20999" cy="115996"/>
                  </a:xfrm>
                  <a:custGeom>
                    <a:avLst/>
                    <a:gdLst>
                      <a:gd name="T0" fmla="*/ 0 w 9"/>
                      <a:gd name="T1" fmla="*/ 45 h 49"/>
                      <a:gd name="T2" fmla="*/ 0 w 9"/>
                      <a:gd name="T3" fmla="*/ 5 h 49"/>
                      <a:gd name="T4" fmla="*/ 4 w 9"/>
                      <a:gd name="T5" fmla="*/ 0 h 49"/>
                      <a:gd name="T6" fmla="*/ 9 w 9"/>
                      <a:gd name="T7" fmla="*/ 5 h 49"/>
                      <a:gd name="T8" fmla="*/ 9 w 9"/>
                      <a:gd name="T9" fmla="*/ 45 h 49"/>
                      <a:gd name="T10" fmla="*/ 4 w 9"/>
                      <a:gd name="T11" fmla="*/ 49 h 49"/>
                      <a:gd name="T12" fmla="*/ 0 w 9"/>
                      <a:gd name="T13" fmla="*/ 45 h 4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" h="49">
                        <a:moveTo>
                          <a:pt x="0" y="45"/>
                        </a:moveTo>
                        <a:cubicBezTo>
                          <a:pt x="0" y="5"/>
                          <a:pt x="0" y="5"/>
                          <a:pt x="0" y="5"/>
                        </a:cubicBezTo>
                        <a:cubicBezTo>
                          <a:pt x="0" y="2"/>
                          <a:pt x="2" y="0"/>
                          <a:pt x="4" y="0"/>
                        </a:cubicBezTo>
                        <a:cubicBezTo>
                          <a:pt x="7" y="0"/>
                          <a:pt x="9" y="2"/>
                          <a:pt x="9" y="5"/>
                        </a:cubicBezTo>
                        <a:cubicBezTo>
                          <a:pt x="9" y="45"/>
                          <a:pt x="9" y="45"/>
                          <a:pt x="9" y="45"/>
                        </a:cubicBezTo>
                        <a:cubicBezTo>
                          <a:pt x="9" y="47"/>
                          <a:pt x="7" y="49"/>
                          <a:pt x="4" y="49"/>
                        </a:cubicBezTo>
                        <a:cubicBezTo>
                          <a:pt x="2" y="49"/>
                          <a:pt x="0" y="47"/>
                          <a:pt x="0" y="4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6" name="Freeform 45"/>
                  <p:cNvSpPr>
                    <a:spLocks noChangeAspect="1"/>
                  </p:cNvSpPr>
                  <p:nvPr/>
                </p:nvSpPr>
                <p:spPr bwMode="auto">
                  <a:xfrm>
                    <a:off x="12587373" y="2348557"/>
                    <a:ext cx="114996" cy="21999"/>
                  </a:xfrm>
                  <a:custGeom>
                    <a:avLst/>
                    <a:gdLst>
                      <a:gd name="T0" fmla="*/ 4 w 49"/>
                      <a:gd name="T1" fmla="*/ 0 h 9"/>
                      <a:gd name="T2" fmla="*/ 44 w 49"/>
                      <a:gd name="T3" fmla="*/ 0 h 9"/>
                      <a:gd name="T4" fmla="*/ 49 w 49"/>
                      <a:gd name="T5" fmla="*/ 5 h 9"/>
                      <a:gd name="T6" fmla="*/ 44 w 49"/>
                      <a:gd name="T7" fmla="*/ 9 h 9"/>
                      <a:gd name="T8" fmla="*/ 4 w 49"/>
                      <a:gd name="T9" fmla="*/ 9 h 9"/>
                      <a:gd name="T10" fmla="*/ 0 w 49"/>
                      <a:gd name="T11" fmla="*/ 5 h 9"/>
                      <a:gd name="T12" fmla="*/ 4 w 49"/>
                      <a:gd name="T13" fmla="*/ 0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9" h="9">
                        <a:moveTo>
                          <a:pt x="4" y="0"/>
                        </a:moveTo>
                        <a:cubicBezTo>
                          <a:pt x="44" y="0"/>
                          <a:pt x="44" y="0"/>
                          <a:pt x="44" y="0"/>
                        </a:cubicBezTo>
                        <a:cubicBezTo>
                          <a:pt x="47" y="0"/>
                          <a:pt x="49" y="2"/>
                          <a:pt x="49" y="5"/>
                        </a:cubicBezTo>
                        <a:cubicBezTo>
                          <a:pt x="49" y="7"/>
                          <a:pt x="47" y="9"/>
                          <a:pt x="44" y="9"/>
                        </a:cubicBezTo>
                        <a:cubicBezTo>
                          <a:pt x="4" y="9"/>
                          <a:pt x="4" y="9"/>
                          <a:pt x="4" y="9"/>
                        </a:cubicBezTo>
                        <a:cubicBezTo>
                          <a:pt x="2" y="9"/>
                          <a:pt x="0" y="7"/>
                          <a:pt x="0" y="5"/>
                        </a:cubicBezTo>
                        <a:cubicBezTo>
                          <a:pt x="0" y="2"/>
                          <a:pt x="2" y="0"/>
                          <a:pt x="4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7" name="Freeform 46"/>
                  <p:cNvSpPr>
                    <a:spLocks noChangeAspect="1"/>
                  </p:cNvSpPr>
                  <p:nvPr/>
                </p:nvSpPr>
                <p:spPr bwMode="auto">
                  <a:xfrm>
                    <a:off x="12598381" y="2313558"/>
                    <a:ext cx="92997" cy="91997"/>
                  </a:xfrm>
                  <a:custGeom>
                    <a:avLst/>
                    <a:gdLst>
                      <a:gd name="T0" fmla="*/ 2 w 39"/>
                      <a:gd name="T1" fmla="*/ 30 h 39"/>
                      <a:gd name="T2" fmla="*/ 30 w 39"/>
                      <a:gd name="T3" fmla="*/ 2 h 39"/>
                      <a:gd name="T4" fmla="*/ 37 w 39"/>
                      <a:gd name="T5" fmla="*/ 2 h 39"/>
                      <a:gd name="T6" fmla="*/ 37 w 39"/>
                      <a:gd name="T7" fmla="*/ 9 h 39"/>
                      <a:gd name="T8" fmla="*/ 9 w 39"/>
                      <a:gd name="T9" fmla="*/ 37 h 39"/>
                      <a:gd name="T10" fmla="*/ 2 w 39"/>
                      <a:gd name="T11" fmla="*/ 37 h 39"/>
                      <a:gd name="T12" fmla="*/ 2 w 39"/>
                      <a:gd name="T13" fmla="*/ 30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9" h="39">
                        <a:moveTo>
                          <a:pt x="2" y="30"/>
                        </a:moveTo>
                        <a:cubicBezTo>
                          <a:pt x="30" y="2"/>
                          <a:pt x="30" y="2"/>
                          <a:pt x="30" y="2"/>
                        </a:cubicBezTo>
                        <a:cubicBezTo>
                          <a:pt x="32" y="0"/>
                          <a:pt x="35" y="0"/>
                          <a:pt x="37" y="2"/>
                        </a:cubicBezTo>
                        <a:cubicBezTo>
                          <a:pt x="39" y="4"/>
                          <a:pt x="39" y="7"/>
                          <a:pt x="37" y="9"/>
                        </a:cubicBezTo>
                        <a:cubicBezTo>
                          <a:pt x="9" y="37"/>
                          <a:pt x="9" y="37"/>
                          <a:pt x="9" y="37"/>
                        </a:cubicBezTo>
                        <a:cubicBezTo>
                          <a:pt x="7" y="39"/>
                          <a:pt x="4" y="39"/>
                          <a:pt x="2" y="37"/>
                        </a:cubicBezTo>
                        <a:cubicBezTo>
                          <a:pt x="0" y="35"/>
                          <a:pt x="0" y="32"/>
                          <a:pt x="2" y="3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8" name="Freeform 47"/>
                  <p:cNvSpPr>
                    <a:spLocks noChangeAspect="1"/>
                  </p:cNvSpPr>
                  <p:nvPr/>
                </p:nvSpPr>
                <p:spPr bwMode="auto">
                  <a:xfrm>
                    <a:off x="12598373" y="2313558"/>
                    <a:ext cx="92997" cy="91997"/>
                  </a:xfrm>
                  <a:custGeom>
                    <a:avLst/>
                    <a:gdLst>
                      <a:gd name="T0" fmla="*/ 9 w 39"/>
                      <a:gd name="T1" fmla="*/ 2 h 39"/>
                      <a:gd name="T2" fmla="*/ 37 w 39"/>
                      <a:gd name="T3" fmla="*/ 30 h 39"/>
                      <a:gd name="T4" fmla="*/ 37 w 39"/>
                      <a:gd name="T5" fmla="*/ 37 h 39"/>
                      <a:gd name="T6" fmla="*/ 30 w 39"/>
                      <a:gd name="T7" fmla="*/ 37 h 39"/>
                      <a:gd name="T8" fmla="*/ 2 w 39"/>
                      <a:gd name="T9" fmla="*/ 9 h 39"/>
                      <a:gd name="T10" fmla="*/ 2 w 39"/>
                      <a:gd name="T11" fmla="*/ 2 h 39"/>
                      <a:gd name="T12" fmla="*/ 9 w 39"/>
                      <a:gd name="T13" fmla="*/ 2 h 3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9" h="39">
                        <a:moveTo>
                          <a:pt x="9" y="2"/>
                        </a:moveTo>
                        <a:cubicBezTo>
                          <a:pt x="37" y="30"/>
                          <a:pt x="37" y="30"/>
                          <a:pt x="37" y="30"/>
                        </a:cubicBezTo>
                        <a:cubicBezTo>
                          <a:pt x="39" y="32"/>
                          <a:pt x="39" y="35"/>
                          <a:pt x="37" y="37"/>
                        </a:cubicBezTo>
                        <a:cubicBezTo>
                          <a:pt x="35" y="39"/>
                          <a:pt x="32" y="39"/>
                          <a:pt x="30" y="37"/>
                        </a:cubicBezTo>
                        <a:cubicBezTo>
                          <a:pt x="2" y="9"/>
                          <a:pt x="2" y="9"/>
                          <a:pt x="2" y="9"/>
                        </a:cubicBezTo>
                        <a:cubicBezTo>
                          <a:pt x="0" y="7"/>
                          <a:pt x="0" y="4"/>
                          <a:pt x="2" y="2"/>
                        </a:cubicBezTo>
                        <a:cubicBezTo>
                          <a:pt x="4" y="0"/>
                          <a:pt x="7" y="0"/>
                          <a:pt x="9" y="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79" name="Oval 48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2627372" y="2341557"/>
                    <a:ext cx="34999" cy="35999"/>
                  </a:xfrm>
                  <a:prstGeom prst="ellipse">
                    <a:avLst/>
                  </a:prstGeom>
                  <a:solidFill>
                    <a:schemeClr val="accent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80" name="Freeform 49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12608373" y="2325559"/>
                    <a:ext cx="70998" cy="70998"/>
                  </a:xfrm>
                  <a:custGeom>
                    <a:avLst/>
                    <a:gdLst>
                      <a:gd name="T0" fmla="*/ 15 w 30"/>
                      <a:gd name="T1" fmla="*/ 7 h 30"/>
                      <a:gd name="T2" fmla="*/ 23 w 30"/>
                      <a:gd name="T3" fmla="*/ 15 h 30"/>
                      <a:gd name="T4" fmla="*/ 15 w 30"/>
                      <a:gd name="T5" fmla="*/ 22 h 30"/>
                      <a:gd name="T6" fmla="*/ 8 w 30"/>
                      <a:gd name="T7" fmla="*/ 15 h 30"/>
                      <a:gd name="T8" fmla="*/ 15 w 30"/>
                      <a:gd name="T9" fmla="*/ 7 h 30"/>
                      <a:gd name="T10" fmla="*/ 15 w 30"/>
                      <a:gd name="T11" fmla="*/ 0 h 30"/>
                      <a:gd name="T12" fmla="*/ 0 w 30"/>
                      <a:gd name="T13" fmla="*/ 15 h 30"/>
                      <a:gd name="T14" fmla="*/ 15 w 30"/>
                      <a:gd name="T15" fmla="*/ 30 h 30"/>
                      <a:gd name="T16" fmla="*/ 30 w 30"/>
                      <a:gd name="T17" fmla="*/ 15 h 30"/>
                      <a:gd name="T18" fmla="*/ 15 w 30"/>
                      <a:gd name="T19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0" h="30">
                        <a:moveTo>
                          <a:pt x="15" y="7"/>
                        </a:moveTo>
                        <a:cubicBezTo>
                          <a:pt x="20" y="7"/>
                          <a:pt x="23" y="10"/>
                          <a:pt x="23" y="15"/>
                        </a:cubicBezTo>
                        <a:cubicBezTo>
                          <a:pt x="23" y="19"/>
                          <a:pt x="20" y="22"/>
                          <a:pt x="15" y="22"/>
                        </a:cubicBezTo>
                        <a:cubicBezTo>
                          <a:pt x="11" y="22"/>
                          <a:pt x="8" y="19"/>
                          <a:pt x="8" y="15"/>
                        </a:cubicBezTo>
                        <a:cubicBezTo>
                          <a:pt x="8" y="10"/>
                          <a:pt x="11" y="7"/>
                          <a:pt x="15" y="7"/>
                        </a:cubicBezTo>
                        <a:moveTo>
                          <a:pt x="15" y="0"/>
                        </a:moveTo>
                        <a:cubicBezTo>
                          <a:pt x="7" y="0"/>
                          <a:pt x="0" y="6"/>
                          <a:pt x="0" y="15"/>
                        </a:cubicBezTo>
                        <a:cubicBezTo>
                          <a:pt x="0" y="23"/>
                          <a:pt x="7" y="30"/>
                          <a:pt x="15" y="30"/>
                        </a:cubicBezTo>
                        <a:cubicBezTo>
                          <a:pt x="24" y="30"/>
                          <a:pt x="30" y="23"/>
                          <a:pt x="30" y="15"/>
                        </a:cubicBezTo>
                        <a:cubicBezTo>
                          <a:pt x="30" y="6"/>
                          <a:pt x="24" y="0"/>
                          <a:pt x="15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5" name="Rectangle 4"/>
            <p:cNvSpPr/>
            <p:nvPr/>
          </p:nvSpPr>
          <p:spPr>
            <a:xfrm>
              <a:off x="1826544" y="3780737"/>
              <a:ext cx="4572000" cy="5539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57150" lvl="1" indent="-57150" defTabSz="444500">
                <a:lnSpc>
                  <a:spcPct val="90000"/>
                </a:lnSpc>
                <a:spcAft>
                  <a:spcPct val="15000"/>
                </a:spcAft>
                <a:buChar char="••"/>
              </a:pPr>
              <a:r>
                <a:rPr lang="en-US" sz="1000" dirty="0">
                  <a:latin typeface="+mn-lt"/>
                </a:rPr>
                <a:t>Is the network (micro) segmented appropriately?</a:t>
              </a:r>
            </a:p>
            <a:p>
              <a:pPr marL="57150" lvl="1" indent="-57150" defTabSz="444500">
                <a:lnSpc>
                  <a:spcPct val="90000"/>
                </a:lnSpc>
                <a:spcAft>
                  <a:spcPct val="15000"/>
                </a:spcAft>
                <a:buChar char="••"/>
              </a:pPr>
              <a:r>
                <a:rPr lang="en-US" sz="1000" dirty="0">
                  <a:latin typeface="+mn-lt"/>
                </a:rPr>
                <a:t>Is internal communication appropriately secured?</a:t>
              </a:r>
            </a:p>
            <a:p>
              <a:pPr marL="57150" lvl="1" indent="-57150" defTabSz="444500">
                <a:lnSpc>
                  <a:spcPct val="90000"/>
                </a:lnSpc>
                <a:spcAft>
                  <a:spcPct val="15000"/>
                </a:spcAft>
                <a:buChar char="••"/>
              </a:pPr>
              <a:r>
                <a:rPr lang="en-US" sz="1000" dirty="0">
                  <a:latin typeface="+mn-lt"/>
                </a:rPr>
                <a:t>Is sensitive data stored with appropriate controls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8494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/>
        </p:nvSpPr>
        <p:spPr>
          <a:xfrm>
            <a:off x="5858218" y="3246855"/>
            <a:ext cx="1259840" cy="3791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368" y="441780"/>
            <a:ext cx="2847332" cy="1579902"/>
          </a:xfrm>
        </p:spPr>
        <p:txBody>
          <a:bodyPr/>
          <a:lstStyle/>
          <a:p>
            <a:r>
              <a:rPr lang="en-US" sz="2800" dirty="0" smtClean="0"/>
              <a:t>Where are you in your Digital Transformation journey? </a:t>
            </a:r>
            <a:endParaRPr lang="en-US" sz="2800" dirty="0"/>
          </a:p>
        </p:txBody>
      </p:sp>
      <p:sp>
        <p:nvSpPr>
          <p:cNvPr id="32" name="Freeform 37"/>
          <p:cNvSpPr>
            <a:spLocks noEditPoints="1"/>
          </p:cNvSpPr>
          <p:nvPr/>
        </p:nvSpPr>
        <p:spPr bwMode="auto">
          <a:xfrm flipH="1">
            <a:off x="1565835" y="1231731"/>
            <a:ext cx="5633390" cy="3001291"/>
          </a:xfrm>
          <a:custGeom>
            <a:avLst/>
            <a:gdLst>
              <a:gd name="T0" fmla="*/ 3016 w 3891"/>
              <a:gd name="T1" fmla="*/ 1830 h 2073"/>
              <a:gd name="T2" fmla="*/ 3088 w 3891"/>
              <a:gd name="T3" fmla="*/ 1965 h 2073"/>
              <a:gd name="T4" fmla="*/ 3608 w 3891"/>
              <a:gd name="T5" fmla="*/ 1993 h 2073"/>
              <a:gd name="T6" fmla="*/ 3824 w 3891"/>
              <a:gd name="T7" fmla="*/ 1865 h 2073"/>
              <a:gd name="T8" fmla="*/ 3477 w 3891"/>
              <a:gd name="T9" fmla="*/ 1754 h 2073"/>
              <a:gd name="T10" fmla="*/ 139 w 3891"/>
              <a:gd name="T11" fmla="*/ 1456 h 2073"/>
              <a:gd name="T12" fmla="*/ 139 w 3891"/>
              <a:gd name="T13" fmla="*/ 1592 h 2073"/>
              <a:gd name="T14" fmla="*/ 636 w 3891"/>
              <a:gd name="T15" fmla="*/ 1645 h 2073"/>
              <a:gd name="T16" fmla="*/ 920 w 3891"/>
              <a:gd name="T17" fmla="*/ 1524 h 2073"/>
              <a:gd name="T18" fmla="*/ 636 w 3891"/>
              <a:gd name="T19" fmla="*/ 1403 h 2073"/>
              <a:gd name="T20" fmla="*/ 1058 w 3891"/>
              <a:gd name="T21" fmla="*/ 108 h 2073"/>
              <a:gd name="T22" fmla="*/ 985 w 3891"/>
              <a:gd name="T23" fmla="*/ 243 h 2073"/>
              <a:gd name="T24" fmla="*/ 1445 w 3891"/>
              <a:gd name="T25" fmla="*/ 319 h 2073"/>
              <a:gd name="T26" fmla="*/ 1792 w 3891"/>
              <a:gd name="T27" fmla="*/ 208 h 2073"/>
              <a:gd name="T28" fmla="*/ 1577 w 3891"/>
              <a:gd name="T29" fmla="*/ 80 h 2073"/>
              <a:gd name="T30" fmla="*/ 1586 w 3891"/>
              <a:gd name="T31" fmla="*/ 19 h 2073"/>
              <a:gd name="T32" fmla="*/ 1855 w 3891"/>
              <a:gd name="T33" fmla="*/ 164 h 2073"/>
              <a:gd name="T34" fmla="*/ 1963 w 3891"/>
              <a:gd name="T35" fmla="*/ 205 h 2073"/>
              <a:gd name="T36" fmla="*/ 2332 w 3891"/>
              <a:gd name="T37" fmla="*/ 250 h 2073"/>
              <a:gd name="T38" fmla="*/ 2691 w 3891"/>
              <a:gd name="T39" fmla="*/ 371 h 2073"/>
              <a:gd name="T40" fmla="*/ 2716 w 3891"/>
              <a:gd name="T41" fmla="*/ 582 h 2073"/>
              <a:gd name="T42" fmla="*/ 2434 w 3891"/>
              <a:gd name="T43" fmla="*/ 789 h 2073"/>
              <a:gd name="T44" fmla="*/ 2073 w 3891"/>
              <a:gd name="T45" fmla="*/ 913 h 2073"/>
              <a:gd name="T46" fmla="*/ 1531 w 3891"/>
              <a:gd name="T47" fmla="*/ 1065 h 2073"/>
              <a:gd name="T48" fmla="*/ 1075 w 3891"/>
              <a:gd name="T49" fmla="*/ 1195 h 2073"/>
              <a:gd name="T50" fmla="*/ 688 w 3891"/>
              <a:gd name="T51" fmla="*/ 1348 h 2073"/>
              <a:gd name="T52" fmla="*/ 966 w 3891"/>
              <a:gd name="T53" fmla="*/ 1473 h 2073"/>
              <a:gd name="T54" fmla="*/ 857 w 3891"/>
              <a:gd name="T55" fmla="*/ 1654 h 2073"/>
              <a:gd name="T56" fmla="*/ 799 w 3891"/>
              <a:gd name="T57" fmla="*/ 1776 h 2073"/>
              <a:gd name="T58" fmla="*/ 1471 w 3891"/>
              <a:gd name="T59" fmla="*/ 1885 h 2073"/>
              <a:gd name="T60" fmla="*/ 2414 w 3891"/>
              <a:gd name="T61" fmla="*/ 1897 h 2073"/>
              <a:gd name="T62" fmla="*/ 2908 w 3891"/>
              <a:gd name="T63" fmla="*/ 1865 h 2073"/>
              <a:gd name="T64" fmla="*/ 3043 w 3891"/>
              <a:gd name="T65" fmla="*/ 1748 h 2073"/>
              <a:gd name="T66" fmla="*/ 3455 w 3891"/>
              <a:gd name="T67" fmla="*/ 1691 h 2073"/>
              <a:gd name="T68" fmla="*/ 3827 w 3891"/>
              <a:gd name="T69" fmla="*/ 1783 h 2073"/>
              <a:gd name="T70" fmla="*/ 3827 w 3891"/>
              <a:gd name="T71" fmla="*/ 1980 h 2073"/>
              <a:gd name="T72" fmla="*/ 3455 w 3891"/>
              <a:gd name="T73" fmla="*/ 2071 h 2073"/>
              <a:gd name="T74" fmla="*/ 3039 w 3891"/>
              <a:gd name="T75" fmla="*/ 2013 h 2073"/>
              <a:gd name="T76" fmla="*/ 2914 w 3891"/>
              <a:gd name="T77" fmla="*/ 1921 h 2073"/>
              <a:gd name="T78" fmla="*/ 2310 w 3891"/>
              <a:gd name="T79" fmla="*/ 1984 h 2073"/>
              <a:gd name="T80" fmla="*/ 1360 w 3891"/>
              <a:gd name="T81" fmla="*/ 1996 h 2073"/>
              <a:gd name="T82" fmla="*/ 553 w 3891"/>
              <a:gd name="T83" fmla="*/ 1837 h 2073"/>
              <a:gd name="T84" fmla="*/ 165 w 3891"/>
              <a:gd name="T85" fmla="*/ 1662 h 2073"/>
              <a:gd name="T86" fmla="*/ 2 w 3891"/>
              <a:gd name="T87" fmla="*/ 1511 h 2073"/>
              <a:gd name="T88" fmla="*/ 168 w 3891"/>
              <a:gd name="T89" fmla="*/ 1378 h 2073"/>
              <a:gd name="T90" fmla="*/ 606 w 3891"/>
              <a:gd name="T91" fmla="*/ 1188 h 2073"/>
              <a:gd name="T92" fmla="*/ 1084 w 3891"/>
              <a:gd name="T93" fmla="*/ 1032 h 2073"/>
              <a:gd name="T94" fmla="*/ 1615 w 3891"/>
              <a:gd name="T95" fmla="*/ 905 h 2073"/>
              <a:gd name="T96" fmla="*/ 2120 w 3891"/>
              <a:gd name="T97" fmla="*/ 782 h 2073"/>
              <a:gd name="T98" fmla="*/ 2523 w 3891"/>
              <a:gd name="T99" fmla="*/ 617 h 2073"/>
              <a:gd name="T100" fmla="*/ 2546 w 3891"/>
              <a:gd name="T101" fmla="*/ 419 h 2073"/>
              <a:gd name="T102" fmla="*/ 2155 w 3891"/>
              <a:gd name="T103" fmla="*/ 278 h 2073"/>
              <a:gd name="T104" fmla="*/ 1845 w 3891"/>
              <a:gd name="T105" fmla="*/ 243 h 2073"/>
              <a:gd name="T106" fmla="*/ 1550 w 3891"/>
              <a:gd name="T107" fmla="*/ 370 h 2073"/>
              <a:gd name="T108" fmla="*/ 1104 w 3891"/>
              <a:gd name="T109" fmla="*/ 354 h 2073"/>
              <a:gd name="T110" fmla="*/ 879 w 3891"/>
              <a:gd name="T111" fmla="*/ 191 h 2073"/>
              <a:gd name="T112" fmla="*/ 1104 w 3891"/>
              <a:gd name="T113" fmla="*/ 29 h 2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891" h="2073">
                <a:moveTo>
                  <a:pt x="3401" y="1753"/>
                </a:moveTo>
                <a:lnTo>
                  <a:pt x="3326" y="1754"/>
                </a:lnTo>
                <a:lnTo>
                  <a:pt x="3256" y="1761"/>
                </a:lnTo>
                <a:lnTo>
                  <a:pt x="3193" y="1770"/>
                </a:lnTo>
                <a:lnTo>
                  <a:pt x="3138" y="1783"/>
                </a:lnTo>
                <a:lnTo>
                  <a:pt x="3088" y="1798"/>
                </a:lnTo>
                <a:lnTo>
                  <a:pt x="3048" y="1814"/>
                </a:lnTo>
                <a:lnTo>
                  <a:pt x="3016" y="1830"/>
                </a:lnTo>
                <a:lnTo>
                  <a:pt x="2992" y="1847"/>
                </a:lnTo>
                <a:lnTo>
                  <a:pt x="2978" y="1865"/>
                </a:lnTo>
                <a:lnTo>
                  <a:pt x="2972" y="1881"/>
                </a:lnTo>
                <a:lnTo>
                  <a:pt x="2978" y="1898"/>
                </a:lnTo>
                <a:lnTo>
                  <a:pt x="2992" y="1914"/>
                </a:lnTo>
                <a:lnTo>
                  <a:pt x="3016" y="1932"/>
                </a:lnTo>
                <a:lnTo>
                  <a:pt x="3048" y="1949"/>
                </a:lnTo>
                <a:lnTo>
                  <a:pt x="3088" y="1965"/>
                </a:lnTo>
                <a:lnTo>
                  <a:pt x="3138" y="1980"/>
                </a:lnTo>
                <a:lnTo>
                  <a:pt x="3193" y="1993"/>
                </a:lnTo>
                <a:lnTo>
                  <a:pt x="3256" y="2001"/>
                </a:lnTo>
                <a:lnTo>
                  <a:pt x="3326" y="2007"/>
                </a:lnTo>
                <a:lnTo>
                  <a:pt x="3401" y="2010"/>
                </a:lnTo>
                <a:lnTo>
                  <a:pt x="3477" y="2007"/>
                </a:lnTo>
                <a:lnTo>
                  <a:pt x="3545" y="2001"/>
                </a:lnTo>
                <a:lnTo>
                  <a:pt x="3608" y="1993"/>
                </a:lnTo>
                <a:lnTo>
                  <a:pt x="3664" y="1980"/>
                </a:lnTo>
                <a:lnTo>
                  <a:pt x="3712" y="1965"/>
                </a:lnTo>
                <a:lnTo>
                  <a:pt x="3753" y="1949"/>
                </a:lnTo>
                <a:lnTo>
                  <a:pt x="3785" y="1932"/>
                </a:lnTo>
                <a:lnTo>
                  <a:pt x="3810" y="1914"/>
                </a:lnTo>
                <a:lnTo>
                  <a:pt x="3824" y="1898"/>
                </a:lnTo>
                <a:lnTo>
                  <a:pt x="3829" y="1881"/>
                </a:lnTo>
                <a:lnTo>
                  <a:pt x="3824" y="1865"/>
                </a:lnTo>
                <a:lnTo>
                  <a:pt x="3810" y="1847"/>
                </a:lnTo>
                <a:lnTo>
                  <a:pt x="3785" y="1830"/>
                </a:lnTo>
                <a:lnTo>
                  <a:pt x="3753" y="1814"/>
                </a:lnTo>
                <a:lnTo>
                  <a:pt x="3712" y="1798"/>
                </a:lnTo>
                <a:lnTo>
                  <a:pt x="3664" y="1783"/>
                </a:lnTo>
                <a:lnTo>
                  <a:pt x="3608" y="1770"/>
                </a:lnTo>
                <a:lnTo>
                  <a:pt x="3545" y="1761"/>
                </a:lnTo>
                <a:lnTo>
                  <a:pt x="3477" y="1754"/>
                </a:lnTo>
                <a:lnTo>
                  <a:pt x="3401" y="1753"/>
                </a:lnTo>
                <a:close/>
                <a:moveTo>
                  <a:pt x="491" y="1394"/>
                </a:moveTo>
                <a:lnTo>
                  <a:pt x="416" y="1397"/>
                </a:lnTo>
                <a:lnTo>
                  <a:pt x="347" y="1403"/>
                </a:lnTo>
                <a:lnTo>
                  <a:pt x="284" y="1413"/>
                </a:lnTo>
                <a:lnTo>
                  <a:pt x="227" y="1425"/>
                </a:lnTo>
                <a:lnTo>
                  <a:pt x="179" y="1440"/>
                </a:lnTo>
                <a:lnTo>
                  <a:pt x="139" y="1456"/>
                </a:lnTo>
                <a:lnTo>
                  <a:pt x="107" y="1473"/>
                </a:lnTo>
                <a:lnTo>
                  <a:pt x="83" y="1491"/>
                </a:lnTo>
                <a:lnTo>
                  <a:pt x="69" y="1508"/>
                </a:lnTo>
                <a:lnTo>
                  <a:pt x="63" y="1524"/>
                </a:lnTo>
                <a:lnTo>
                  <a:pt x="69" y="1540"/>
                </a:lnTo>
                <a:lnTo>
                  <a:pt x="83" y="1558"/>
                </a:lnTo>
                <a:lnTo>
                  <a:pt x="107" y="1575"/>
                </a:lnTo>
                <a:lnTo>
                  <a:pt x="139" y="1592"/>
                </a:lnTo>
                <a:lnTo>
                  <a:pt x="179" y="1608"/>
                </a:lnTo>
                <a:lnTo>
                  <a:pt x="227" y="1623"/>
                </a:lnTo>
                <a:lnTo>
                  <a:pt x="284" y="1635"/>
                </a:lnTo>
                <a:lnTo>
                  <a:pt x="347" y="1645"/>
                </a:lnTo>
                <a:lnTo>
                  <a:pt x="416" y="1651"/>
                </a:lnTo>
                <a:lnTo>
                  <a:pt x="491" y="1652"/>
                </a:lnTo>
                <a:lnTo>
                  <a:pt x="566" y="1651"/>
                </a:lnTo>
                <a:lnTo>
                  <a:pt x="636" y="1645"/>
                </a:lnTo>
                <a:lnTo>
                  <a:pt x="699" y="1635"/>
                </a:lnTo>
                <a:lnTo>
                  <a:pt x="755" y="1623"/>
                </a:lnTo>
                <a:lnTo>
                  <a:pt x="803" y="1608"/>
                </a:lnTo>
                <a:lnTo>
                  <a:pt x="844" y="1592"/>
                </a:lnTo>
                <a:lnTo>
                  <a:pt x="876" y="1575"/>
                </a:lnTo>
                <a:lnTo>
                  <a:pt x="899" y="1558"/>
                </a:lnTo>
                <a:lnTo>
                  <a:pt x="914" y="1540"/>
                </a:lnTo>
                <a:lnTo>
                  <a:pt x="920" y="1524"/>
                </a:lnTo>
                <a:lnTo>
                  <a:pt x="914" y="1508"/>
                </a:lnTo>
                <a:lnTo>
                  <a:pt x="899" y="1491"/>
                </a:lnTo>
                <a:lnTo>
                  <a:pt x="876" y="1473"/>
                </a:lnTo>
                <a:lnTo>
                  <a:pt x="844" y="1456"/>
                </a:lnTo>
                <a:lnTo>
                  <a:pt x="803" y="1440"/>
                </a:lnTo>
                <a:lnTo>
                  <a:pt x="755" y="1425"/>
                </a:lnTo>
                <a:lnTo>
                  <a:pt x="699" y="1413"/>
                </a:lnTo>
                <a:lnTo>
                  <a:pt x="636" y="1403"/>
                </a:lnTo>
                <a:lnTo>
                  <a:pt x="566" y="1397"/>
                </a:lnTo>
                <a:lnTo>
                  <a:pt x="491" y="1394"/>
                </a:lnTo>
                <a:close/>
                <a:moveTo>
                  <a:pt x="1369" y="63"/>
                </a:moveTo>
                <a:lnTo>
                  <a:pt x="1295" y="64"/>
                </a:lnTo>
                <a:lnTo>
                  <a:pt x="1225" y="71"/>
                </a:lnTo>
                <a:lnTo>
                  <a:pt x="1163" y="80"/>
                </a:lnTo>
                <a:lnTo>
                  <a:pt x="1106" y="93"/>
                </a:lnTo>
                <a:lnTo>
                  <a:pt x="1058" y="108"/>
                </a:lnTo>
                <a:lnTo>
                  <a:pt x="1017" y="124"/>
                </a:lnTo>
                <a:lnTo>
                  <a:pt x="985" y="140"/>
                </a:lnTo>
                <a:lnTo>
                  <a:pt x="962" y="157"/>
                </a:lnTo>
                <a:lnTo>
                  <a:pt x="947" y="175"/>
                </a:lnTo>
                <a:lnTo>
                  <a:pt x="942" y="191"/>
                </a:lnTo>
                <a:lnTo>
                  <a:pt x="947" y="208"/>
                </a:lnTo>
                <a:lnTo>
                  <a:pt x="962" y="226"/>
                </a:lnTo>
                <a:lnTo>
                  <a:pt x="985" y="243"/>
                </a:lnTo>
                <a:lnTo>
                  <a:pt x="1017" y="259"/>
                </a:lnTo>
                <a:lnTo>
                  <a:pt x="1058" y="275"/>
                </a:lnTo>
                <a:lnTo>
                  <a:pt x="1106" y="290"/>
                </a:lnTo>
                <a:lnTo>
                  <a:pt x="1163" y="303"/>
                </a:lnTo>
                <a:lnTo>
                  <a:pt x="1225" y="311"/>
                </a:lnTo>
                <a:lnTo>
                  <a:pt x="1295" y="319"/>
                </a:lnTo>
                <a:lnTo>
                  <a:pt x="1369" y="320"/>
                </a:lnTo>
                <a:lnTo>
                  <a:pt x="1445" y="319"/>
                </a:lnTo>
                <a:lnTo>
                  <a:pt x="1515" y="311"/>
                </a:lnTo>
                <a:lnTo>
                  <a:pt x="1577" y="303"/>
                </a:lnTo>
                <a:lnTo>
                  <a:pt x="1634" y="290"/>
                </a:lnTo>
                <a:lnTo>
                  <a:pt x="1682" y="275"/>
                </a:lnTo>
                <a:lnTo>
                  <a:pt x="1723" y="259"/>
                </a:lnTo>
                <a:lnTo>
                  <a:pt x="1755" y="243"/>
                </a:lnTo>
                <a:lnTo>
                  <a:pt x="1778" y="226"/>
                </a:lnTo>
                <a:lnTo>
                  <a:pt x="1792" y="208"/>
                </a:lnTo>
                <a:lnTo>
                  <a:pt x="1798" y="191"/>
                </a:lnTo>
                <a:lnTo>
                  <a:pt x="1792" y="175"/>
                </a:lnTo>
                <a:lnTo>
                  <a:pt x="1778" y="157"/>
                </a:lnTo>
                <a:lnTo>
                  <a:pt x="1755" y="140"/>
                </a:lnTo>
                <a:lnTo>
                  <a:pt x="1723" y="124"/>
                </a:lnTo>
                <a:lnTo>
                  <a:pt x="1682" y="108"/>
                </a:lnTo>
                <a:lnTo>
                  <a:pt x="1634" y="93"/>
                </a:lnTo>
                <a:lnTo>
                  <a:pt x="1577" y="80"/>
                </a:lnTo>
                <a:lnTo>
                  <a:pt x="1515" y="71"/>
                </a:lnTo>
                <a:lnTo>
                  <a:pt x="1445" y="64"/>
                </a:lnTo>
                <a:lnTo>
                  <a:pt x="1369" y="63"/>
                </a:lnTo>
                <a:close/>
                <a:moveTo>
                  <a:pt x="1369" y="0"/>
                </a:moveTo>
                <a:lnTo>
                  <a:pt x="1424" y="1"/>
                </a:lnTo>
                <a:lnTo>
                  <a:pt x="1480" y="4"/>
                </a:lnTo>
                <a:lnTo>
                  <a:pt x="1534" y="10"/>
                </a:lnTo>
                <a:lnTo>
                  <a:pt x="1586" y="19"/>
                </a:lnTo>
                <a:lnTo>
                  <a:pt x="1635" y="29"/>
                </a:lnTo>
                <a:lnTo>
                  <a:pt x="1682" y="42"/>
                </a:lnTo>
                <a:lnTo>
                  <a:pt x="1726" y="57"/>
                </a:lnTo>
                <a:lnTo>
                  <a:pt x="1763" y="74"/>
                </a:lnTo>
                <a:lnTo>
                  <a:pt x="1797" y="93"/>
                </a:lnTo>
                <a:lnTo>
                  <a:pt x="1823" y="115"/>
                </a:lnTo>
                <a:lnTo>
                  <a:pt x="1843" y="138"/>
                </a:lnTo>
                <a:lnTo>
                  <a:pt x="1855" y="164"/>
                </a:lnTo>
                <a:lnTo>
                  <a:pt x="1859" y="191"/>
                </a:lnTo>
                <a:lnTo>
                  <a:pt x="1861" y="194"/>
                </a:lnTo>
                <a:lnTo>
                  <a:pt x="1862" y="196"/>
                </a:lnTo>
                <a:lnTo>
                  <a:pt x="1864" y="198"/>
                </a:lnTo>
                <a:lnTo>
                  <a:pt x="1867" y="199"/>
                </a:lnTo>
                <a:lnTo>
                  <a:pt x="1891" y="199"/>
                </a:lnTo>
                <a:lnTo>
                  <a:pt x="1925" y="202"/>
                </a:lnTo>
                <a:lnTo>
                  <a:pt x="1963" y="205"/>
                </a:lnTo>
                <a:lnTo>
                  <a:pt x="2008" y="210"/>
                </a:lnTo>
                <a:lnTo>
                  <a:pt x="2056" y="215"/>
                </a:lnTo>
                <a:lnTo>
                  <a:pt x="2105" y="221"/>
                </a:lnTo>
                <a:lnTo>
                  <a:pt x="2155" y="227"/>
                </a:lnTo>
                <a:lnTo>
                  <a:pt x="2204" y="233"/>
                </a:lnTo>
                <a:lnTo>
                  <a:pt x="2251" y="240"/>
                </a:lnTo>
                <a:lnTo>
                  <a:pt x="2294" y="246"/>
                </a:lnTo>
                <a:lnTo>
                  <a:pt x="2332" y="250"/>
                </a:lnTo>
                <a:lnTo>
                  <a:pt x="2361" y="256"/>
                </a:lnTo>
                <a:lnTo>
                  <a:pt x="2384" y="259"/>
                </a:lnTo>
                <a:lnTo>
                  <a:pt x="2456" y="274"/>
                </a:lnTo>
                <a:lnTo>
                  <a:pt x="2518" y="290"/>
                </a:lnTo>
                <a:lnTo>
                  <a:pt x="2574" y="309"/>
                </a:lnTo>
                <a:lnTo>
                  <a:pt x="2620" y="327"/>
                </a:lnTo>
                <a:lnTo>
                  <a:pt x="2659" y="349"/>
                </a:lnTo>
                <a:lnTo>
                  <a:pt x="2691" y="371"/>
                </a:lnTo>
                <a:lnTo>
                  <a:pt x="2718" y="396"/>
                </a:lnTo>
                <a:lnTo>
                  <a:pt x="2735" y="421"/>
                </a:lnTo>
                <a:lnTo>
                  <a:pt x="2747" y="445"/>
                </a:lnTo>
                <a:lnTo>
                  <a:pt x="2751" y="473"/>
                </a:lnTo>
                <a:lnTo>
                  <a:pt x="2751" y="499"/>
                </a:lnTo>
                <a:lnTo>
                  <a:pt x="2745" y="527"/>
                </a:lnTo>
                <a:lnTo>
                  <a:pt x="2734" y="555"/>
                </a:lnTo>
                <a:lnTo>
                  <a:pt x="2716" y="582"/>
                </a:lnTo>
                <a:lnTo>
                  <a:pt x="2694" y="610"/>
                </a:lnTo>
                <a:lnTo>
                  <a:pt x="2670" y="638"/>
                </a:lnTo>
                <a:lnTo>
                  <a:pt x="2639" y="664"/>
                </a:lnTo>
                <a:lnTo>
                  <a:pt x="2604" y="691"/>
                </a:lnTo>
                <a:lnTo>
                  <a:pt x="2566" y="716"/>
                </a:lnTo>
                <a:lnTo>
                  <a:pt x="2526" y="742"/>
                </a:lnTo>
                <a:lnTo>
                  <a:pt x="2482" y="766"/>
                </a:lnTo>
                <a:lnTo>
                  <a:pt x="2434" y="789"/>
                </a:lnTo>
                <a:lnTo>
                  <a:pt x="2386" y="811"/>
                </a:lnTo>
                <a:lnTo>
                  <a:pt x="2334" y="831"/>
                </a:lnTo>
                <a:lnTo>
                  <a:pt x="2280" y="850"/>
                </a:lnTo>
                <a:lnTo>
                  <a:pt x="2254" y="859"/>
                </a:lnTo>
                <a:lnTo>
                  <a:pt x="2219" y="869"/>
                </a:lnTo>
                <a:lnTo>
                  <a:pt x="2176" y="882"/>
                </a:lnTo>
                <a:lnTo>
                  <a:pt x="2128" y="897"/>
                </a:lnTo>
                <a:lnTo>
                  <a:pt x="2073" y="913"/>
                </a:lnTo>
                <a:lnTo>
                  <a:pt x="2015" y="929"/>
                </a:lnTo>
                <a:lnTo>
                  <a:pt x="1952" y="948"/>
                </a:lnTo>
                <a:lnTo>
                  <a:pt x="1886" y="966"/>
                </a:lnTo>
                <a:lnTo>
                  <a:pt x="1817" y="985"/>
                </a:lnTo>
                <a:lnTo>
                  <a:pt x="1746" y="1006"/>
                </a:lnTo>
                <a:lnTo>
                  <a:pt x="1675" y="1026"/>
                </a:lnTo>
                <a:lnTo>
                  <a:pt x="1602" y="1047"/>
                </a:lnTo>
                <a:lnTo>
                  <a:pt x="1531" y="1065"/>
                </a:lnTo>
                <a:lnTo>
                  <a:pt x="1461" y="1086"/>
                </a:lnTo>
                <a:lnTo>
                  <a:pt x="1394" y="1105"/>
                </a:lnTo>
                <a:lnTo>
                  <a:pt x="1328" y="1122"/>
                </a:lnTo>
                <a:lnTo>
                  <a:pt x="1267" y="1140"/>
                </a:lnTo>
                <a:lnTo>
                  <a:pt x="1211" y="1156"/>
                </a:lnTo>
                <a:lnTo>
                  <a:pt x="1160" y="1170"/>
                </a:lnTo>
                <a:lnTo>
                  <a:pt x="1113" y="1183"/>
                </a:lnTo>
                <a:lnTo>
                  <a:pt x="1075" y="1195"/>
                </a:lnTo>
                <a:lnTo>
                  <a:pt x="1043" y="1204"/>
                </a:lnTo>
                <a:lnTo>
                  <a:pt x="1020" y="1211"/>
                </a:lnTo>
                <a:lnTo>
                  <a:pt x="971" y="1227"/>
                </a:lnTo>
                <a:lnTo>
                  <a:pt x="917" y="1245"/>
                </a:lnTo>
                <a:lnTo>
                  <a:pt x="860" y="1266"/>
                </a:lnTo>
                <a:lnTo>
                  <a:pt x="802" y="1291"/>
                </a:lnTo>
                <a:lnTo>
                  <a:pt x="744" y="1319"/>
                </a:lnTo>
                <a:lnTo>
                  <a:pt x="688" y="1348"/>
                </a:lnTo>
                <a:lnTo>
                  <a:pt x="736" y="1357"/>
                </a:lnTo>
                <a:lnTo>
                  <a:pt x="782" y="1368"/>
                </a:lnTo>
                <a:lnTo>
                  <a:pt x="824" y="1381"/>
                </a:lnTo>
                <a:lnTo>
                  <a:pt x="862" y="1396"/>
                </a:lnTo>
                <a:lnTo>
                  <a:pt x="896" y="1412"/>
                </a:lnTo>
                <a:lnTo>
                  <a:pt x="926" y="1431"/>
                </a:lnTo>
                <a:lnTo>
                  <a:pt x="949" y="1451"/>
                </a:lnTo>
                <a:lnTo>
                  <a:pt x="966" y="1473"/>
                </a:lnTo>
                <a:lnTo>
                  <a:pt x="978" y="1498"/>
                </a:lnTo>
                <a:lnTo>
                  <a:pt x="981" y="1524"/>
                </a:lnTo>
                <a:lnTo>
                  <a:pt x="978" y="1550"/>
                </a:lnTo>
                <a:lnTo>
                  <a:pt x="966" y="1575"/>
                </a:lnTo>
                <a:lnTo>
                  <a:pt x="947" y="1597"/>
                </a:lnTo>
                <a:lnTo>
                  <a:pt x="923" y="1619"/>
                </a:lnTo>
                <a:lnTo>
                  <a:pt x="894" y="1636"/>
                </a:lnTo>
                <a:lnTo>
                  <a:pt x="857" y="1654"/>
                </a:lnTo>
                <a:lnTo>
                  <a:pt x="818" y="1668"/>
                </a:lnTo>
                <a:lnTo>
                  <a:pt x="776" y="1681"/>
                </a:lnTo>
                <a:lnTo>
                  <a:pt x="729" y="1691"/>
                </a:lnTo>
                <a:lnTo>
                  <a:pt x="680" y="1700"/>
                </a:lnTo>
                <a:lnTo>
                  <a:pt x="629" y="1707"/>
                </a:lnTo>
                <a:lnTo>
                  <a:pt x="677" y="1731"/>
                </a:lnTo>
                <a:lnTo>
                  <a:pt x="732" y="1751"/>
                </a:lnTo>
                <a:lnTo>
                  <a:pt x="799" y="1776"/>
                </a:lnTo>
                <a:lnTo>
                  <a:pt x="870" y="1796"/>
                </a:lnTo>
                <a:lnTo>
                  <a:pt x="946" y="1814"/>
                </a:lnTo>
                <a:lnTo>
                  <a:pt x="1024" y="1830"/>
                </a:lnTo>
                <a:lnTo>
                  <a:pt x="1103" y="1843"/>
                </a:lnTo>
                <a:lnTo>
                  <a:pt x="1183" y="1854"/>
                </a:lnTo>
                <a:lnTo>
                  <a:pt x="1263" y="1865"/>
                </a:lnTo>
                <a:lnTo>
                  <a:pt x="1340" y="1873"/>
                </a:lnTo>
                <a:lnTo>
                  <a:pt x="1471" y="1885"/>
                </a:lnTo>
                <a:lnTo>
                  <a:pt x="1599" y="1892"/>
                </a:lnTo>
                <a:lnTo>
                  <a:pt x="1726" y="1898"/>
                </a:lnTo>
                <a:lnTo>
                  <a:pt x="1845" y="1902"/>
                </a:lnTo>
                <a:lnTo>
                  <a:pt x="1960" y="1905"/>
                </a:lnTo>
                <a:lnTo>
                  <a:pt x="2046" y="1907"/>
                </a:lnTo>
                <a:lnTo>
                  <a:pt x="2169" y="1905"/>
                </a:lnTo>
                <a:lnTo>
                  <a:pt x="2293" y="1901"/>
                </a:lnTo>
                <a:lnTo>
                  <a:pt x="2414" y="1897"/>
                </a:lnTo>
                <a:lnTo>
                  <a:pt x="2531" y="1891"/>
                </a:lnTo>
                <a:lnTo>
                  <a:pt x="2643" y="1884"/>
                </a:lnTo>
                <a:lnTo>
                  <a:pt x="2750" y="1878"/>
                </a:lnTo>
                <a:lnTo>
                  <a:pt x="2827" y="1873"/>
                </a:lnTo>
                <a:lnTo>
                  <a:pt x="2899" y="1869"/>
                </a:lnTo>
                <a:lnTo>
                  <a:pt x="2902" y="1868"/>
                </a:lnTo>
                <a:lnTo>
                  <a:pt x="2905" y="1866"/>
                </a:lnTo>
                <a:lnTo>
                  <a:pt x="2908" y="1865"/>
                </a:lnTo>
                <a:lnTo>
                  <a:pt x="2911" y="1862"/>
                </a:lnTo>
                <a:lnTo>
                  <a:pt x="2914" y="1859"/>
                </a:lnTo>
                <a:lnTo>
                  <a:pt x="2914" y="1857"/>
                </a:lnTo>
                <a:lnTo>
                  <a:pt x="2926" y="1831"/>
                </a:lnTo>
                <a:lnTo>
                  <a:pt x="2946" y="1806"/>
                </a:lnTo>
                <a:lnTo>
                  <a:pt x="2972" y="1785"/>
                </a:lnTo>
                <a:lnTo>
                  <a:pt x="3004" y="1766"/>
                </a:lnTo>
                <a:lnTo>
                  <a:pt x="3043" y="1748"/>
                </a:lnTo>
                <a:lnTo>
                  <a:pt x="3086" y="1732"/>
                </a:lnTo>
                <a:lnTo>
                  <a:pt x="3132" y="1721"/>
                </a:lnTo>
                <a:lnTo>
                  <a:pt x="3183" y="1709"/>
                </a:lnTo>
                <a:lnTo>
                  <a:pt x="3235" y="1700"/>
                </a:lnTo>
                <a:lnTo>
                  <a:pt x="3289" y="1694"/>
                </a:lnTo>
                <a:lnTo>
                  <a:pt x="3344" y="1691"/>
                </a:lnTo>
                <a:lnTo>
                  <a:pt x="3401" y="1690"/>
                </a:lnTo>
                <a:lnTo>
                  <a:pt x="3455" y="1691"/>
                </a:lnTo>
                <a:lnTo>
                  <a:pt x="3510" y="1694"/>
                </a:lnTo>
                <a:lnTo>
                  <a:pt x="3564" y="1700"/>
                </a:lnTo>
                <a:lnTo>
                  <a:pt x="3616" y="1709"/>
                </a:lnTo>
                <a:lnTo>
                  <a:pt x="3666" y="1719"/>
                </a:lnTo>
                <a:lnTo>
                  <a:pt x="3712" y="1732"/>
                </a:lnTo>
                <a:lnTo>
                  <a:pt x="3756" y="1747"/>
                </a:lnTo>
                <a:lnTo>
                  <a:pt x="3794" y="1764"/>
                </a:lnTo>
                <a:lnTo>
                  <a:pt x="3827" y="1783"/>
                </a:lnTo>
                <a:lnTo>
                  <a:pt x="3854" y="1805"/>
                </a:lnTo>
                <a:lnTo>
                  <a:pt x="3874" y="1828"/>
                </a:lnTo>
                <a:lnTo>
                  <a:pt x="3887" y="1853"/>
                </a:lnTo>
                <a:lnTo>
                  <a:pt x="3891" y="1881"/>
                </a:lnTo>
                <a:lnTo>
                  <a:pt x="3887" y="1908"/>
                </a:lnTo>
                <a:lnTo>
                  <a:pt x="3874" y="1935"/>
                </a:lnTo>
                <a:lnTo>
                  <a:pt x="3854" y="1958"/>
                </a:lnTo>
                <a:lnTo>
                  <a:pt x="3827" y="1980"/>
                </a:lnTo>
                <a:lnTo>
                  <a:pt x="3794" y="1999"/>
                </a:lnTo>
                <a:lnTo>
                  <a:pt x="3756" y="2016"/>
                </a:lnTo>
                <a:lnTo>
                  <a:pt x="3712" y="2031"/>
                </a:lnTo>
                <a:lnTo>
                  <a:pt x="3666" y="2044"/>
                </a:lnTo>
                <a:lnTo>
                  <a:pt x="3616" y="2054"/>
                </a:lnTo>
                <a:lnTo>
                  <a:pt x="3564" y="2061"/>
                </a:lnTo>
                <a:lnTo>
                  <a:pt x="3510" y="2067"/>
                </a:lnTo>
                <a:lnTo>
                  <a:pt x="3455" y="2071"/>
                </a:lnTo>
                <a:lnTo>
                  <a:pt x="3401" y="2073"/>
                </a:lnTo>
                <a:lnTo>
                  <a:pt x="3344" y="2071"/>
                </a:lnTo>
                <a:lnTo>
                  <a:pt x="3289" y="2067"/>
                </a:lnTo>
                <a:lnTo>
                  <a:pt x="3234" y="2061"/>
                </a:lnTo>
                <a:lnTo>
                  <a:pt x="3180" y="2052"/>
                </a:lnTo>
                <a:lnTo>
                  <a:pt x="3131" y="2042"/>
                </a:lnTo>
                <a:lnTo>
                  <a:pt x="3083" y="2029"/>
                </a:lnTo>
                <a:lnTo>
                  <a:pt x="3039" y="2013"/>
                </a:lnTo>
                <a:lnTo>
                  <a:pt x="3001" y="1996"/>
                </a:lnTo>
                <a:lnTo>
                  <a:pt x="2969" y="1975"/>
                </a:lnTo>
                <a:lnTo>
                  <a:pt x="2943" y="1952"/>
                </a:lnTo>
                <a:lnTo>
                  <a:pt x="2924" y="1929"/>
                </a:lnTo>
                <a:lnTo>
                  <a:pt x="2923" y="1926"/>
                </a:lnTo>
                <a:lnTo>
                  <a:pt x="2920" y="1924"/>
                </a:lnTo>
                <a:lnTo>
                  <a:pt x="2917" y="1923"/>
                </a:lnTo>
                <a:lnTo>
                  <a:pt x="2914" y="1921"/>
                </a:lnTo>
                <a:lnTo>
                  <a:pt x="2911" y="1920"/>
                </a:lnTo>
                <a:lnTo>
                  <a:pt x="2908" y="1920"/>
                </a:lnTo>
                <a:lnTo>
                  <a:pt x="2834" y="1930"/>
                </a:lnTo>
                <a:lnTo>
                  <a:pt x="2748" y="1940"/>
                </a:lnTo>
                <a:lnTo>
                  <a:pt x="2654" y="1952"/>
                </a:lnTo>
                <a:lnTo>
                  <a:pt x="2547" y="1964"/>
                </a:lnTo>
                <a:lnTo>
                  <a:pt x="2434" y="1974"/>
                </a:lnTo>
                <a:lnTo>
                  <a:pt x="2310" y="1984"/>
                </a:lnTo>
                <a:lnTo>
                  <a:pt x="2178" y="1993"/>
                </a:lnTo>
                <a:lnTo>
                  <a:pt x="2038" y="2001"/>
                </a:lnTo>
                <a:lnTo>
                  <a:pt x="1931" y="2004"/>
                </a:lnTo>
                <a:lnTo>
                  <a:pt x="1830" y="2007"/>
                </a:lnTo>
                <a:lnTo>
                  <a:pt x="1736" y="2007"/>
                </a:lnTo>
                <a:lnTo>
                  <a:pt x="1606" y="2006"/>
                </a:lnTo>
                <a:lnTo>
                  <a:pt x="1483" y="2001"/>
                </a:lnTo>
                <a:lnTo>
                  <a:pt x="1360" y="1996"/>
                </a:lnTo>
                <a:lnTo>
                  <a:pt x="1232" y="1985"/>
                </a:lnTo>
                <a:lnTo>
                  <a:pt x="1112" y="1971"/>
                </a:lnTo>
                <a:lnTo>
                  <a:pt x="997" y="1955"/>
                </a:lnTo>
                <a:lnTo>
                  <a:pt x="889" y="1935"/>
                </a:lnTo>
                <a:lnTo>
                  <a:pt x="787" y="1911"/>
                </a:lnTo>
                <a:lnTo>
                  <a:pt x="690" y="1885"/>
                </a:lnTo>
                <a:lnTo>
                  <a:pt x="595" y="1853"/>
                </a:lnTo>
                <a:lnTo>
                  <a:pt x="553" y="1837"/>
                </a:lnTo>
                <a:lnTo>
                  <a:pt x="508" y="1817"/>
                </a:lnTo>
                <a:lnTo>
                  <a:pt x="463" y="1793"/>
                </a:lnTo>
                <a:lnTo>
                  <a:pt x="418" y="1767"/>
                </a:lnTo>
                <a:lnTo>
                  <a:pt x="376" y="1737"/>
                </a:lnTo>
                <a:lnTo>
                  <a:pt x="336" y="1703"/>
                </a:lnTo>
                <a:lnTo>
                  <a:pt x="275" y="1693"/>
                </a:lnTo>
                <a:lnTo>
                  <a:pt x="219" y="1678"/>
                </a:lnTo>
                <a:lnTo>
                  <a:pt x="165" y="1662"/>
                </a:lnTo>
                <a:lnTo>
                  <a:pt x="117" y="1642"/>
                </a:lnTo>
                <a:lnTo>
                  <a:pt x="76" y="1620"/>
                </a:lnTo>
                <a:lnTo>
                  <a:pt x="41" y="1597"/>
                </a:lnTo>
                <a:lnTo>
                  <a:pt x="15" y="1571"/>
                </a:lnTo>
                <a:lnTo>
                  <a:pt x="5" y="1555"/>
                </a:lnTo>
                <a:lnTo>
                  <a:pt x="0" y="1539"/>
                </a:lnTo>
                <a:lnTo>
                  <a:pt x="0" y="1524"/>
                </a:lnTo>
                <a:lnTo>
                  <a:pt x="2" y="1511"/>
                </a:lnTo>
                <a:lnTo>
                  <a:pt x="3" y="1504"/>
                </a:lnTo>
                <a:lnTo>
                  <a:pt x="5" y="1499"/>
                </a:lnTo>
                <a:lnTo>
                  <a:pt x="16" y="1475"/>
                </a:lnTo>
                <a:lnTo>
                  <a:pt x="35" y="1451"/>
                </a:lnTo>
                <a:lnTo>
                  <a:pt x="60" y="1429"/>
                </a:lnTo>
                <a:lnTo>
                  <a:pt x="91" y="1410"/>
                </a:lnTo>
                <a:lnTo>
                  <a:pt x="127" y="1393"/>
                </a:lnTo>
                <a:lnTo>
                  <a:pt x="168" y="1378"/>
                </a:lnTo>
                <a:lnTo>
                  <a:pt x="213" y="1365"/>
                </a:lnTo>
                <a:lnTo>
                  <a:pt x="261" y="1354"/>
                </a:lnTo>
                <a:lnTo>
                  <a:pt x="310" y="1345"/>
                </a:lnTo>
                <a:lnTo>
                  <a:pt x="363" y="1339"/>
                </a:lnTo>
                <a:lnTo>
                  <a:pt x="415" y="1295"/>
                </a:lnTo>
                <a:lnTo>
                  <a:pt x="475" y="1256"/>
                </a:lnTo>
                <a:lnTo>
                  <a:pt x="539" y="1220"/>
                </a:lnTo>
                <a:lnTo>
                  <a:pt x="606" y="1188"/>
                </a:lnTo>
                <a:lnTo>
                  <a:pt x="675" y="1157"/>
                </a:lnTo>
                <a:lnTo>
                  <a:pt x="748" y="1131"/>
                </a:lnTo>
                <a:lnTo>
                  <a:pt x="821" y="1106"/>
                </a:lnTo>
                <a:lnTo>
                  <a:pt x="894" y="1084"/>
                </a:lnTo>
                <a:lnTo>
                  <a:pt x="965" y="1064"/>
                </a:lnTo>
                <a:lnTo>
                  <a:pt x="997" y="1054"/>
                </a:lnTo>
                <a:lnTo>
                  <a:pt x="1038" y="1044"/>
                </a:lnTo>
                <a:lnTo>
                  <a:pt x="1084" y="1032"/>
                </a:lnTo>
                <a:lnTo>
                  <a:pt x="1138" y="1019"/>
                </a:lnTo>
                <a:lnTo>
                  <a:pt x="1198" y="1004"/>
                </a:lnTo>
                <a:lnTo>
                  <a:pt x="1260" y="990"/>
                </a:lnTo>
                <a:lnTo>
                  <a:pt x="1327" y="974"/>
                </a:lnTo>
                <a:lnTo>
                  <a:pt x="1397" y="958"/>
                </a:lnTo>
                <a:lnTo>
                  <a:pt x="1468" y="940"/>
                </a:lnTo>
                <a:lnTo>
                  <a:pt x="1541" y="923"/>
                </a:lnTo>
                <a:lnTo>
                  <a:pt x="1615" y="905"/>
                </a:lnTo>
                <a:lnTo>
                  <a:pt x="1688" y="888"/>
                </a:lnTo>
                <a:lnTo>
                  <a:pt x="1759" y="872"/>
                </a:lnTo>
                <a:lnTo>
                  <a:pt x="1829" y="854"/>
                </a:lnTo>
                <a:lnTo>
                  <a:pt x="1896" y="838"/>
                </a:lnTo>
                <a:lnTo>
                  <a:pt x="1960" y="822"/>
                </a:lnTo>
                <a:lnTo>
                  <a:pt x="2019" y="808"/>
                </a:lnTo>
                <a:lnTo>
                  <a:pt x="2073" y="795"/>
                </a:lnTo>
                <a:lnTo>
                  <a:pt x="2120" y="782"/>
                </a:lnTo>
                <a:lnTo>
                  <a:pt x="2160" y="771"/>
                </a:lnTo>
                <a:lnTo>
                  <a:pt x="2194" y="761"/>
                </a:lnTo>
                <a:lnTo>
                  <a:pt x="2219" y="753"/>
                </a:lnTo>
                <a:lnTo>
                  <a:pt x="2300" y="725"/>
                </a:lnTo>
                <a:lnTo>
                  <a:pt x="2371" y="699"/>
                </a:lnTo>
                <a:lnTo>
                  <a:pt x="2431" y="671"/>
                </a:lnTo>
                <a:lnTo>
                  <a:pt x="2482" y="643"/>
                </a:lnTo>
                <a:lnTo>
                  <a:pt x="2523" y="617"/>
                </a:lnTo>
                <a:lnTo>
                  <a:pt x="2555" y="591"/>
                </a:lnTo>
                <a:lnTo>
                  <a:pt x="2576" y="565"/>
                </a:lnTo>
                <a:lnTo>
                  <a:pt x="2591" y="539"/>
                </a:lnTo>
                <a:lnTo>
                  <a:pt x="2597" y="514"/>
                </a:lnTo>
                <a:lnTo>
                  <a:pt x="2595" y="489"/>
                </a:lnTo>
                <a:lnTo>
                  <a:pt x="2587" y="466"/>
                </a:lnTo>
                <a:lnTo>
                  <a:pt x="2569" y="442"/>
                </a:lnTo>
                <a:lnTo>
                  <a:pt x="2546" y="419"/>
                </a:lnTo>
                <a:lnTo>
                  <a:pt x="2517" y="399"/>
                </a:lnTo>
                <a:lnTo>
                  <a:pt x="2480" y="378"/>
                </a:lnTo>
                <a:lnTo>
                  <a:pt x="2438" y="358"/>
                </a:lnTo>
                <a:lnTo>
                  <a:pt x="2392" y="339"/>
                </a:lnTo>
                <a:lnTo>
                  <a:pt x="2339" y="322"/>
                </a:lnTo>
                <a:lnTo>
                  <a:pt x="2281" y="306"/>
                </a:lnTo>
                <a:lnTo>
                  <a:pt x="2220" y="291"/>
                </a:lnTo>
                <a:lnTo>
                  <a:pt x="2155" y="278"/>
                </a:lnTo>
                <a:lnTo>
                  <a:pt x="2085" y="265"/>
                </a:lnTo>
                <a:lnTo>
                  <a:pt x="2012" y="255"/>
                </a:lnTo>
                <a:lnTo>
                  <a:pt x="1936" y="244"/>
                </a:lnTo>
                <a:lnTo>
                  <a:pt x="1858" y="237"/>
                </a:lnTo>
                <a:lnTo>
                  <a:pt x="1855" y="237"/>
                </a:lnTo>
                <a:lnTo>
                  <a:pt x="1852" y="239"/>
                </a:lnTo>
                <a:lnTo>
                  <a:pt x="1848" y="240"/>
                </a:lnTo>
                <a:lnTo>
                  <a:pt x="1845" y="243"/>
                </a:lnTo>
                <a:lnTo>
                  <a:pt x="1843" y="244"/>
                </a:lnTo>
                <a:lnTo>
                  <a:pt x="1820" y="271"/>
                </a:lnTo>
                <a:lnTo>
                  <a:pt x="1790" y="294"/>
                </a:lnTo>
                <a:lnTo>
                  <a:pt x="1752" y="314"/>
                </a:lnTo>
                <a:lnTo>
                  <a:pt x="1708" y="332"/>
                </a:lnTo>
                <a:lnTo>
                  <a:pt x="1659" y="348"/>
                </a:lnTo>
                <a:lnTo>
                  <a:pt x="1606" y="359"/>
                </a:lnTo>
                <a:lnTo>
                  <a:pt x="1550" y="370"/>
                </a:lnTo>
                <a:lnTo>
                  <a:pt x="1490" y="377"/>
                </a:lnTo>
                <a:lnTo>
                  <a:pt x="1430" y="381"/>
                </a:lnTo>
                <a:lnTo>
                  <a:pt x="1369" y="383"/>
                </a:lnTo>
                <a:lnTo>
                  <a:pt x="1315" y="381"/>
                </a:lnTo>
                <a:lnTo>
                  <a:pt x="1260" y="378"/>
                </a:lnTo>
                <a:lnTo>
                  <a:pt x="1206" y="373"/>
                </a:lnTo>
                <a:lnTo>
                  <a:pt x="1154" y="364"/>
                </a:lnTo>
                <a:lnTo>
                  <a:pt x="1104" y="354"/>
                </a:lnTo>
                <a:lnTo>
                  <a:pt x="1058" y="341"/>
                </a:lnTo>
                <a:lnTo>
                  <a:pt x="1014" y="326"/>
                </a:lnTo>
                <a:lnTo>
                  <a:pt x="976" y="309"/>
                </a:lnTo>
                <a:lnTo>
                  <a:pt x="943" y="290"/>
                </a:lnTo>
                <a:lnTo>
                  <a:pt x="917" y="268"/>
                </a:lnTo>
                <a:lnTo>
                  <a:pt x="896" y="244"/>
                </a:lnTo>
                <a:lnTo>
                  <a:pt x="883" y="218"/>
                </a:lnTo>
                <a:lnTo>
                  <a:pt x="879" y="191"/>
                </a:lnTo>
                <a:lnTo>
                  <a:pt x="883" y="164"/>
                </a:lnTo>
                <a:lnTo>
                  <a:pt x="896" y="138"/>
                </a:lnTo>
                <a:lnTo>
                  <a:pt x="917" y="115"/>
                </a:lnTo>
                <a:lnTo>
                  <a:pt x="943" y="93"/>
                </a:lnTo>
                <a:lnTo>
                  <a:pt x="976" y="74"/>
                </a:lnTo>
                <a:lnTo>
                  <a:pt x="1014" y="57"/>
                </a:lnTo>
                <a:lnTo>
                  <a:pt x="1058" y="42"/>
                </a:lnTo>
                <a:lnTo>
                  <a:pt x="1104" y="29"/>
                </a:lnTo>
                <a:lnTo>
                  <a:pt x="1154" y="19"/>
                </a:lnTo>
                <a:lnTo>
                  <a:pt x="1206" y="10"/>
                </a:lnTo>
                <a:lnTo>
                  <a:pt x="1260" y="4"/>
                </a:lnTo>
                <a:lnTo>
                  <a:pt x="1315" y="1"/>
                </a:lnTo>
                <a:lnTo>
                  <a:pt x="1369" y="0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1891034" y="2865816"/>
            <a:ext cx="775096" cy="1099799"/>
            <a:chOff x="1891034" y="2889803"/>
            <a:chExt cx="775096" cy="1099799"/>
          </a:xfrm>
        </p:grpSpPr>
        <p:grpSp>
          <p:nvGrpSpPr>
            <p:cNvPr id="38" name="Group 37"/>
            <p:cNvGrpSpPr>
              <a:grpSpLocks noChangeAspect="1"/>
            </p:cNvGrpSpPr>
            <p:nvPr/>
          </p:nvGrpSpPr>
          <p:grpSpPr>
            <a:xfrm>
              <a:off x="1891034" y="2889803"/>
              <a:ext cx="775096" cy="1099799"/>
              <a:chOff x="3574665" y="4349496"/>
              <a:chExt cx="295991" cy="419987"/>
            </a:xfrm>
            <a:solidFill>
              <a:schemeClr val="accent1"/>
            </a:solidFill>
          </p:grpSpPr>
          <p:sp>
            <p:nvSpPr>
              <p:cNvPr id="40" name="Freeform 609"/>
              <p:cNvSpPr>
                <a:spLocks/>
              </p:cNvSpPr>
              <p:nvPr/>
            </p:nvSpPr>
            <p:spPr bwMode="auto">
              <a:xfrm>
                <a:off x="3574665" y="4349496"/>
                <a:ext cx="295991" cy="419987"/>
              </a:xfrm>
              <a:custGeom>
                <a:avLst/>
                <a:gdLst>
                  <a:gd name="T0" fmla="*/ 63 w 125"/>
                  <a:gd name="T1" fmla="*/ 178 h 178"/>
                  <a:gd name="T2" fmla="*/ 0 w 125"/>
                  <a:gd name="T3" fmla="*/ 62 h 178"/>
                  <a:gd name="T4" fmla="*/ 63 w 125"/>
                  <a:gd name="T5" fmla="*/ 0 h 178"/>
                  <a:gd name="T6" fmla="*/ 125 w 125"/>
                  <a:gd name="T7" fmla="*/ 62 h 178"/>
                  <a:gd name="T8" fmla="*/ 63 w 12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78">
                    <a:moveTo>
                      <a:pt x="63" y="178"/>
                    </a:moveTo>
                    <a:cubicBezTo>
                      <a:pt x="63" y="178"/>
                      <a:pt x="0" y="96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97" y="0"/>
                      <a:pt x="125" y="28"/>
                      <a:pt x="125" y="62"/>
                    </a:cubicBezTo>
                    <a:cubicBezTo>
                      <a:pt x="125" y="96"/>
                      <a:pt x="63" y="178"/>
                      <a:pt x="63" y="17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610"/>
              <p:cNvSpPr>
                <a:spLocks noChangeArrowheads="1"/>
              </p:cNvSpPr>
              <p:nvPr/>
            </p:nvSpPr>
            <p:spPr bwMode="auto">
              <a:xfrm>
                <a:off x="3648662" y="4410494"/>
                <a:ext cx="150995" cy="1489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9052" y="2991906"/>
              <a:ext cx="519060" cy="519060"/>
            </a:xfrm>
            <a:prstGeom prst="rect">
              <a:avLst/>
            </a:prstGeom>
          </p:spPr>
        </p:pic>
      </p:grpSp>
      <p:sp>
        <p:nvSpPr>
          <p:cNvPr id="30" name="Rectangle 29"/>
          <p:cNvSpPr/>
          <p:nvPr/>
        </p:nvSpPr>
        <p:spPr>
          <a:xfrm>
            <a:off x="408898" y="2811633"/>
            <a:ext cx="13523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CiscoSansTT ExtraLight"/>
              </a:rPr>
              <a:t>Evaluating</a:t>
            </a:r>
            <a:r>
              <a:rPr lang="en-US" dirty="0">
                <a:solidFill>
                  <a:srgbClr val="282828"/>
                </a:solidFill>
                <a:latin typeface="CiscoSansTT ExtraLight"/>
              </a:rPr>
              <a:t> </a:t>
            </a:r>
            <a:r>
              <a:rPr lang="en-US" dirty="0">
                <a:solidFill>
                  <a:schemeClr val="bg1"/>
                </a:solidFill>
                <a:latin typeface="CiscoSansTT ExtraLight"/>
              </a:rPr>
              <a:t>if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 are </a:t>
            </a:r>
            <a:r>
              <a:rPr lang="en-US" dirty="0">
                <a:solidFill>
                  <a:schemeClr val="bg1"/>
                </a:solidFill>
                <a:latin typeface="CiscoSansTT ExtraLight"/>
              </a:rPr>
              <a:t>ready?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258231" y="2343991"/>
            <a:ext cx="1658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  <a:latin typeface="CiscoSansTT ExtraLight"/>
              </a:rPr>
              <a:t>Building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&amp; </a:t>
            </a:r>
            <a:r>
              <a:rPr lang="en-US" dirty="0" smtClean="0">
                <a:solidFill>
                  <a:schemeClr val="accent2"/>
                </a:solidFill>
                <a:latin typeface="CiscoSansTT ExtraLight"/>
              </a:rPr>
              <a:t>Assessing</a:t>
            </a:r>
          </a:p>
          <a:p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r secure foundation?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926824" y="361909"/>
            <a:ext cx="2257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Maintaining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r</a:t>
            </a:r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digital solution?  </a:t>
            </a:r>
            <a:endParaRPr lang="en-US" dirty="0">
              <a:solidFill>
                <a:schemeClr val="bg1"/>
              </a:solidFill>
              <a:latin typeface="CiscoSansTT Extra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834274" y="441780"/>
            <a:ext cx="775096" cy="1099799"/>
            <a:chOff x="4834274" y="441780"/>
            <a:chExt cx="775096" cy="1099799"/>
          </a:xfrm>
        </p:grpSpPr>
        <p:grpSp>
          <p:nvGrpSpPr>
            <p:cNvPr id="48" name="Group 47"/>
            <p:cNvGrpSpPr>
              <a:grpSpLocks noChangeAspect="1"/>
            </p:cNvGrpSpPr>
            <p:nvPr/>
          </p:nvGrpSpPr>
          <p:grpSpPr>
            <a:xfrm>
              <a:off x="4834274" y="441780"/>
              <a:ext cx="775096" cy="1099799"/>
              <a:chOff x="3574665" y="4349496"/>
              <a:chExt cx="295991" cy="419987"/>
            </a:xfrm>
            <a:solidFill>
              <a:schemeClr val="accent1"/>
            </a:solidFill>
          </p:grpSpPr>
          <p:sp>
            <p:nvSpPr>
              <p:cNvPr id="49" name="Freeform 609"/>
              <p:cNvSpPr>
                <a:spLocks/>
              </p:cNvSpPr>
              <p:nvPr/>
            </p:nvSpPr>
            <p:spPr bwMode="auto">
              <a:xfrm>
                <a:off x="3574665" y="4349496"/>
                <a:ext cx="295991" cy="419987"/>
              </a:xfrm>
              <a:custGeom>
                <a:avLst/>
                <a:gdLst>
                  <a:gd name="T0" fmla="*/ 63 w 125"/>
                  <a:gd name="T1" fmla="*/ 178 h 178"/>
                  <a:gd name="T2" fmla="*/ 0 w 125"/>
                  <a:gd name="T3" fmla="*/ 62 h 178"/>
                  <a:gd name="T4" fmla="*/ 63 w 125"/>
                  <a:gd name="T5" fmla="*/ 0 h 178"/>
                  <a:gd name="T6" fmla="*/ 125 w 125"/>
                  <a:gd name="T7" fmla="*/ 62 h 178"/>
                  <a:gd name="T8" fmla="*/ 63 w 12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78">
                    <a:moveTo>
                      <a:pt x="63" y="178"/>
                    </a:moveTo>
                    <a:cubicBezTo>
                      <a:pt x="63" y="178"/>
                      <a:pt x="0" y="96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97" y="0"/>
                      <a:pt x="125" y="28"/>
                      <a:pt x="125" y="62"/>
                    </a:cubicBezTo>
                    <a:cubicBezTo>
                      <a:pt x="125" y="96"/>
                      <a:pt x="63" y="178"/>
                      <a:pt x="63" y="178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Oval 610"/>
              <p:cNvSpPr>
                <a:spLocks noChangeArrowheads="1"/>
              </p:cNvSpPr>
              <p:nvPr/>
            </p:nvSpPr>
            <p:spPr bwMode="auto">
              <a:xfrm>
                <a:off x="3648662" y="4410494"/>
                <a:ext cx="150995" cy="1489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7141" y="539432"/>
              <a:ext cx="541250" cy="574327"/>
            </a:xfrm>
            <a:prstGeom prst="rect">
              <a:avLst/>
            </a:prstGeom>
            <a:solidFill>
              <a:schemeClr val="accent5"/>
            </a:solidFill>
          </p:spPr>
        </p:pic>
      </p:grpSp>
      <p:grpSp>
        <p:nvGrpSpPr>
          <p:cNvPr id="7" name="Group 6"/>
          <p:cNvGrpSpPr/>
          <p:nvPr/>
        </p:nvGrpSpPr>
        <p:grpSpPr>
          <a:xfrm>
            <a:off x="6100590" y="2336609"/>
            <a:ext cx="775096" cy="1099799"/>
            <a:chOff x="6100590" y="2343991"/>
            <a:chExt cx="775096" cy="1099799"/>
          </a:xfrm>
        </p:grpSpPr>
        <p:grpSp>
          <p:nvGrpSpPr>
            <p:cNvPr id="5" name="Group 4"/>
            <p:cNvGrpSpPr/>
            <p:nvPr/>
          </p:nvGrpSpPr>
          <p:grpSpPr>
            <a:xfrm>
              <a:off x="6100590" y="2343991"/>
              <a:ext cx="775096" cy="1099799"/>
              <a:chOff x="6123791" y="2343991"/>
              <a:chExt cx="775096" cy="1099799"/>
            </a:xfrm>
          </p:grpSpPr>
          <p:grpSp>
            <p:nvGrpSpPr>
              <p:cNvPr id="42" name="Group 41"/>
              <p:cNvGrpSpPr>
                <a:grpSpLocks noChangeAspect="1"/>
              </p:cNvGrpSpPr>
              <p:nvPr/>
            </p:nvGrpSpPr>
            <p:grpSpPr>
              <a:xfrm>
                <a:off x="6123791" y="2343991"/>
                <a:ext cx="775096" cy="1099799"/>
                <a:chOff x="3574665" y="4349496"/>
                <a:chExt cx="295991" cy="419987"/>
              </a:xfrm>
              <a:solidFill>
                <a:schemeClr val="accent1"/>
              </a:solidFill>
            </p:grpSpPr>
            <p:sp>
              <p:nvSpPr>
                <p:cNvPr id="43" name="Freeform 609"/>
                <p:cNvSpPr>
                  <a:spLocks/>
                </p:cNvSpPr>
                <p:nvPr/>
              </p:nvSpPr>
              <p:spPr bwMode="auto">
                <a:xfrm>
                  <a:off x="3574665" y="4349496"/>
                  <a:ext cx="295991" cy="419987"/>
                </a:xfrm>
                <a:custGeom>
                  <a:avLst/>
                  <a:gdLst>
                    <a:gd name="T0" fmla="*/ 63 w 125"/>
                    <a:gd name="T1" fmla="*/ 178 h 178"/>
                    <a:gd name="T2" fmla="*/ 0 w 125"/>
                    <a:gd name="T3" fmla="*/ 62 h 178"/>
                    <a:gd name="T4" fmla="*/ 63 w 125"/>
                    <a:gd name="T5" fmla="*/ 0 h 178"/>
                    <a:gd name="T6" fmla="*/ 125 w 125"/>
                    <a:gd name="T7" fmla="*/ 62 h 178"/>
                    <a:gd name="T8" fmla="*/ 63 w 125"/>
                    <a:gd name="T9" fmla="*/ 178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5" h="178">
                      <a:moveTo>
                        <a:pt x="63" y="178"/>
                      </a:moveTo>
                      <a:cubicBezTo>
                        <a:pt x="63" y="178"/>
                        <a:pt x="0" y="96"/>
                        <a:pt x="0" y="62"/>
                      </a:cubicBezTo>
                      <a:cubicBezTo>
                        <a:pt x="0" y="28"/>
                        <a:pt x="28" y="0"/>
                        <a:pt x="63" y="0"/>
                      </a:cubicBezTo>
                      <a:cubicBezTo>
                        <a:pt x="97" y="0"/>
                        <a:pt x="125" y="28"/>
                        <a:pt x="125" y="62"/>
                      </a:cubicBezTo>
                      <a:cubicBezTo>
                        <a:pt x="125" y="96"/>
                        <a:pt x="63" y="178"/>
                        <a:pt x="63" y="178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Oval 610"/>
                <p:cNvSpPr>
                  <a:spLocks noChangeArrowheads="1"/>
                </p:cNvSpPr>
                <p:nvPr/>
              </p:nvSpPr>
              <p:spPr bwMode="auto">
                <a:xfrm>
                  <a:off x="3648662" y="4410494"/>
                  <a:ext cx="150995" cy="148995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pic>
            <p:nvPicPr>
              <p:cNvPr id="36" name="Picture 35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2417" y="2472846"/>
                <a:ext cx="519060" cy="519060"/>
              </a:xfrm>
              <a:prstGeom prst="rect">
                <a:avLst/>
              </a:prstGeom>
            </p:spPr>
          </p:pic>
        </p:grpSp>
        <p:grpSp>
          <p:nvGrpSpPr>
            <p:cNvPr id="23" name="Group 10"/>
            <p:cNvGrpSpPr>
              <a:grpSpLocks noChangeAspect="1"/>
            </p:cNvGrpSpPr>
            <p:nvPr/>
          </p:nvGrpSpPr>
          <p:grpSpPr bwMode="auto">
            <a:xfrm>
              <a:off x="6229491" y="2472495"/>
              <a:ext cx="519040" cy="519765"/>
              <a:chOff x="2546" y="1891"/>
              <a:chExt cx="717" cy="718"/>
            </a:xfrm>
            <a:solidFill>
              <a:schemeClr val="bg2"/>
            </a:solidFill>
          </p:grpSpPr>
          <p:sp>
            <p:nvSpPr>
              <p:cNvPr id="66" name="Freeform 13"/>
              <p:cNvSpPr>
                <a:spLocks/>
              </p:cNvSpPr>
              <p:nvPr/>
            </p:nvSpPr>
            <p:spPr bwMode="auto">
              <a:xfrm>
                <a:off x="2546" y="1891"/>
                <a:ext cx="717" cy="71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1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3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4"/>
              <p:cNvSpPr>
                <a:spLocks/>
              </p:cNvSpPr>
              <p:nvPr/>
            </p:nvSpPr>
            <p:spPr bwMode="auto">
              <a:xfrm>
                <a:off x="2806" y="2122"/>
                <a:ext cx="70" cy="71"/>
              </a:xfrm>
              <a:custGeom>
                <a:avLst/>
                <a:gdLst>
                  <a:gd name="T0" fmla="*/ 105 w 140"/>
                  <a:gd name="T1" fmla="*/ 9 h 140"/>
                  <a:gd name="T2" fmla="*/ 105 w 140"/>
                  <a:gd name="T3" fmla="*/ 9 h 140"/>
                  <a:gd name="T4" fmla="*/ 118 w 140"/>
                  <a:gd name="T5" fmla="*/ 17 h 140"/>
                  <a:gd name="T6" fmla="*/ 127 w 140"/>
                  <a:gd name="T7" fmla="*/ 27 h 140"/>
                  <a:gd name="T8" fmla="*/ 134 w 140"/>
                  <a:gd name="T9" fmla="*/ 40 h 140"/>
                  <a:gd name="T10" fmla="*/ 139 w 140"/>
                  <a:gd name="T11" fmla="*/ 53 h 140"/>
                  <a:gd name="T12" fmla="*/ 140 w 140"/>
                  <a:gd name="T13" fmla="*/ 65 h 140"/>
                  <a:gd name="T14" fmla="*/ 140 w 140"/>
                  <a:gd name="T15" fmla="*/ 80 h 140"/>
                  <a:gd name="T16" fmla="*/ 137 w 140"/>
                  <a:gd name="T17" fmla="*/ 92 h 140"/>
                  <a:gd name="T18" fmla="*/ 132 w 140"/>
                  <a:gd name="T19" fmla="*/ 105 h 140"/>
                  <a:gd name="T20" fmla="*/ 132 w 140"/>
                  <a:gd name="T21" fmla="*/ 105 h 140"/>
                  <a:gd name="T22" fmla="*/ 123 w 140"/>
                  <a:gd name="T23" fmla="*/ 116 h 140"/>
                  <a:gd name="T24" fmla="*/ 113 w 140"/>
                  <a:gd name="T25" fmla="*/ 126 h 140"/>
                  <a:gd name="T26" fmla="*/ 102 w 140"/>
                  <a:gd name="T27" fmla="*/ 134 h 140"/>
                  <a:gd name="T28" fmla="*/ 89 w 140"/>
                  <a:gd name="T29" fmla="*/ 139 h 140"/>
                  <a:gd name="T30" fmla="*/ 75 w 140"/>
                  <a:gd name="T31" fmla="*/ 140 h 140"/>
                  <a:gd name="T32" fmla="*/ 62 w 140"/>
                  <a:gd name="T33" fmla="*/ 140 h 140"/>
                  <a:gd name="T34" fmla="*/ 48 w 140"/>
                  <a:gd name="T35" fmla="*/ 137 h 140"/>
                  <a:gd name="T36" fmla="*/ 35 w 140"/>
                  <a:gd name="T37" fmla="*/ 131 h 140"/>
                  <a:gd name="T38" fmla="*/ 35 w 140"/>
                  <a:gd name="T39" fmla="*/ 131 h 140"/>
                  <a:gd name="T40" fmla="*/ 24 w 140"/>
                  <a:gd name="T41" fmla="*/ 123 h 140"/>
                  <a:gd name="T42" fmla="*/ 14 w 140"/>
                  <a:gd name="T43" fmla="*/ 113 h 140"/>
                  <a:gd name="T44" fmla="*/ 8 w 140"/>
                  <a:gd name="T45" fmla="*/ 100 h 140"/>
                  <a:gd name="T46" fmla="*/ 3 w 140"/>
                  <a:gd name="T47" fmla="*/ 88 h 140"/>
                  <a:gd name="T48" fmla="*/ 0 w 140"/>
                  <a:gd name="T49" fmla="*/ 75 h 140"/>
                  <a:gd name="T50" fmla="*/ 0 w 140"/>
                  <a:gd name="T51" fmla="*/ 62 h 140"/>
                  <a:gd name="T52" fmla="*/ 3 w 140"/>
                  <a:gd name="T53" fmla="*/ 48 h 140"/>
                  <a:gd name="T54" fmla="*/ 9 w 140"/>
                  <a:gd name="T55" fmla="*/ 35 h 140"/>
                  <a:gd name="T56" fmla="*/ 9 w 140"/>
                  <a:gd name="T57" fmla="*/ 35 h 140"/>
                  <a:gd name="T58" fmla="*/ 17 w 140"/>
                  <a:gd name="T59" fmla="*/ 24 h 140"/>
                  <a:gd name="T60" fmla="*/ 29 w 140"/>
                  <a:gd name="T61" fmla="*/ 14 h 140"/>
                  <a:gd name="T62" fmla="*/ 40 w 140"/>
                  <a:gd name="T63" fmla="*/ 6 h 140"/>
                  <a:gd name="T64" fmla="*/ 53 w 140"/>
                  <a:gd name="T65" fmla="*/ 1 h 140"/>
                  <a:gd name="T66" fmla="*/ 65 w 140"/>
                  <a:gd name="T67" fmla="*/ 0 h 140"/>
                  <a:gd name="T68" fmla="*/ 80 w 140"/>
                  <a:gd name="T69" fmla="*/ 0 h 140"/>
                  <a:gd name="T70" fmla="*/ 92 w 140"/>
                  <a:gd name="T71" fmla="*/ 3 h 140"/>
                  <a:gd name="T72" fmla="*/ 105 w 140"/>
                  <a:gd name="T73" fmla="*/ 9 h 140"/>
                  <a:gd name="T74" fmla="*/ 105 w 140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0">
                    <a:moveTo>
                      <a:pt x="105" y="9"/>
                    </a:moveTo>
                    <a:lnTo>
                      <a:pt x="105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40"/>
                    </a:lnTo>
                    <a:lnTo>
                      <a:pt x="139" y="53"/>
                    </a:lnTo>
                    <a:lnTo>
                      <a:pt x="140" y="65"/>
                    </a:lnTo>
                    <a:lnTo>
                      <a:pt x="140" y="80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3" y="116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8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3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5"/>
              <p:cNvSpPr>
                <a:spLocks/>
              </p:cNvSpPr>
              <p:nvPr/>
            </p:nvSpPr>
            <p:spPr bwMode="auto">
              <a:xfrm>
                <a:off x="2834" y="2391"/>
                <a:ext cx="70" cy="70"/>
              </a:xfrm>
              <a:custGeom>
                <a:avLst/>
                <a:gdLst>
                  <a:gd name="T0" fmla="*/ 105 w 140"/>
                  <a:gd name="T1" fmla="*/ 10 h 141"/>
                  <a:gd name="T2" fmla="*/ 105 w 140"/>
                  <a:gd name="T3" fmla="*/ 10 h 141"/>
                  <a:gd name="T4" fmla="*/ 118 w 140"/>
                  <a:gd name="T5" fmla="*/ 18 h 141"/>
                  <a:gd name="T6" fmla="*/ 126 w 140"/>
                  <a:gd name="T7" fmla="*/ 27 h 141"/>
                  <a:gd name="T8" fmla="*/ 134 w 140"/>
                  <a:gd name="T9" fmla="*/ 40 h 141"/>
                  <a:gd name="T10" fmla="*/ 138 w 140"/>
                  <a:gd name="T11" fmla="*/ 51 h 141"/>
                  <a:gd name="T12" fmla="*/ 140 w 140"/>
                  <a:gd name="T13" fmla="*/ 66 h 141"/>
                  <a:gd name="T14" fmla="*/ 140 w 140"/>
                  <a:gd name="T15" fmla="*/ 78 h 141"/>
                  <a:gd name="T16" fmla="*/ 137 w 140"/>
                  <a:gd name="T17" fmla="*/ 93 h 141"/>
                  <a:gd name="T18" fmla="*/ 130 w 140"/>
                  <a:gd name="T19" fmla="*/ 105 h 141"/>
                  <a:gd name="T20" fmla="*/ 130 w 140"/>
                  <a:gd name="T21" fmla="*/ 105 h 141"/>
                  <a:gd name="T22" fmla="*/ 122 w 140"/>
                  <a:gd name="T23" fmla="*/ 117 h 141"/>
                  <a:gd name="T24" fmla="*/ 113 w 140"/>
                  <a:gd name="T25" fmla="*/ 126 h 141"/>
                  <a:gd name="T26" fmla="*/ 102 w 140"/>
                  <a:gd name="T27" fmla="*/ 134 h 141"/>
                  <a:gd name="T28" fmla="*/ 89 w 140"/>
                  <a:gd name="T29" fmla="*/ 139 h 141"/>
                  <a:gd name="T30" fmla="*/ 75 w 140"/>
                  <a:gd name="T31" fmla="*/ 141 h 141"/>
                  <a:gd name="T32" fmla="*/ 62 w 140"/>
                  <a:gd name="T33" fmla="*/ 141 h 141"/>
                  <a:gd name="T34" fmla="*/ 48 w 140"/>
                  <a:gd name="T35" fmla="*/ 137 h 141"/>
                  <a:gd name="T36" fmla="*/ 35 w 140"/>
                  <a:gd name="T37" fmla="*/ 131 h 141"/>
                  <a:gd name="T38" fmla="*/ 35 w 140"/>
                  <a:gd name="T39" fmla="*/ 131 h 141"/>
                  <a:gd name="T40" fmla="*/ 24 w 140"/>
                  <a:gd name="T41" fmla="*/ 123 h 141"/>
                  <a:gd name="T42" fmla="*/ 14 w 140"/>
                  <a:gd name="T43" fmla="*/ 113 h 141"/>
                  <a:gd name="T44" fmla="*/ 6 w 140"/>
                  <a:gd name="T45" fmla="*/ 101 h 141"/>
                  <a:gd name="T46" fmla="*/ 1 w 140"/>
                  <a:gd name="T47" fmla="*/ 88 h 141"/>
                  <a:gd name="T48" fmla="*/ 0 w 140"/>
                  <a:gd name="T49" fmla="*/ 75 h 141"/>
                  <a:gd name="T50" fmla="*/ 0 w 140"/>
                  <a:gd name="T51" fmla="*/ 61 h 141"/>
                  <a:gd name="T52" fmla="*/ 3 w 140"/>
                  <a:gd name="T53" fmla="*/ 48 h 141"/>
                  <a:gd name="T54" fmla="*/ 9 w 140"/>
                  <a:gd name="T55" fmla="*/ 35 h 141"/>
                  <a:gd name="T56" fmla="*/ 9 w 140"/>
                  <a:gd name="T57" fmla="*/ 35 h 141"/>
                  <a:gd name="T58" fmla="*/ 17 w 140"/>
                  <a:gd name="T59" fmla="*/ 24 h 141"/>
                  <a:gd name="T60" fmla="*/ 27 w 140"/>
                  <a:gd name="T61" fmla="*/ 15 h 141"/>
                  <a:gd name="T62" fmla="*/ 40 w 140"/>
                  <a:gd name="T63" fmla="*/ 7 h 141"/>
                  <a:gd name="T64" fmla="*/ 52 w 140"/>
                  <a:gd name="T65" fmla="*/ 2 h 141"/>
                  <a:gd name="T66" fmla="*/ 65 w 140"/>
                  <a:gd name="T67" fmla="*/ 0 h 141"/>
                  <a:gd name="T68" fmla="*/ 79 w 140"/>
                  <a:gd name="T69" fmla="*/ 0 h 141"/>
                  <a:gd name="T70" fmla="*/ 92 w 140"/>
                  <a:gd name="T71" fmla="*/ 3 h 141"/>
                  <a:gd name="T72" fmla="*/ 105 w 140"/>
                  <a:gd name="T73" fmla="*/ 10 h 141"/>
                  <a:gd name="T74" fmla="*/ 105 w 140"/>
                  <a:gd name="T75" fmla="*/ 1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1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6" y="27"/>
                    </a:lnTo>
                    <a:lnTo>
                      <a:pt x="134" y="40"/>
                    </a:lnTo>
                    <a:lnTo>
                      <a:pt x="138" y="51"/>
                    </a:lnTo>
                    <a:lnTo>
                      <a:pt x="140" y="66"/>
                    </a:lnTo>
                    <a:lnTo>
                      <a:pt x="140" y="78"/>
                    </a:lnTo>
                    <a:lnTo>
                      <a:pt x="137" y="93"/>
                    </a:lnTo>
                    <a:lnTo>
                      <a:pt x="130" y="105"/>
                    </a:lnTo>
                    <a:lnTo>
                      <a:pt x="130" y="105"/>
                    </a:lnTo>
                    <a:lnTo>
                      <a:pt x="122" y="117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1"/>
                    </a:lnTo>
                    <a:lnTo>
                      <a:pt x="62" y="141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1"/>
                    </a:lnTo>
                    <a:lnTo>
                      <a:pt x="1" y="88"/>
                    </a:lnTo>
                    <a:lnTo>
                      <a:pt x="0" y="75"/>
                    </a:lnTo>
                    <a:lnTo>
                      <a:pt x="0" y="61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7" y="15"/>
                    </a:lnTo>
                    <a:lnTo>
                      <a:pt x="40" y="7"/>
                    </a:lnTo>
                    <a:lnTo>
                      <a:pt x="52" y="2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6"/>
              <p:cNvSpPr>
                <a:spLocks/>
              </p:cNvSpPr>
              <p:nvPr/>
            </p:nvSpPr>
            <p:spPr bwMode="auto">
              <a:xfrm>
                <a:off x="2674" y="2282"/>
                <a:ext cx="70" cy="71"/>
              </a:xfrm>
              <a:custGeom>
                <a:avLst/>
                <a:gdLst>
                  <a:gd name="T0" fmla="*/ 105 w 141"/>
                  <a:gd name="T1" fmla="*/ 9 h 142"/>
                  <a:gd name="T2" fmla="*/ 105 w 141"/>
                  <a:gd name="T3" fmla="*/ 9 h 142"/>
                  <a:gd name="T4" fmla="*/ 117 w 141"/>
                  <a:gd name="T5" fmla="*/ 17 h 142"/>
                  <a:gd name="T6" fmla="*/ 126 w 141"/>
                  <a:gd name="T7" fmla="*/ 28 h 142"/>
                  <a:gd name="T8" fmla="*/ 134 w 141"/>
                  <a:gd name="T9" fmla="*/ 40 h 142"/>
                  <a:gd name="T10" fmla="*/ 139 w 141"/>
                  <a:gd name="T11" fmla="*/ 52 h 142"/>
                  <a:gd name="T12" fmla="*/ 141 w 141"/>
                  <a:gd name="T13" fmla="*/ 65 h 142"/>
                  <a:gd name="T14" fmla="*/ 141 w 141"/>
                  <a:gd name="T15" fmla="*/ 80 h 142"/>
                  <a:gd name="T16" fmla="*/ 137 w 141"/>
                  <a:gd name="T17" fmla="*/ 92 h 142"/>
                  <a:gd name="T18" fmla="*/ 131 w 141"/>
                  <a:gd name="T19" fmla="*/ 107 h 142"/>
                  <a:gd name="T20" fmla="*/ 131 w 141"/>
                  <a:gd name="T21" fmla="*/ 107 h 142"/>
                  <a:gd name="T22" fmla="*/ 123 w 141"/>
                  <a:gd name="T23" fmla="*/ 118 h 142"/>
                  <a:gd name="T24" fmla="*/ 113 w 141"/>
                  <a:gd name="T25" fmla="*/ 127 h 142"/>
                  <a:gd name="T26" fmla="*/ 101 w 141"/>
                  <a:gd name="T27" fmla="*/ 134 h 142"/>
                  <a:gd name="T28" fmla="*/ 88 w 141"/>
                  <a:gd name="T29" fmla="*/ 139 h 142"/>
                  <a:gd name="T30" fmla="*/ 75 w 141"/>
                  <a:gd name="T31" fmla="*/ 142 h 142"/>
                  <a:gd name="T32" fmla="*/ 62 w 141"/>
                  <a:gd name="T33" fmla="*/ 140 h 142"/>
                  <a:gd name="T34" fmla="*/ 48 w 141"/>
                  <a:gd name="T35" fmla="*/ 139 h 142"/>
                  <a:gd name="T36" fmla="*/ 35 w 141"/>
                  <a:gd name="T37" fmla="*/ 132 h 142"/>
                  <a:gd name="T38" fmla="*/ 35 w 141"/>
                  <a:gd name="T39" fmla="*/ 132 h 142"/>
                  <a:gd name="T40" fmla="*/ 24 w 141"/>
                  <a:gd name="T41" fmla="*/ 124 h 142"/>
                  <a:gd name="T42" fmla="*/ 15 w 141"/>
                  <a:gd name="T43" fmla="*/ 113 h 142"/>
                  <a:gd name="T44" fmla="*/ 7 w 141"/>
                  <a:gd name="T45" fmla="*/ 102 h 142"/>
                  <a:gd name="T46" fmla="*/ 2 w 141"/>
                  <a:gd name="T47" fmla="*/ 89 h 142"/>
                  <a:gd name="T48" fmla="*/ 0 w 141"/>
                  <a:gd name="T49" fmla="*/ 76 h 142"/>
                  <a:gd name="T50" fmla="*/ 0 w 141"/>
                  <a:gd name="T51" fmla="*/ 62 h 142"/>
                  <a:gd name="T52" fmla="*/ 3 w 141"/>
                  <a:gd name="T53" fmla="*/ 49 h 142"/>
                  <a:gd name="T54" fmla="*/ 10 w 141"/>
                  <a:gd name="T55" fmla="*/ 35 h 142"/>
                  <a:gd name="T56" fmla="*/ 10 w 141"/>
                  <a:gd name="T57" fmla="*/ 35 h 142"/>
                  <a:gd name="T58" fmla="*/ 18 w 141"/>
                  <a:gd name="T59" fmla="*/ 24 h 142"/>
                  <a:gd name="T60" fmla="*/ 27 w 141"/>
                  <a:gd name="T61" fmla="*/ 14 h 142"/>
                  <a:gd name="T62" fmla="*/ 40 w 141"/>
                  <a:gd name="T63" fmla="*/ 8 h 142"/>
                  <a:gd name="T64" fmla="*/ 53 w 141"/>
                  <a:gd name="T65" fmla="*/ 3 h 142"/>
                  <a:gd name="T66" fmla="*/ 66 w 141"/>
                  <a:gd name="T67" fmla="*/ 0 h 142"/>
                  <a:gd name="T68" fmla="*/ 78 w 141"/>
                  <a:gd name="T69" fmla="*/ 1 h 142"/>
                  <a:gd name="T70" fmla="*/ 93 w 141"/>
                  <a:gd name="T71" fmla="*/ 5 h 142"/>
                  <a:gd name="T72" fmla="*/ 105 w 141"/>
                  <a:gd name="T73" fmla="*/ 9 h 142"/>
                  <a:gd name="T74" fmla="*/ 105 w 141"/>
                  <a:gd name="T7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1" h="142">
                    <a:moveTo>
                      <a:pt x="105" y="9"/>
                    </a:moveTo>
                    <a:lnTo>
                      <a:pt x="105" y="9"/>
                    </a:lnTo>
                    <a:lnTo>
                      <a:pt x="117" y="17"/>
                    </a:lnTo>
                    <a:lnTo>
                      <a:pt x="126" y="28"/>
                    </a:lnTo>
                    <a:lnTo>
                      <a:pt x="134" y="40"/>
                    </a:lnTo>
                    <a:lnTo>
                      <a:pt x="139" y="52"/>
                    </a:lnTo>
                    <a:lnTo>
                      <a:pt x="141" y="65"/>
                    </a:lnTo>
                    <a:lnTo>
                      <a:pt x="141" y="80"/>
                    </a:lnTo>
                    <a:lnTo>
                      <a:pt x="137" y="92"/>
                    </a:lnTo>
                    <a:lnTo>
                      <a:pt x="131" y="107"/>
                    </a:lnTo>
                    <a:lnTo>
                      <a:pt x="131" y="107"/>
                    </a:lnTo>
                    <a:lnTo>
                      <a:pt x="123" y="118"/>
                    </a:lnTo>
                    <a:lnTo>
                      <a:pt x="113" y="127"/>
                    </a:lnTo>
                    <a:lnTo>
                      <a:pt x="101" y="134"/>
                    </a:lnTo>
                    <a:lnTo>
                      <a:pt x="88" y="139"/>
                    </a:lnTo>
                    <a:lnTo>
                      <a:pt x="75" y="142"/>
                    </a:lnTo>
                    <a:lnTo>
                      <a:pt x="62" y="140"/>
                    </a:lnTo>
                    <a:lnTo>
                      <a:pt x="48" y="139"/>
                    </a:lnTo>
                    <a:lnTo>
                      <a:pt x="35" y="132"/>
                    </a:lnTo>
                    <a:lnTo>
                      <a:pt x="35" y="132"/>
                    </a:lnTo>
                    <a:lnTo>
                      <a:pt x="24" y="124"/>
                    </a:lnTo>
                    <a:lnTo>
                      <a:pt x="15" y="113"/>
                    </a:lnTo>
                    <a:lnTo>
                      <a:pt x="7" y="102"/>
                    </a:lnTo>
                    <a:lnTo>
                      <a:pt x="2" y="89"/>
                    </a:lnTo>
                    <a:lnTo>
                      <a:pt x="0" y="76"/>
                    </a:lnTo>
                    <a:lnTo>
                      <a:pt x="0" y="62"/>
                    </a:lnTo>
                    <a:lnTo>
                      <a:pt x="3" y="49"/>
                    </a:lnTo>
                    <a:lnTo>
                      <a:pt x="10" y="35"/>
                    </a:lnTo>
                    <a:lnTo>
                      <a:pt x="10" y="35"/>
                    </a:lnTo>
                    <a:lnTo>
                      <a:pt x="18" y="24"/>
                    </a:lnTo>
                    <a:lnTo>
                      <a:pt x="27" y="14"/>
                    </a:lnTo>
                    <a:lnTo>
                      <a:pt x="40" y="8"/>
                    </a:lnTo>
                    <a:lnTo>
                      <a:pt x="53" y="3"/>
                    </a:lnTo>
                    <a:lnTo>
                      <a:pt x="66" y="0"/>
                    </a:lnTo>
                    <a:lnTo>
                      <a:pt x="78" y="1"/>
                    </a:lnTo>
                    <a:lnTo>
                      <a:pt x="93" y="5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7"/>
              <p:cNvSpPr>
                <a:spLocks/>
              </p:cNvSpPr>
              <p:nvPr/>
            </p:nvSpPr>
            <p:spPr bwMode="auto">
              <a:xfrm>
                <a:off x="2869" y="1968"/>
                <a:ext cx="71" cy="70"/>
              </a:xfrm>
              <a:custGeom>
                <a:avLst/>
                <a:gdLst>
                  <a:gd name="T0" fmla="*/ 107 w 142"/>
                  <a:gd name="T1" fmla="*/ 9 h 140"/>
                  <a:gd name="T2" fmla="*/ 107 w 142"/>
                  <a:gd name="T3" fmla="*/ 9 h 140"/>
                  <a:gd name="T4" fmla="*/ 118 w 142"/>
                  <a:gd name="T5" fmla="*/ 17 h 140"/>
                  <a:gd name="T6" fmla="*/ 127 w 142"/>
                  <a:gd name="T7" fmla="*/ 27 h 140"/>
                  <a:gd name="T8" fmla="*/ 134 w 142"/>
                  <a:gd name="T9" fmla="*/ 38 h 140"/>
                  <a:gd name="T10" fmla="*/ 139 w 142"/>
                  <a:gd name="T11" fmla="*/ 51 h 140"/>
                  <a:gd name="T12" fmla="*/ 142 w 142"/>
                  <a:gd name="T13" fmla="*/ 65 h 140"/>
                  <a:gd name="T14" fmla="*/ 140 w 142"/>
                  <a:gd name="T15" fmla="*/ 78 h 140"/>
                  <a:gd name="T16" fmla="*/ 137 w 142"/>
                  <a:gd name="T17" fmla="*/ 92 h 140"/>
                  <a:gd name="T18" fmla="*/ 132 w 142"/>
                  <a:gd name="T19" fmla="*/ 105 h 140"/>
                  <a:gd name="T20" fmla="*/ 132 w 142"/>
                  <a:gd name="T21" fmla="*/ 105 h 140"/>
                  <a:gd name="T22" fmla="*/ 124 w 142"/>
                  <a:gd name="T23" fmla="*/ 116 h 140"/>
                  <a:gd name="T24" fmla="*/ 113 w 142"/>
                  <a:gd name="T25" fmla="*/ 126 h 140"/>
                  <a:gd name="T26" fmla="*/ 102 w 142"/>
                  <a:gd name="T27" fmla="*/ 133 h 140"/>
                  <a:gd name="T28" fmla="*/ 89 w 142"/>
                  <a:gd name="T29" fmla="*/ 138 h 140"/>
                  <a:gd name="T30" fmla="*/ 76 w 142"/>
                  <a:gd name="T31" fmla="*/ 140 h 140"/>
                  <a:gd name="T32" fmla="*/ 62 w 142"/>
                  <a:gd name="T33" fmla="*/ 140 h 140"/>
                  <a:gd name="T34" fmla="*/ 48 w 142"/>
                  <a:gd name="T35" fmla="*/ 137 h 140"/>
                  <a:gd name="T36" fmla="*/ 35 w 142"/>
                  <a:gd name="T37" fmla="*/ 130 h 140"/>
                  <a:gd name="T38" fmla="*/ 35 w 142"/>
                  <a:gd name="T39" fmla="*/ 130 h 140"/>
                  <a:gd name="T40" fmla="*/ 24 w 142"/>
                  <a:gd name="T41" fmla="*/ 122 h 140"/>
                  <a:gd name="T42" fmla="*/ 14 w 142"/>
                  <a:gd name="T43" fmla="*/ 113 h 140"/>
                  <a:gd name="T44" fmla="*/ 8 w 142"/>
                  <a:gd name="T45" fmla="*/ 100 h 140"/>
                  <a:gd name="T46" fmla="*/ 3 w 142"/>
                  <a:gd name="T47" fmla="*/ 87 h 140"/>
                  <a:gd name="T48" fmla="*/ 0 w 142"/>
                  <a:gd name="T49" fmla="*/ 74 h 140"/>
                  <a:gd name="T50" fmla="*/ 0 w 142"/>
                  <a:gd name="T51" fmla="*/ 60 h 140"/>
                  <a:gd name="T52" fmla="*/ 3 w 142"/>
                  <a:gd name="T53" fmla="*/ 47 h 140"/>
                  <a:gd name="T54" fmla="*/ 9 w 142"/>
                  <a:gd name="T55" fmla="*/ 35 h 140"/>
                  <a:gd name="T56" fmla="*/ 9 w 142"/>
                  <a:gd name="T57" fmla="*/ 35 h 140"/>
                  <a:gd name="T58" fmla="*/ 17 w 142"/>
                  <a:gd name="T59" fmla="*/ 22 h 140"/>
                  <a:gd name="T60" fmla="*/ 29 w 142"/>
                  <a:gd name="T61" fmla="*/ 14 h 140"/>
                  <a:gd name="T62" fmla="*/ 40 w 142"/>
                  <a:gd name="T63" fmla="*/ 6 h 140"/>
                  <a:gd name="T64" fmla="*/ 52 w 142"/>
                  <a:gd name="T65" fmla="*/ 1 h 140"/>
                  <a:gd name="T66" fmla="*/ 65 w 142"/>
                  <a:gd name="T67" fmla="*/ 0 h 140"/>
                  <a:gd name="T68" fmla="*/ 80 w 142"/>
                  <a:gd name="T69" fmla="*/ 0 h 140"/>
                  <a:gd name="T70" fmla="*/ 92 w 142"/>
                  <a:gd name="T71" fmla="*/ 3 h 140"/>
                  <a:gd name="T72" fmla="*/ 107 w 142"/>
                  <a:gd name="T73" fmla="*/ 9 h 140"/>
                  <a:gd name="T74" fmla="*/ 107 w 142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2" h="140">
                    <a:moveTo>
                      <a:pt x="107" y="9"/>
                    </a:moveTo>
                    <a:lnTo>
                      <a:pt x="107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38"/>
                    </a:lnTo>
                    <a:lnTo>
                      <a:pt x="139" y="51"/>
                    </a:lnTo>
                    <a:lnTo>
                      <a:pt x="142" y="65"/>
                    </a:lnTo>
                    <a:lnTo>
                      <a:pt x="140" y="78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4" y="116"/>
                    </a:lnTo>
                    <a:lnTo>
                      <a:pt x="113" y="126"/>
                    </a:lnTo>
                    <a:lnTo>
                      <a:pt x="102" y="133"/>
                    </a:lnTo>
                    <a:lnTo>
                      <a:pt x="89" y="138"/>
                    </a:lnTo>
                    <a:lnTo>
                      <a:pt x="76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0"/>
                    </a:lnTo>
                    <a:lnTo>
                      <a:pt x="35" y="130"/>
                    </a:lnTo>
                    <a:lnTo>
                      <a:pt x="24" y="122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7"/>
                    </a:lnTo>
                    <a:lnTo>
                      <a:pt x="0" y="74"/>
                    </a:lnTo>
                    <a:lnTo>
                      <a:pt x="0" y="60"/>
                    </a:lnTo>
                    <a:lnTo>
                      <a:pt x="3" y="47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2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2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7" y="9"/>
                    </a:lnTo>
                    <a:lnTo>
                      <a:pt x="10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8"/>
              <p:cNvSpPr>
                <a:spLocks/>
              </p:cNvSpPr>
              <p:nvPr/>
            </p:nvSpPr>
            <p:spPr bwMode="auto">
              <a:xfrm>
                <a:off x="3015" y="2045"/>
                <a:ext cx="70" cy="71"/>
              </a:xfrm>
              <a:custGeom>
                <a:avLst/>
                <a:gdLst>
                  <a:gd name="T0" fmla="*/ 105 w 140"/>
                  <a:gd name="T1" fmla="*/ 10 h 142"/>
                  <a:gd name="T2" fmla="*/ 105 w 140"/>
                  <a:gd name="T3" fmla="*/ 10 h 142"/>
                  <a:gd name="T4" fmla="*/ 118 w 140"/>
                  <a:gd name="T5" fmla="*/ 18 h 142"/>
                  <a:gd name="T6" fmla="*/ 127 w 140"/>
                  <a:gd name="T7" fmla="*/ 29 h 142"/>
                  <a:gd name="T8" fmla="*/ 134 w 140"/>
                  <a:gd name="T9" fmla="*/ 40 h 142"/>
                  <a:gd name="T10" fmla="*/ 138 w 140"/>
                  <a:gd name="T11" fmla="*/ 53 h 142"/>
                  <a:gd name="T12" fmla="*/ 140 w 140"/>
                  <a:gd name="T13" fmla="*/ 66 h 142"/>
                  <a:gd name="T14" fmla="*/ 140 w 140"/>
                  <a:gd name="T15" fmla="*/ 80 h 142"/>
                  <a:gd name="T16" fmla="*/ 137 w 140"/>
                  <a:gd name="T17" fmla="*/ 93 h 142"/>
                  <a:gd name="T18" fmla="*/ 132 w 140"/>
                  <a:gd name="T19" fmla="*/ 107 h 142"/>
                  <a:gd name="T20" fmla="*/ 132 w 140"/>
                  <a:gd name="T21" fmla="*/ 107 h 142"/>
                  <a:gd name="T22" fmla="*/ 122 w 140"/>
                  <a:gd name="T23" fmla="*/ 118 h 142"/>
                  <a:gd name="T24" fmla="*/ 113 w 140"/>
                  <a:gd name="T25" fmla="*/ 128 h 142"/>
                  <a:gd name="T26" fmla="*/ 102 w 140"/>
                  <a:gd name="T27" fmla="*/ 134 h 142"/>
                  <a:gd name="T28" fmla="*/ 89 w 140"/>
                  <a:gd name="T29" fmla="*/ 139 h 142"/>
                  <a:gd name="T30" fmla="*/ 75 w 140"/>
                  <a:gd name="T31" fmla="*/ 142 h 142"/>
                  <a:gd name="T32" fmla="*/ 62 w 140"/>
                  <a:gd name="T33" fmla="*/ 141 h 142"/>
                  <a:gd name="T34" fmla="*/ 47 w 140"/>
                  <a:gd name="T35" fmla="*/ 137 h 142"/>
                  <a:gd name="T36" fmla="*/ 35 w 140"/>
                  <a:gd name="T37" fmla="*/ 133 h 142"/>
                  <a:gd name="T38" fmla="*/ 35 w 140"/>
                  <a:gd name="T39" fmla="*/ 133 h 142"/>
                  <a:gd name="T40" fmla="*/ 24 w 140"/>
                  <a:gd name="T41" fmla="*/ 123 h 142"/>
                  <a:gd name="T42" fmla="*/ 14 w 140"/>
                  <a:gd name="T43" fmla="*/ 113 h 142"/>
                  <a:gd name="T44" fmla="*/ 6 w 140"/>
                  <a:gd name="T45" fmla="*/ 102 h 142"/>
                  <a:gd name="T46" fmla="*/ 1 w 140"/>
                  <a:gd name="T47" fmla="*/ 90 h 142"/>
                  <a:gd name="T48" fmla="*/ 0 w 140"/>
                  <a:gd name="T49" fmla="*/ 75 h 142"/>
                  <a:gd name="T50" fmla="*/ 0 w 140"/>
                  <a:gd name="T51" fmla="*/ 62 h 142"/>
                  <a:gd name="T52" fmla="*/ 3 w 140"/>
                  <a:gd name="T53" fmla="*/ 48 h 142"/>
                  <a:gd name="T54" fmla="*/ 9 w 140"/>
                  <a:gd name="T55" fmla="*/ 35 h 142"/>
                  <a:gd name="T56" fmla="*/ 9 w 140"/>
                  <a:gd name="T57" fmla="*/ 35 h 142"/>
                  <a:gd name="T58" fmla="*/ 17 w 140"/>
                  <a:gd name="T59" fmla="*/ 24 h 142"/>
                  <a:gd name="T60" fmla="*/ 28 w 140"/>
                  <a:gd name="T61" fmla="*/ 15 h 142"/>
                  <a:gd name="T62" fmla="*/ 40 w 140"/>
                  <a:gd name="T63" fmla="*/ 8 h 142"/>
                  <a:gd name="T64" fmla="*/ 52 w 140"/>
                  <a:gd name="T65" fmla="*/ 3 h 142"/>
                  <a:gd name="T66" fmla="*/ 65 w 140"/>
                  <a:gd name="T67" fmla="*/ 0 h 142"/>
                  <a:gd name="T68" fmla="*/ 79 w 140"/>
                  <a:gd name="T69" fmla="*/ 0 h 142"/>
                  <a:gd name="T70" fmla="*/ 92 w 140"/>
                  <a:gd name="T71" fmla="*/ 3 h 142"/>
                  <a:gd name="T72" fmla="*/ 105 w 140"/>
                  <a:gd name="T73" fmla="*/ 10 h 142"/>
                  <a:gd name="T74" fmla="*/ 105 w 140"/>
                  <a:gd name="T75" fmla="*/ 1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2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7" y="29"/>
                    </a:lnTo>
                    <a:lnTo>
                      <a:pt x="134" y="40"/>
                    </a:lnTo>
                    <a:lnTo>
                      <a:pt x="138" y="53"/>
                    </a:lnTo>
                    <a:lnTo>
                      <a:pt x="140" y="66"/>
                    </a:lnTo>
                    <a:lnTo>
                      <a:pt x="140" y="80"/>
                    </a:lnTo>
                    <a:lnTo>
                      <a:pt x="137" y="93"/>
                    </a:lnTo>
                    <a:lnTo>
                      <a:pt x="132" y="107"/>
                    </a:lnTo>
                    <a:lnTo>
                      <a:pt x="132" y="107"/>
                    </a:lnTo>
                    <a:lnTo>
                      <a:pt x="122" y="118"/>
                    </a:lnTo>
                    <a:lnTo>
                      <a:pt x="113" y="128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2"/>
                    </a:lnTo>
                    <a:lnTo>
                      <a:pt x="62" y="141"/>
                    </a:lnTo>
                    <a:lnTo>
                      <a:pt x="47" y="137"/>
                    </a:lnTo>
                    <a:lnTo>
                      <a:pt x="35" y="133"/>
                    </a:lnTo>
                    <a:lnTo>
                      <a:pt x="35" y="133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2"/>
                    </a:lnTo>
                    <a:lnTo>
                      <a:pt x="1" y="90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8" y="15"/>
                    </a:lnTo>
                    <a:lnTo>
                      <a:pt x="40" y="8"/>
                    </a:lnTo>
                    <a:lnTo>
                      <a:pt x="52" y="3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19"/>
              <p:cNvSpPr>
                <a:spLocks/>
              </p:cNvSpPr>
              <p:nvPr/>
            </p:nvSpPr>
            <p:spPr bwMode="auto">
              <a:xfrm>
                <a:off x="2708" y="2153"/>
                <a:ext cx="120" cy="162"/>
              </a:xfrm>
              <a:custGeom>
                <a:avLst/>
                <a:gdLst>
                  <a:gd name="T0" fmla="*/ 225 w 241"/>
                  <a:gd name="T1" fmla="*/ 74 h 326"/>
                  <a:gd name="T2" fmla="*/ 225 w 241"/>
                  <a:gd name="T3" fmla="*/ 74 h 326"/>
                  <a:gd name="T4" fmla="*/ 233 w 241"/>
                  <a:gd name="T5" fmla="*/ 37 h 326"/>
                  <a:gd name="T6" fmla="*/ 241 w 241"/>
                  <a:gd name="T7" fmla="*/ 0 h 326"/>
                  <a:gd name="T8" fmla="*/ 241 w 241"/>
                  <a:gd name="T9" fmla="*/ 0 h 326"/>
                  <a:gd name="T10" fmla="*/ 201 w 241"/>
                  <a:gd name="T11" fmla="*/ 32 h 326"/>
                  <a:gd name="T12" fmla="*/ 164 w 241"/>
                  <a:gd name="T13" fmla="*/ 66 h 326"/>
                  <a:gd name="T14" fmla="*/ 131 w 241"/>
                  <a:gd name="T15" fmla="*/ 101 h 326"/>
                  <a:gd name="T16" fmla="*/ 100 w 241"/>
                  <a:gd name="T17" fmla="*/ 138 h 326"/>
                  <a:gd name="T18" fmla="*/ 72 w 241"/>
                  <a:gd name="T19" fmla="*/ 174 h 326"/>
                  <a:gd name="T20" fmla="*/ 44 w 241"/>
                  <a:gd name="T21" fmla="*/ 213 h 326"/>
                  <a:gd name="T22" fmla="*/ 21 w 241"/>
                  <a:gd name="T23" fmla="*/ 251 h 326"/>
                  <a:gd name="T24" fmla="*/ 0 w 241"/>
                  <a:gd name="T25" fmla="*/ 287 h 326"/>
                  <a:gd name="T26" fmla="*/ 0 w 241"/>
                  <a:gd name="T27" fmla="*/ 287 h 326"/>
                  <a:gd name="T28" fmla="*/ 33 w 241"/>
                  <a:gd name="T29" fmla="*/ 326 h 326"/>
                  <a:gd name="T30" fmla="*/ 33 w 241"/>
                  <a:gd name="T31" fmla="*/ 326 h 326"/>
                  <a:gd name="T32" fmla="*/ 51 w 241"/>
                  <a:gd name="T33" fmla="*/ 294 h 326"/>
                  <a:gd name="T34" fmla="*/ 70 w 241"/>
                  <a:gd name="T35" fmla="*/ 260 h 326"/>
                  <a:gd name="T36" fmla="*/ 92 w 241"/>
                  <a:gd name="T37" fmla="*/ 228 h 326"/>
                  <a:gd name="T38" fmla="*/ 115 w 241"/>
                  <a:gd name="T39" fmla="*/ 197 h 326"/>
                  <a:gd name="T40" fmla="*/ 140 w 241"/>
                  <a:gd name="T41" fmla="*/ 165 h 326"/>
                  <a:gd name="T42" fmla="*/ 166 w 241"/>
                  <a:gd name="T43" fmla="*/ 133 h 326"/>
                  <a:gd name="T44" fmla="*/ 194 w 241"/>
                  <a:gd name="T45" fmla="*/ 103 h 326"/>
                  <a:gd name="T46" fmla="*/ 225 w 241"/>
                  <a:gd name="T47" fmla="*/ 74 h 326"/>
                  <a:gd name="T48" fmla="*/ 225 w 241"/>
                  <a:gd name="T49" fmla="*/ 7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1" h="326">
                    <a:moveTo>
                      <a:pt x="225" y="74"/>
                    </a:moveTo>
                    <a:lnTo>
                      <a:pt x="225" y="74"/>
                    </a:lnTo>
                    <a:lnTo>
                      <a:pt x="233" y="37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01" y="32"/>
                    </a:lnTo>
                    <a:lnTo>
                      <a:pt x="164" y="66"/>
                    </a:lnTo>
                    <a:lnTo>
                      <a:pt x="131" y="101"/>
                    </a:lnTo>
                    <a:lnTo>
                      <a:pt x="100" y="138"/>
                    </a:lnTo>
                    <a:lnTo>
                      <a:pt x="72" y="174"/>
                    </a:lnTo>
                    <a:lnTo>
                      <a:pt x="44" y="213"/>
                    </a:lnTo>
                    <a:lnTo>
                      <a:pt x="21" y="251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33" y="326"/>
                    </a:lnTo>
                    <a:lnTo>
                      <a:pt x="33" y="326"/>
                    </a:lnTo>
                    <a:lnTo>
                      <a:pt x="51" y="294"/>
                    </a:lnTo>
                    <a:lnTo>
                      <a:pt x="70" y="260"/>
                    </a:lnTo>
                    <a:lnTo>
                      <a:pt x="92" y="228"/>
                    </a:lnTo>
                    <a:lnTo>
                      <a:pt x="115" y="197"/>
                    </a:lnTo>
                    <a:lnTo>
                      <a:pt x="140" y="165"/>
                    </a:lnTo>
                    <a:lnTo>
                      <a:pt x="166" y="133"/>
                    </a:lnTo>
                    <a:lnTo>
                      <a:pt x="194" y="103"/>
                    </a:lnTo>
                    <a:lnTo>
                      <a:pt x="225" y="74"/>
                    </a:lnTo>
                    <a:lnTo>
                      <a:pt x="225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20"/>
              <p:cNvSpPr>
                <a:spLocks/>
              </p:cNvSpPr>
              <p:nvPr/>
            </p:nvSpPr>
            <p:spPr bwMode="auto">
              <a:xfrm>
                <a:off x="2849" y="2072"/>
                <a:ext cx="195" cy="94"/>
              </a:xfrm>
              <a:custGeom>
                <a:avLst/>
                <a:gdLst>
                  <a:gd name="T0" fmla="*/ 19 w 391"/>
                  <a:gd name="T1" fmla="*/ 120 h 189"/>
                  <a:gd name="T2" fmla="*/ 19 w 391"/>
                  <a:gd name="T3" fmla="*/ 120 h 189"/>
                  <a:gd name="T4" fmla="*/ 10 w 391"/>
                  <a:gd name="T5" fmla="*/ 154 h 189"/>
                  <a:gd name="T6" fmla="*/ 0 w 391"/>
                  <a:gd name="T7" fmla="*/ 189 h 189"/>
                  <a:gd name="T8" fmla="*/ 0 w 391"/>
                  <a:gd name="T9" fmla="*/ 189 h 189"/>
                  <a:gd name="T10" fmla="*/ 24 w 391"/>
                  <a:gd name="T11" fmla="*/ 173 h 189"/>
                  <a:gd name="T12" fmla="*/ 48 w 391"/>
                  <a:gd name="T13" fmla="*/ 158 h 189"/>
                  <a:gd name="T14" fmla="*/ 72 w 391"/>
                  <a:gd name="T15" fmla="*/ 144 h 189"/>
                  <a:gd name="T16" fmla="*/ 96 w 391"/>
                  <a:gd name="T17" fmla="*/ 131 h 189"/>
                  <a:gd name="T18" fmla="*/ 145 w 391"/>
                  <a:gd name="T19" fmla="*/ 107 h 189"/>
                  <a:gd name="T20" fmla="*/ 196 w 391"/>
                  <a:gd name="T21" fmla="*/ 88 h 189"/>
                  <a:gd name="T22" fmla="*/ 246 w 391"/>
                  <a:gd name="T23" fmla="*/ 72 h 189"/>
                  <a:gd name="T24" fmla="*/ 295 w 391"/>
                  <a:gd name="T25" fmla="*/ 58 h 189"/>
                  <a:gd name="T26" fmla="*/ 344 w 391"/>
                  <a:gd name="T27" fmla="*/ 48 h 189"/>
                  <a:gd name="T28" fmla="*/ 391 w 391"/>
                  <a:gd name="T29" fmla="*/ 40 h 189"/>
                  <a:gd name="T30" fmla="*/ 391 w 391"/>
                  <a:gd name="T31" fmla="*/ 40 h 189"/>
                  <a:gd name="T32" fmla="*/ 365 w 391"/>
                  <a:gd name="T33" fmla="*/ 20 h 189"/>
                  <a:gd name="T34" fmla="*/ 340 w 391"/>
                  <a:gd name="T35" fmla="*/ 0 h 189"/>
                  <a:gd name="T36" fmla="*/ 340 w 391"/>
                  <a:gd name="T37" fmla="*/ 0 h 189"/>
                  <a:gd name="T38" fmla="*/ 301 w 391"/>
                  <a:gd name="T39" fmla="*/ 8 h 189"/>
                  <a:gd name="T40" fmla="*/ 262 w 391"/>
                  <a:gd name="T41" fmla="*/ 18 h 189"/>
                  <a:gd name="T42" fmla="*/ 220 w 391"/>
                  <a:gd name="T43" fmla="*/ 29 h 189"/>
                  <a:gd name="T44" fmla="*/ 180 w 391"/>
                  <a:gd name="T45" fmla="*/ 43 h 189"/>
                  <a:gd name="T46" fmla="*/ 139 w 391"/>
                  <a:gd name="T47" fmla="*/ 59 h 189"/>
                  <a:gd name="T48" fmla="*/ 99 w 391"/>
                  <a:gd name="T49" fmla="*/ 77 h 189"/>
                  <a:gd name="T50" fmla="*/ 59 w 391"/>
                  <a:gd name="T51" fmla="*/ 98 h 189"/>
                  <a:gd name="T52" fmla="*/ 19 w 391"/>
                  <a:gd name="T53" fmla="*/ 120 h 189"/>
                  <a:gd name="T54" fmla="*/ 19 w 391"/>
                  <a:gd name="T55" fmla="*/ 12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1" h="189">
                    <a:moveTo>
                      <a:pt x="19" y="120"/>
                    </a:moveTo>
                    <a:lnTo>
                      <a:pt x="19" y="120"/>
                    </a:lnTo>
                    <a:lnTo>
                      <a:pt x="10" y="154"/>
                    </a:lnTo>
                    <a:lnTo>
                      <a:pt x="0" y="189"/>
                    </a:lnTo>
                    <a:lnTo>
                      <a:pt x="0" y="189"/>
                    </a:lnTo>
                    <a:lnTo>
                      <a:pt x="24" y="173"/>
                    </a:lnTo>
                    <a:lnTo>
                      <a:pt x="48" y="158"/>
                    </a:lnTo>
                    <a:lnTo>
                      <a:pt x="72" y="144"/>
                    </a:lnTo>
                    <a:lnTo>
                      <a:pt x="96" y="131"/>
                    </a:lnTo>
                    <a:lnTo>
                      <a:pt x="145" y="107"/>
                    </a:lnTo>
                    <a:lnTo>
                      <a:pt x="196" y="88"/>
                    </a:lnTo>
                    <a:lnTo>
                      <a:pt x="246" y="72"/>
                    </a:lnTo>
                    <a:lnTo>
                      <a:pt x="295" y="58"/>
                    </a:lnTo>
                    <a:lnTo>
                      <a:pt x="344" y="48"/>
                    </a:lnTo>
                    <a:lnTo>
                      <a:pt x="391" y="40"/>
                    </a:lnTo>
                    <a:lnTo>
                      <a:pt x="391" y="40"/>
                    </a:lnTo>
                    <a:lnTo>
                      <a:pt x="365" y="20"/>
                    </a:lnTo>
                    <a:lnTo>
                      <a:pt x="340" y="0"/>
                    </a:lnTo>
                    <a:lnTo>
                      <a:pt x="340" y="0"/>
                    </a:lnTo>
                    <a:lnTo>
                      <a:pt x="301" y="8"/>
                    </a:lnTo>
                    <a:lnTo>
                      <a:pt x="262" y="18"/>
                    </a:lnTo>
                    <a:lnTo>
                      <a:pt x="220" y="29"/>
                    </a:lnTo>
                    <a:lnTo>
                      <a:pt x="180" y="43"/>
                    </a:lnTo>
                    <a:lnTo>
                      <a:pt x="139" y="59"/>
                    </a:lnTo>
                    <a:lnTo>
                      <a:pt x="99" y="77"/>
                    </a:lnTo>
                    <a:lnTo>
                      <a:pt x="59" y="98"/>
                    </a:lnTo>
                    <a:lnTo>
                      <a:pt x="19" y="120"/>
                    </a:lnTo>
                    <a:lnTo>
                      <a:pt x="19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1"/>
              <p:cNvSpPr>
                <a:spLocks/>
              </p:cNvSpPr>
              <p:nvPr/>
            </p:nvSpPr>
            <p:spPr bwMode="auto">
              <a:xfrm>
                <a:off x="3051" y="2061"/>
                <a:ext cx="125" cy="27"/>
              </a:xfrm>
              <a:custGeom>
                <a:avLst/>
                <a:gdLst>
                  <a:gd name="T0" fmla="*/ 0 w 251"/>
                  <a:gd name="T1" fmla="*/ 11 h 54"/>
                  <a:gd name="T2" fmla="*/ 0 w 251"/>
                  <a:gd name="T3" fmla="*/ 11 h 54"/>
                  <a:gd name="T4" fmla="*/ 34 w 251"/>
                  <a:gd name="T5" fmla="*/ 40 h 54"/>
                  <a:gd name="T6" fmla="*/ 34 w 251"/>
                  <a:gd name="T7" fmla="*/ 40 h 54"/>
                  <a:gd name="T8" fmla="*/ 48 w 251"/>
                  <a:gd name="T9" fmla="*/ 54 h 54"/>
                  <a:gd name="T10" fmla="*/ 48 w 251"/>
                  <a:gd name="T11" fmla="*/ 54 h 54"/>
                  <a:gd name="T12" fmla="*/ 83 w 251"/>
                  <a:gd name="T13" fmla="*/ 51 h 54"/>
                  <a:gd name="T14" fmla="*/ 117 w 251"/>
                  <a:gd name="T15" fmla="*/ 50 h 54"/>
                  <a:gd name="T16" fmla="*/ 174 w 251"/>
                  <a:gd name="T17" fmla="*/ 48 h 54"/>
                  <a:gd name="T18" fmla="*/ 220 w 251"/>
                  <a:gd name="T19" fmla="*/ 48 h 54"/>
                  <a:gd name="T20" fmla="*/ 251 w 251"/>
                  <a:gd name="T21" fmla="*/ 51 h 54"/>
                  <a:gd name="T22" fmla="*/ 251 w 251"/>
                  <a:gd name="T23" fmla="*/ 51 h 54"/>
                  <a:gd name="T24" fmla="*/ 235 w 251"/>
                  <a:gd name="T25" fmla="*/ 26 h 54"/>
                  <a:gd name="T26" fmla="*/ 217 w 251"/>
                  <a:gd name="T27" fmla="*/ 2 h 54"/>
                  <a:gd name="T28" fmla="*/ 217 w 251"/>
                  <a:gd name="T29" fmla="*/ 2 h 54"/>
                  <a:gd name="T30" fmla="*/ 176 w 251"/>
                  <a:gd name="T31" fmla="*/ 0 h 54"/>
                  <a:gd name="T32" fmla="*/ 125 w 251"/>
                  <a:gd name="T33" fmla="*/ 2 h 54"/>
                  <a:gd name="T34" fmla="*/ 66 w 251"/>
                  <a:gd name="T35" fmla="*/ 5 h 54"/>
                  <a:gd name="T36" fmla="*/ 0 w 251"/>
                  <a:gd name="T37" fmla="*/ 11 h 54"/>
                  <a:gd name="T38" fmla="*/ 0 w 251"/>
                  <a:gd name="T39" fmla="*/ 1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1" h="54">
                    <a:moveTo>
                      <a:pt x="0" y="11"/>
                    </a:moveTo>
                    <a:lnTo>
                      <a:pt x="0" y="11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83" y="51"/>
                    </a:lnTo>
                    <a:lnTo>
                      <a:pt x="117" y="50"/>
                    </a:lnTo>
                    <a:lnTo>
                      <a:pt x="174" y="48"/>
                    </a:lnTo>
                    <a:lnTo>
                      <a:pt x="220" y="48"/>
                    </a:lnTo>
                    <a:lnTo>
                      <a:pt x="251" y="51"/>
                    </a:lnTo>
                    <a:lnTo>
                      <a:pt x="251" y="51"/>
                    </a:lnTo>
                    <a:lnTo>
                      <a:pt x="235" y="26"/>
                    </a:lnTo>
                    <a:lnTo>
                      <a:pt x="217" y="2"/>
                    </a:lnTo>
                    <a:lnTo>
                      <a:pt x="217" y="2"/>
                    </a:lnTo>
                    <a:lnTo>
                      <a:pt x="176" y="0"/>
                    </a:lnTo>
                    <a:lnTo>
                      <a:pt x="125" y="2"/>
                    </a:lnTo>
                    <a:lnTo>
                      <a:pt x="66" y="5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22"/>
              <p:cNvSpPr>
                <a:spLocks/>
              </p:cNvSpPr>
              <p:nvPr/>
            </p:nvSpPr>
            <p:spPr bwMode="auto">
              <a:xfrm>
                <a:off x="2653" y="2319"/>
                <a:ext cx="60" cy="138"/>
              </a:xfrm>
              <a:custGeom>
                <a:avLst/>
                <a:gdLst>
                  <a:gd name="T0" fmla="*/ 86 w 121"/>
                  <a:gd name="T1" fmla="*/ 0 h 276"/>
                  <a:gd name="T2" fmla="*/ 86 w 121"/>
                  <a:gd name="T3" fmla="*/ 0 h 276"/>
                  <a:gd name="T4" fmla="*/ 70 w 121"/>
                  <a:gd name="T5" fmla="*/ 33 h 276"/>
                  <a:gd name="T6" fmla="*/ 56 w 121"/>
                  <a:gd name="T7" fmla="*/ 67 h 276"/>
                  <a:gd name="T8" fmla="*/ 32 w 121"/>
                  <a:gd name="T9" fmla="*/ 127 h 276"/>
                  <a:gd name="T10" fmla="*/ 13 w 121"/>
                  <a:gd name="T11" fmla="*/ 183 h 276"/>
                  <a:gd name="T12" fmla="*/ 0 w 121"/>
                  <a:gd name="T13" fmla="*/ 228 h 276"/>
                  <a:gd name="T14" fmla="*/ 0 w 121"/>
                  <a:gd name="T15" fmla="*/ 228 h 276"/>
                  <a:gd name="T16" fmla="*/ 17 w 121"/>
                  <a:gd name="T17" fmla="*/ 252 h 276"/>
                  <a:gd name="T18" fmla="*/ 36 w 121"/>
                  <a:gd name="T19" fmla="*/ 276 h 276"/>
                  <a:gd name="T20" fmla="*/ 36 w 121"/>
                  <a:gd name="T21" fmla="*/ 276 h 276"/>
                  <a:gd name="T22" fmla="*/ 48 w 121"/>
                  <a:gd name="T23" fmla="*/ 234 h 276"/>
                  <a:gd name="T24" fmla="*/ 64 w 121"/>
                  <a:gd name="T25" fmla="*/ 180 h 276"/>
                  <a:gd name="T26" fmla="*/ 75 w 121"/>
                  <a:gd name="T27" fmla="*/ 146 h 276"/>
                  <a:gd name="T28" fmla="*/ 87 w 121"/>
                  <a:gd name="T29" fmla="*/ 113 h 276"/>
                  <a:gd name="T30" fmla="*/ 103 w 121"/>
                  <a:gd name="T31" fmla="*/ 76 h 276"/>
                  <a:gd name="T32" fmla="*/ 121 w 121"/>
                  <a:gd name="T33" fmla="*/ 38 h 276"/>
                  <a:gd name="T34" fmla="*/ 121 w 121"/>
                  <a:gd name="T35" fmla="*/ 38 h 276"/>
                  <a:gd name="T36" fmla="*/ 86 w 121"/>
                  <a:gd name="T37" fmla="*/ 0 h 276"/>
                  <a:gd name="T38" fmla="*/ 86 w 121"/>
                  <a:gd name="T39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1" h="276">
                    <a:moveTo>
                      <a:pt x="86" y="0"/>
                    </a:moveTo>
                    <a:lnTo>
                      <a:pt x="86" y="0"/>
                    </a:lnTo>
                    <a:lnTo>
                      <a:pt x="70" y="33"/>
                    </a:lnTo>
                    <a:lnTo>
                      <a:pt x="56" y="67"/>
                    </a:lnTo>
                    <a:lnTo>
                      <a:pt x="32" y="127"/>
                    </a:lnTo>
                    <a:lnTo>
                      <a:pt x="13" y="183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17" y="252"/>
                    </a:lnTo>
                    <a:lnTo>
                      <a:pt x="36" y="276"/>
                    </a:lnTo>
                    <a:lnTo>
                      <a:pt x="36" y="276"/>
                    </a:lnTo>
                    <a:lnTo>
                      <a:pt x="48" y="234"/>
                    </a:lnTo>
                    <a:lnTo>
                      <a:pt x="64" y="180"/>
                    </a:lnTo>
                    <a:lnTo>
                      <a:pt x="75" y="146"/>
                    </a:lnTo>
                    <a:lnTo>
                      <a:pt x="87" y="113"/>
                    </a:lnTo>
                    <a:lnTo>
                      <a:pt x="103" y="76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86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3"/>
              <p:cNvSpPr>
                <a:spLocks/>
              </p:cNvSpPr>
              <p:nvPr/>
            </p:nvSpPr>
            <p:spPr bwMode="auto">
              <a:xfrm>
                <a:off x="2828" y="2009"/>
                <a:ext cx="83" cy="144"/>
              </a:xfrm>
              <a:custGeom>
                <a:avLst/>
                <a:gdLst>
                  <a:gd name="T0" fmla="*/ 60 w 165"/>
                  <a:gd name="T1" fmla="*/ 246 h 287"/>
                  <a:gd name="T2" fmla="*/ 60 w 165"/>
                  <a:gd name="T3" fmla="*/ 246 h 287"/>
                  <a:gd name="T4" fmla="*/ 71 w 165"/>
                  <a:gd name="T5" fmla="*/ 214 h 287"/>
                  <a:gd name="T6" fmla="*/ 82 w 165"/>
                  <a:gd name="T7" fmla="*/ 182 h 287"/>
                  <a:gd name="T8" fmla="*/ 95 w 165"/>
                  <a:gd name="T9" fmla="*/ 152 h 287"/>
                  <a:gd name="T10" fmla="*/ 108 w 165"/>
                  <a:gd name="T11" fmla="*/ 122 h 287"/>
                  <a:gd name="T12" fmla="*/ 137 w 165"/>
                  <a:gd name="T13" fmla="*/ 66 h 287"/>
                  <a:gd name="T14" fmla="*/ 165 w 165"/>
                  <a:gd name="T15" fmla="*/ 16 h 287"/>
                  <a:gd name="T16" fmla="*/ 165 w 165"/>
                  <a:gd name="T17" fmla="*/ 16 h 287"/>
                  <a:gd name="T18" fmla="*/ 118 w 165"/>
                  <a:gd name="T19" fmla="*/ 0 h 287"/>
                  <a:gd name="T20" fmla="*/ 118 w 165"/>
                  <a:gd name="T21" fmla="*/ 0 h 287"/>
                  <a:gd name="T22" fmla="*/ 102 w 165"/>
                  <a:gd name="T23" fmla="*/ 31 h 287"/>
                  <a:gd name="T24" fmla="*/ 84 w 165"/>
                  <a:gd name="T25" fmla="*/ 63 h 287"/>
                  <a:gd name="T26" fmla="*/ 67 w 165"/>
                  <a:gd name="T27" fmla="*/ 96 h 287"/>
                  <a:gd name="T28" fmla="*/ 51 w 165"/>
                  <a:gd name="T29" fmla="*/ 133 h 287"/>
                  <a:gd name="T30" fmla="*/ 36 w 165"/>
                  <a:gd name="T31" fmla="*/ 169 h 287"/>
                  <a:gd name="T32" fmla="*/ 22 w 165"/>
                  <a:gd name="T33" fmla="*/ 208 h 287"/>
                  <a:gd name="T34" fmla="*/ 9 w 165"/>
                  <a:gd name="T35" fmla="*/ 248 h 287"/>
                  <a:gd name="T36" fmla="*/ 0 w 165"/>
                  <a:gd name="T37" fmla="*/ 287 h 287"/>
                  <a:gd name="T38" fmla="*/ 0 w 165"/>
                  <a:gd name="T39" fmla="*/ 287 h 287"/>
                  <a:gd name="T40" fmla="*/ 4 w 165"/>
                  <a:gd name="T41" fmla="*/ 283 h 287"/>
                  <a:gd name="T42" fmla="*/ 4 w 165"/>
                  <a:gd name="T43" fmla="*/ 283 h 287"/>
                  <a:gd name="T44" fmla="*/ 31 w 165"/>
                  <a:gd name="T45" fmla="*/ 264 h 287"/>
                  <a:gd name="T46" fmla="*/ 60 w 165"/>
                  <a:gd name="T47" fmla="*/ 246 h 287"/>
                  <a:gd name="T48" fmla="*/ 60 w 165"/>
                  <a:gd name="T49" fmla="*/ 246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5" h="287">
                    <a:moveTo>
                      <a:pt x="60" y="246"/>
                    </a:moveTo>
                    <a:lnTo>
                      <a:pt x="60" y="246"/>
                    </a:lnTo>
                    <a:lnTo>
                      <a:pt x="71" y="214"/>
                    </a:lnTo>
                    <a:lnTo>
                      <a:pt x="82" y="182"/>
                    </a:lnTo>
                    <a:lnTo>
                      <a:pt x="95" y="152"/>
                    </a:lnTo>
                    <a:lnTo>
                      <a:pt x="108" y="122"/>
                    </a:lnTo>
                    <a:lnTo>
                      <a:pt x="137" y="66"/>
                    </a:lnTo>
                    <a:lnTo>
                      <a:pt x="165" y="16"/>
                    </a:lnTo>
                    <a:lnTo>
                      <a:pt x="165" y="16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2" y="31"/>
                    </a:lnTo>
                    <a:lnTo>
                      <a:pt x="84" y="63"/>
                    </a:lnTo>
                    <a:lnTo>
                      <a:pt x="67" y="96"/>
                    </a:lnTo>
                    <a:lnTo>
                      <a:pt x="51" y="133"/>
                    </a:lnTo>
                    <a:lnTo>
                      <a:pt x="36" y="169"/>
                    </a:lnTo>
                    <a:lnTo>
                      <a:pt x="22" y="208"/>
                    </a:lnTo>
                    <a:lnTo>
                      <a:pt x="9" y="248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4" y="283"/>
                    </a:lnTo>
                    <a:lnTo>
                      <a:pt x="4" y="283"/>
                    </a:lnTo>
                    <a:lnTo>
                      <a:pt x="31" y="264"/>
                    </a:lnTo>
                    <a:lnTo>
                      <a:pt x="60" y="246"/>
                    </a:lnTo>
                    <a:lnTo>
                      <a:pt x="6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4"/>
              <p:cNvSpPr>
                <a:spLocks/>
              </p:cNvSpPr>
              <p:nvPr/>
            </p:nvSpPr>
            <p:spPr bwMode="auto">
              <a:xfrm>
                <a:off x="2901" y="1937"/>
                <a:ext cx="64" cy="59"/>
              </a:xfrm>
              <a:custGeom>
                <a:avLst/>
                <a:gdLst>
                  <a:gd name="T0" fmla="*/ 46 w 127"/>
                  <a:gd name="T1" fmla="*/ 118 h 118"/>
                  <a:gd name="T2" fmla="*/ 46 w 127"/>
                  <a:gd name="T3" fmla="*/ 118 h 118"/>
                  <a:gd name="T4" fmla="*/ 70 w 127"/>
                  <a:gd name="T5" fmla="*/ 83 h 118"/>
                  <a:gd name="T6" fmla="*/ 92 w 127"/>
                  <a:gd name="T7" fmla="*/ 53 h 118"/>
                  <a:gd name="T8" fmla="*/ 127 w 127"/>
                  <a:gd name="T9" fmla="*/ 6 h 118"/>
                  <a:gd name="T10" fmla="*/ 127 w 127"/>
                  <a:gd name="T11" fmla="*/ 6 h 118"/>
                  <a:gd name="T12" fmla="*/ 100 w 127"/>
                  <a:gd name="T13" fmla="*/ 3 h 118"/>
                  <a:gd name="T14" fmla="*/ 73 w 127"/>
                  <a:gd name="T15" fmla="*/ 0 h 118"/>
                  <a:gd name="T16" fmla="*/ 73 w 127"/>
                  <a:gd name="T17" fmla="*/ 0 h 118"/>
                  <a:gd name="T18" fmla="*/ 38 w 127"/>
                  <a:gd name="T19" fmla="*/ 45 h 118"/>
                  <a:gd name="T20" fmla="*/ 19 w 127"/>
                  <a:gd name="T21" fmla="*/ 72 h 118"/>
                  <a:gd name="T22" fmla="*/ 0 w 127"/>
                  <a:gd name="T23" fmla="*/ 102 h 118"/>
                  <a:gd name="T24" fmla="*/ 0 w 127"/>
                  <a:gd name="T25" fmla="*/ 102 h 118"/>
                  <a:gd name="T26" fmla="*/ 46 w 127"/>
                  <a:gd name="T27" fmla="*/ 118 h 118"/>
                  <a:gd name="T28" fmla="*/ 46 w 127"/>
                  <a:gd name="T2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7" h="118">
                    <a:moveTo>
                      <a:pt x="46" y="118"/>
                    </a:moveTo>
                    <a:lnTo>
                      <a:pt x="46" y="118"/>
                    </a:lnTo>
                    <a:lnTo>
                      <a:pt x="70" y="83"/>
                    </a:lnTo>
                    <a:lnTo>
                      <a:pt x="92" y="53"/>
                    </a:lnTo>
                    <a:lnTo>
                      <a:pt x="127" y="6"/>
                    </a:lnTo>
                    <a:lnTo>
                      <a:pt x="127" y="6"/>
                    </a:lnTo>
                    <a:lnTo>
                      <a:pt x="100" y="3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38" y="45"/>
                    </a:lnTo>
                    <a:lnTo>
                      <a:pt x="19" y="7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46" y="118"/>
                    </a:lnTo>
                    <a:lnTo>
                      <a:pt x="46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5"/>
              <p:cNvSpPr>
                <a:spLocks/>
              </p:cNvSpPr>
              <p:nvPr/>
            </p:nvSpPr>
            <p:spPr bwMode="auto">
              <a:xfrm>
                <a:off x="2816" y="2166"/>
                <a:ext cx="63" cy="253"/>
              </a:xfrm>
              <a:custGeom>
                <a:avLst/>
                <a:gdLst>
                  <a:gd name="T0" fmla="*/ 8 w 126"/>
                  <a:gd name="T1" fmla="*/ 46 h 505"/>
                  <a:gd name="T2" fmla="*/ 8 w 126"/>
                  <a:gd name="T3" fmla="*/ 46 h 505"/>
                  <a:gd name="T4" fmla="*/ 4 w 126"/>
                  <a:gd name="T5" fmla="*/ 75 h 505"/>
                  <a:gd name="T6" fmla="*/ 1 w 126"/>
                  <a:gd name="T7" fmla="*/ 103 h 505"/>
                  <a:gd name="T8" fmla="*/ 0 w 126"/>
                  <a:gd name="T9" fmla="*/ 134 h 505"/>
                  <a:gd name="T10" fmla="*/ 0 w 126"/>
                  <a:gd name="T11" fmla="*/ 164 h 505"/>
                  <a:gd name="T12" fmla="*/ 0 w 126"/>
                  <a:gd name="T13" fmla="*/ 164 h 505"/>
                  <a:gd name="T14" fmla="*/ 1 w 126"/>
                  <a:gd name="T15" fmla="*/ 207 h 505"/>
                  <a:gd name="T16" fmla="*/ 4 w 126"/>
                  <a:gd name="T17" fmla="*/ 248 h 505"/>
                  <a:gd name="T18" fmla="*/ 9 w 126"/>
                  <a:gd name="T19" fmla="*/ 290 h 505"/>
                  <a:gd name="T20" fmla="*/ 17 w 126"/>
                  <a:gd name="T21" fmla="*/ 330 h 505"/>
                  <a:gd name="T22" fmla="*/ 27 w 126"/>
                  <a:gd name="T23" fmla="*/ 368 h 505"/>
                  <a:gd name="T24" fmla="*/ 38 w 126"/>
                  <a:gd name="T25" fmla="*/ 406 h 505"/>
                  <a:gd name="T26" fmla="*/ 49 w 126"/>
                  <a:gd name="T27" fmla="*/ 444 h 505"/>
                  <a:gd name="T28" fmla="*/ 63 w 126"/>
                  <a:gd name="T29" fmla="*/ 480 h 505"/>
                  <a:gd name="T30" fmla="*/ 63 w 126"/>
                  <a:gd name="T31" fmla="*/ 480 h 505"/>
                  <a:gd name="T32" fmla="*/ 94 w 126"/>
                  <a:gd name="T33" fmla="*/ 492 h 505"/>
                  <a:gd name="T34" fmla="*/ 126 w 126"/>
                  <a:gd name="T35" fmla="*/ 505 h 505"/>
                  <a:gd name="T36" fmla="*/ 126 w 126"/>
                  <a:gd name="T37" fmla="*/ 505 h 505"/>
                  <a:gd name="T38" fmla="*/ 110 w 126"/>
                  <a:gd name="T39" fmla="*/ 467 h 505"/>
                  <a:gd name="T40" fmla="*/ 94 w 126"/>
                  <a:gd name="T41" fmla="*/ 427 h 505"/>
                  <a:gd name="T42" fmla="*/ 81 w 126"/>
                  <a:gd name="T43" fmla="*/ 385 h 505"/>
                  <a:gd name="T44" fmla="*/ 70 w 126"/>
                  <a:gd name="T45" fmla="*/ 344 h 505"/>
                  <a:gd name="T46" fmla="*/ 60 w 126"/>
                  <a:gd name="T47" fmla="*/ 299 h 505"/>
                  <a:gd name="T48" fmla="*/ 52 w 126"/>
                  <a:gd name="T49" fmla="*/ 255 h 505"/>
                  <a:gd name="T50" fmla="*/ 47 w 126"/>
                  <a:gd name="T51" fmla="*/ 210 h 505"/>
                  <a:gd name="T52" fmla="*/ 46 w 126"/>
                  <a:gd name="T53" fmla="*/ 164 h 505"/>
                  <a:gd name="T54" fmla="*/ 46 w 126"/>
                  <a:gd name="T55" fmla="*/ 164 h 505"/>
                  <a:gd name="T56" fmla="*/ 47 w 126"/>
                  <a:gd name="T57" fmla="*/ 121 h 505"/>
                  <a:gd name="T58" fmla="*/ 51 w 126"/>
                  <a:gd name="T59" fmla="*/ 81 h 505"/>
                  <a:gd name="T60" fmla="*/ 57 w 126"/>
                  <a:gd name="T61" fmla="*/ 39 h 505"/>
                  <a:gd name="T62" fmla="*/ 65 w 126"/>
                  <a:gd name="T63" fmla="*/ 0 h 505"/>
                  <a:gd name="T64" fmla="*/ 65 w 126"/>
                  <a:gd name="T65" fmla="*/ 0 h 505"/>
                  <a:gd name="T66" fmla="*/ 57 w 126"/>
                  <a:gd name="T67" fmla="*/ 6 h 505"/>
                  <a:gd name="T68" fmla="*/ 57 w 126"/>
                  <a:gd name="T69" fmla="*/ 6 h 505"/>
                  <a:gd name="T70" fmla="*/ 32 w 126"/>
                  <a:gd name="T71" fmla="*/ 25 h 505"/>
                  <a:gd name="T72" fmla="*/ 8 w 126"/>
                  <a:gd name="T73" fmla="*/ 46 h 505"/>
                  <a:gd name="T74" fmla="*/ 8 w 126"/>
                  <a:gd name="T75" fmla="*/ 46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505">
                    <a:moveTo>
                      <a:pt x="8" y="46"/>
                    </a:moveTo>
                    <a:lnTo>
                      <a:pt x="8" y="46"/>
                    </a:lnTo>
                    <a:lnTo>
                      <a:pt x="4" y="75"/>
                    </a:lnTo>
                    <a:lnTo>
                      <a:pt x="1" y="103"/>
                    </a:lnTo>
                    <a:lnTo>
                      <a:pt x="0" y="13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1" y="207"/>
                    </a:lnTo>
                    <a:lnTo>
                      <a:pt x="4" y="248"/>
                    </a:lnTo>
                    <a:lnTo>
                      <a:pt x="9" y="290"/>
                    </a:lnTo>
                    <a:lnTo>
                      <a:pt x="17" y="330"/>
                    </a:lnTo>
                    <a:lnTo>
                      <a:pt x="27" y="368"/>
                    </a:lnTo>
                    <a:lnTo>
                      <a:pt x="38" y="406"/>
                    </a:lnTo>
                    <a:lnTo>
                      <a:pt x="49" y="444"/>
                    </a:lnTo>
                    <a:lnTo>
                      <a:pt x="63" y="480"/>
                    </a:lnTo>
                    <a:lnTo>
                      <a:pt x="63" y="480"/>
                    </a:lnTo>
                    <a:lnTo>
                      <a:pt x="94" y="492"/>
                    </a:lnTo>
                    <a:lnTo>
                      <a:pt x="126" y="505"/>
                    </a:lnTo>
                    <a:lnTo>
                      <a:pt x="126" y="505"/>
                    </a:lnTo>
                    <a:lnTo>
                      <a:pt x="110" y="467"/>
                    </a:lnTo>
                    <a:lnTo>
                      <a:pt x="94" y="427"/>
                    </a:lnTo>
                    <a:lnTo>
                      <a:pt x="81" y="385"/>
                    </a:lnTo>
                    <a:lnTo>
                      <a:pt x="70" y="344"/>
                    </a:lnTo>
                    <a:lnTo>
                      <a:pt x="60" y="299"/>
                    </a:lnTo>
                    <a:lnTo>
                      <a:pt x="52" y="255"/>
                    </a:lnTo>
                    <a:lnTo>
                      <a:pt x="47" y="210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7" y="121"/>
                    </a:lnTo>
                    <a:lnTo>
                      <a:pt x="51" y="81"/>
                    </a:lnTo>
                    <a:lnTo>
                      <a:pt x="57" y="39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32" y="25"/>
                    </a:lnTo>
                    <a:lnTo>
                      <a:pt x="8" y="46"/>
                    </a:lnTo>
                    <a:lnTo>
                      <a:pt x="8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6"/>
              <p:cNvSpPr>
                <a:spLocks/>
              </p:cNvSpPr>
              <p:nvPr/>
            </p:nvSpPr>
            <p:spPr bwMode="auto">
              <a:xfrm>
                <a:off x="2862" y="2437"/>
                <a:ext cx="105" cy="126"/>
              </a:xfrm>
              <a:custGeom>
                <a:avLst/>
                <a:gdLst>
                  <a:gd name="T0" fmla="*/ 0 w 210"/>
                  <a:gd name="T1" fmla="*/ 0 h 250"/>
                  <a:gd name="T2" fmla="*/ 0 w 210"/>
                  <a:gd name="T3" fmla="*/ 0 h 250"/>
                  <a:gd name="T4" fmla="*/ 19 w 210"/>
                  <a:gd name="T5" fmla="*/ 41 h 250"/>
                  <a:gd name="T6" fmla="*/ 41 w 210"/>
                  <a:gd name="T7" fmla="*/ 79 h 250"/>
                  <a:gd name="T8" fmla="*/ 62 w 210"/>
                  <a:gd name="T9" fmla="*/ 116 h 250"/>
                  <a:gd name="T10" fmla="*/ 82 w 210"/>
                  <a:gd name="T11" fmla="*/ 150 h 250"/>
                  <a:gd name="T12" fmla="*/ 103 w 210"/>
                  <a:gd name="T13" fmla="*/ 180 h 250"/>
                  <a:gd name="T14" fmla="*/ 122 w 210"/>
                  <a:gd name="T15" fmla="*/ 207 h 250"/>
                  <a:gd name="T16" fmla="*/ 156 w 210"/>
                  <a:gd name="T17" fmla="*/ 250 h 250"/>
                  <a:gd name="T18" fmla="*/ 156 w 210"/>
                  <a:gd name="T19" fmla="*/ 250 h 250"/>
                  <a:gd name="T20" fmla="*/ 183 w 210"/>
                  <a:gd name="T21" fmla="*/ 247 h 250"/>
                  <a:gd name="T22" fmla="*/ 210 w 210"/>
                  <a:gd name="T23" fmla="*/ 242 h 250"/>
                  <a:gd name="T24" fmla="*/ 210 w 210"/>
                  <a:gd name="T25" fmla="*/ 242 h 250"/>
                  <a:gd name="T26" fmla="*/ 183 w 210"/>
                  <a:gd name="T27" fmla="*/ 209 h 250"/>
                  <a:gd name="T28" fmla="*/ 148 w 210"/>
                  <a:gd name="T29" fmla="*/ 159 h 250"/>
                  <a:gd name="T30" fmla="*/ 127 w 210"/>
                  <a:gd name="T31" fmla="*/ 130 h 250"/>
                  <a:gd name="T32" fmla="*/ 106 w 210"/>
                  <a:gd name="T33" fmla="*/ 97 h 250"/>
                  <a:gd name="T34" fmla="*/ 84 w 210"/>
                  <a:gd name="T35" fmla="*/ 60 h 250"/>
                  <a:gd name="T36" fmla="*/ 63 w 210"/>
                  <a:gd name="T37" fmla="*/ 20 h 250"/>
                  <a:gd name="T38" fmla="*/ 63 w 210"/>
                  <a:gd name="T39" fmla="*/ 20 h 250"/>
                  <a:gd name="T40" fmla="*/ 31 w 210"/>
                  <a:gd name="T41" fmla="*/ 11 h 250"/>
                  <a:gd name="T42" fmla="*/ 0 w 210"/>
                  <a:gd name="T43" fmla="*/ 0 h 250"/>
                  <a:gd name="T44" fmla="*/ 0 w 210"/>
                  <a:gd name="T4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0" h="250">
                    <a:moveTo>
                      <a:pt x="0" y="0"/>
                    </a:moveTo>
                    <a:lnTo>
                      <a:pt x="0" y="0"/>
                    </a:lnTo>
                    <a:lnTo>
                      <a:pt x="19" y="41"/>
                    </a:lnTo>
                    <a:lnTo>
                      <a:pt x="41" y="79"/>
                    </a:lnTo>
                    <a:lnTo>
                      <a:pt x="62" y="116"/>
                    </a:lnTo>
                    <a:lnTo>
                      <a:pt x="82" y="150"/>
                    </a:lnTo>
                    <a:lnTo>
                      <a:pt x="103" y="180"/>
                    </a:lnTo>
                    <a:lnTo>
                      <a:pt x="122" y="207"/>
                    </a:lnTo>
                    <a:lnTo>
                      <a:pt x="156" y="250"/>
                    </a:lnTo>
                    <a:lnTo>
                      <a:pt x="156" y="250"/>
                    </a:lnTo>
                    <a:lnTo>
                      <a:pt x="183" y="247"/>
                    </a:lnTo>
                    <a:lnTo>
                      <a:pt x="210" y="242"/>
                    </a:lnTo>
                    <a:lnTo>
                      <a:pt x="210" y="242"/>
                    </a:lnTo>
                    <a:lnTo>
                      <a:pt x="183" y="209"/>
                    </a:lnTo>
                    <a:lnTo>
                      <a:pt x="148" y="159"/>
                    </a:lnTo>
                    <a:lnTo>
                      <a:pt x="127" y="130"/>
                    </a:lnTo>
                    <a:lnTo>
                      <a:pt x="106" y="97"/>
                    </a:lnTo>
                    <a:lnTo>
                      <a:pt x="84" y="60"/>
                    </a:lnTo>
                    <a:lnTo>
                      <a:pt x="63" y="20"/>
                    </a:lnTo>
                    <a:lnTo>
                      <a:pt x="63" y="20"/>
                    </a:lnTo>
                    <a:lnTo>
                      <a:pt x="31" y="1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7"/>
              <p:cNvSpPr>
                <a:spLocks/>
              </p:cNvSpPr>
              <p:nvPr/>
            </p:nvSpPr>
            <p:spPr bwMode="auto">
              <a:xfrm>
                <a:off x="2820" y="2132"/>
                <a:ext cx="39" cy="57"/>
              </a:xfrm>
              <a:custGeom>
                <a:avLst/>
                <a:gdLst>
                  <a:gd name="T0" fmla="*/ 20 w 76"/>
                  <a:gd name="T1" fmla="*/ 37 h 115"/>
                  <a:gd name="T2" fmla="*/ 20 w 76"/>
                  <a:gd name="T3" fmla="*/ 37 h 115"/>
                  <a:gd name="T4" fmla="*/ 16 w 76"/>
                  <a:gd name="T5" fmla="*/ 41 h 115"/>
                  <a:gd name="T6" fmla="*/ 16 w 76"/>
                  <a:gd name="T7" fmla="*/ 41 h 115"/>
                  <a:gd name="T8" fmla="*/ 8 w 76"/>
                  <a:gd name="T9" fmla="*/ 78 h 115"/>
                  <a:gd name="T10" fmla="*/ 0 w 76"/>
                  <a:gd name="T11" fmla="*/ 115 h 115"/>
                  <a:gd name="T12" fmla="*/ 0 w 76"/>
                  <a:gd name="T13" fmla="*/ 115 h 115"/>
                  <a:gd name="T14" fmla="*/ 24 w 76"/>
                  <a:gd name="T15" fmla="*/ 94 h 115"/>
                  <a:gd name="T16" fmla="*/ 49 w 76"/>
                  <a:gd name="T17" fmla="*/ 75 h 115"/>
                  <a:gd name="T18" fmla="*/ 49 w 76"/>
                  <a:gd name="T19" fmla="*/ 75 h 115"/>
                  <a:gd name="T20" fmla="*/ 57 w 76"/>
                  <a:gd name="T21" fmla="*/ 69 h 115"/>
                  <a:gd name="T22" fmla="*/ 57 w 76"/>
                  <a:gd name="T23" fmla="*/ 69 h 115"/>
                  <a:gd name="T24" fmla="*/ 67 w 76"/>
                  <a:gd name="T25" fmla="*/ 34 h 115"/>
                  <a:gd name="T26" fmla="*/ 76 w 76"/>
                  <a:gd name="T27" fmla="*/ 0 h 115"/>
                  <a:gd name="T28" fmla="*/ 76 w 76"/>
                  <a:gd name="T29" fmla="*/ 0 h 115"/>
                  <a:gd name="T30" fmla="*/ 47 w 76"/>
                  <a:gd name="T31" fmla="*/ 18 h 115"/>
                  <a:gd name="T32" fmla="*/ 20 w 76"/>
                  <a:gd name="T33" fmla="*/ 37 h 115"/>
                  <a:gd name="T34" fmla="*/ 20 w 76"/>
                  <a:gd name="T35" fmla="*/ 3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" h="115">
                    <a:moveTo>
                      <a:pt x="20" y="37"/>
                    </a:moveTo>
                    <a:lnTo>
                      <a:pt x="20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8" y="78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24" y="94"/>
                    </a:lnTo>
                    <a:lnTo>
                      <a:pt x="49" y="75"/>
                    </a:lnTo>
                    <a:lnTo>
                      <a:pt x="49" y="75"/>
                    </a:lnTo>
                    <a:lnTo>
                      <a:pt x="57" y="69"/>
                    </a:lnTo>
                    <a:lnTo>
                      <a:pt x="57" y="69"/>
                    </a:lnTo>
                    <a:lnTo>
                      <a:pt x="67" y="34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47" y="18"/>
                    </a:lnTo>
                    <a:lnTo>
                      <a:pt x="20" y="37"/>
                    </a:lnTo>
                    <a:lnTo>
                      <a:pt x="20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8"/>
              <p:cNvSpPr>
                <a:spLocks/>
              </p:cNvSpPr>
              <p:nvPr/>
            </p:nvSpPr>
            <p:spPr bwMode="auto">
              <a:xfrm>
                <a:off x="2879" y="2419"/>
                <a:ext cx="286" cy="49"/>
              </a:xfrm>
              <a:custGeom>
                <a:avLst/>
                <a:gdLst>
                  <a:gd name="T0" fmla="*/ 0 w 570"/>
                  <a:gd name="T1" fmla="*/ 0 h 97"/>
                  <a:gd name="T2" fmla="*/ 0 w 570"/>
                  <a:gd name="T3" fmla="*/ 0 h 97"/>
                  <a:gd name="T4" fmla="*/ 14 w 570"/>
                  <a:gd name="T5" fmla="*/ 29 h 97"/>
                  <a:gd name="T6" fmla="*/ 28 w 570"/>
                  <a:gd name="T7" fmla="*/ 57 h 97"/>
                  <a:gd name="T8" fmla="*/ 28 w 570"/>
                  <a:gd name="T9" fmla="*/ 57 h 97"/>
                  <a:gd name="T10" fmla="*/ 67 w 570"/>
                  <a:gd name="T11" fmla="*/ 69 h 97"/>
                  <a:gd name="T12" fmla="*/ 103 w 570"/>
                  <a:gd name="T13" fmla="*/ 77 h 97"/>
                  <a:gd name="T14" fmla="*/ 142 w 570"/>
                  <a:gd name="T15" fmla="*/ 83 h 97"/>
                  <a:gd name="T16" fmla="*/ 178 w 570"/>
                  <a:gd name="T17" fmla="*/ 88 h 97"/>
                  <a:gd name="T18" fmla="*/ 215 w 570"/>
                  <a:gd name="T19" fmla="*/ 93 h 97"/>
                  <a:gd name="T20" fmla="*/ 250 w 570"/>
                  <a:gd name="T21" fmla="*/ 94 h 97"/>
                  <a:gd name="T22" fmla="*/ 285 w 570"/>
                  <a:gd name="T23" fmla="*/ 96 h 97"/>
                  <a:gd name="T24" fmla="*/ 318 w 570"/>
                  <a:gd name="T25" fmla="*/ 97 h 97"/>
                  <a:gd name="T26" fmla="*/ 318 w 570"/>
                  <a:gd name="T27" fmla="*/ 97 h 97"/>
                  <a:gd name="T28" fmla="*/ 381 w 570"/>
                  <a:gd name="T29" fmla="*/ 96 h 97"/>
                  <a:gd name="T30" fmla="*/ 438 w 570"/>
                  <a:gd name="T31" fmla="*/ 91 h 97"/>
                  <a:gd name="T32" fmla="*/ 486 w 570"/>
                  <a:gd name="T33" fmla="*/ 85 h 97"/>
                  <a:gd name="T34" fmla="*/ 527 w 570"/>
                  <a:gd name="T35" fmla="*/ 80 h 97"/>
                  <a:gd name="T36" fmla="*/ 527 w 570"/>
                  <a:gd name="T37" fmla="*/ 80 h 97"/>
                  <a:gd name="T38" fmla="*/ 550 w 570"/>
                  <a:gd name="T39" fmla="*/ 53 h 97"/>
                  <a:gd name="T40" fmla="*/ 570 w 570"/>
                  <a:gd name="T41" fmla="*/ 24 h 97"/>
                  <a:gd name="T42" fmla="*/ 570 w 570"/>
                  <a:gd name="T43" fmla="*/ 22 h 97"/>
                  <a:gd name="T44" fmla="*/ 570 w 570"/>
                  <a:gd name="T45" fmla="*/ 22 h 97"/>
                  <a:gd name="T46" fmla="*/ 556 w 570"/>
                  <a:gd name="T47" fmla="*/ 26 h 97"/>
                  <a:gd name="T48" fmla="*/ 518 w 570"/>
                  <a:gd name="T49" fmla="*/ 32 h 97"/>
                  <a:gd name="T50" fmla="*/ 460 w 570"/>
                  <a:gd name="T51" fmla="*/ 40 h 97"/>
                  <a:gd name="T52" fmla="*/ 425 w 570"/>
                  <a:gd name="T53" fmla="*/ 45 h 97"/>
                  <a:gd name="T54" fmla="*/ 387 w 570"/>
                  <a:gd name="T55" fmla="*/ 46 h 97"/>
                  <a:gd name="T56" fmla="*/ 344 w 570"/>
                  <a:gd name="T57" fmla="*/ 48 h 97"/>
                  <a:gd name="T58" fmla="*/ 299 w 570"/>
                  <a:gd name="T59" fmla="*/ 48 h 97"/>
                  <a:gd name="T60" fmla="*/ 253 w 570"/>
                  <a:gd name="T61" fmla="*/ 46 h 97"/>
                  <a:gd name="T62" fmla="*/ 204 w 570"/>
                  <a:gd name="T63" fmla="*/ 43 h 97"/>
                  <a:gd name="T64" fmla="*/ 154 w 570"/>
                  <a:gd name="T65" fmla="*/ 37 h 97"/>
                  <a:gd name="T66" fmla="*/ 103 w 570"/>
                  <a:gd name="T67" fmla="*/ 27 h 97"/>
                  <a:gd name="T68" fmla="*/ 51 w 570"/>
                  <a:gd name="T69" fmla="*/ 16 h 97"/>
                  <a:gd name="T70" fmla="*/ 0 w 570"/>
                  <a:gd name="T71" fmla="*/ 0 h 97"/>
                  <a:gd name="T72" fmla="*/ 0 w 570"/>
                  <a:gd name="T7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0" h="97">
                    <a:moveTo>
                      <a:pt x="0" y="0"/>
                    </a:moveTo>
                    <a:lnTo>
                      <a:pt x="0" y="0"/>
                    </a:lnTo>
                    <a:lnTo>
                      <a:pt x="14" y="29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67" y="69"/>
                    </a:lnTo>
                    <a:lnTo>
                      <a:pt x="103" y="77"/>
                    </a:lnTo>
                    <a:lnTo>
                      <a:pt x="142" y="83"/>
                    </a:lnTo>
                    <a:lnTo>
                      <a:pt x="178" y="88"/>
                    </a:lnTo>
                    <a:lnTo>
                      <a:pt x="215" y="93"/>
                    </a:lnTo>
                    <a:lnTo>
                      <a:pt x="250" y="94"/>
                    </a:lnTo>
                    <a:lnTo>
                      <a:pt x="285" y="96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81" y="96"/>
                    </a:lnTo>
                    <a:lnTo>
                      <a:pt x="438" y="91"/>
                    </a:lnTo>
                    <a:lnTo>
                      <a:pt x="486" y="85"/>
                    </a:lnTo>
                    <a:lnTo>
                      <a:pt x="527" y="80"/>
                    </a:lnTo>
                    <a:lnTo>
                      <a:pt x="527" y="80"/>
                    </a:lnTo>
                    <a:lnTo>
                      <a:pt x="550" y="53"/>
                    </a:lnTo>
                    <a:lnTo>
                      <a:pt x="570" y="24"/>
                    </a:lnTo>
                    <a:lnTo>
                      <a:pt x="570" y="22"/>
                    </a:lnTo>
                    <a:lnTo>
                      <a:pt x="570" y="22"/>
                    </a:lnTo>
                    <a:lnTo>
                      <a:pt x="556" y="26"/>
                    </a:lnTo>
                    <a:lnTo>
                      <a:pt x="518" y="32"/>
                    </a:lnTo>
                    <a:lnTo>
                      <a:pt x="460" y="40"/>
                    </a:lnTo>
                    <a:lnTo>
                      <a:pt x="425" y="45"/>
                    </a:lnTo>
                    <a:lnTo>
                      <a:pt x="387" y="46"/>
                    </a:lnTo>
                    <a:lnTo>
                      <a:pt x="344" y="48"/>
                    </a:lnTo>
                    <a:lnTo>
                      <a:pt x="299" y="48"/>
                    </a:lnTo>
                    <a:lnTo>
                      <a:pt x="253" y="46"/>
                    </a:lnTo>
                    <a:lnTo>
                      <a:pt x="204" y="43"/>
                    </a:lnTo>
                    <a:lnTo>
                      <a:pt x="154" y="37"/>
                    </a:lnTo>
                    <a:lnTo>
                      <a:pt x="103" y="27"/>
                    </a:lnTo>
                    <a:lnTo>
                      <a:pt x="51" y="1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9"/>
              <p:cNvSpPr>
                <a:spLocks/>
              </p:cNvSpPr>
              <p:nvPr/>
            </p:nvSpPr>
            <p:spPr bwMode="auto">
              <a:xfrm>
                <a:off x="2603" y="2137"/>
                <a:ext cx="105" cy="182"/>
              </a:xfrm>
              <a:custGeom>
                <a:avLst/>
                <a:gdLst>
                  <a:gd name="T0" fmla="*/ 209 w 209"/>
                  <a:gd name="T1" fmla="*/ 318 h 365"/>
                  <a:gd name="T2" fmla="*/ 209 w 209"/>
                  <a:gd name="T3" fmla="*/ 318 h 365"/>
                  <a:gd name="T4" fmla="*/ 172 w 209"/>
                  <a:gd name="T5" fmla="*/ 272 h 365"/>
                  <a:gd name="T6" fmla="*/ 140 w 209"/>
                  <a:gd name="T7" fmla="*/ 226 h 365"/>
                  <a:gd name="T8" fmla="*/ 112 w 209"/>
                  <a:gd name="T9" fmla="*/ 180 h 365"/>
                  <a:gd name="T10" fmla="*/ 86 w 209"/>
                  <a:gd name="T11" fmla="*/ 137 h 365"/>
                  <a:gd name="T12" fmla="*/ 65 w 209"/>
                  <a:gd name="T13" fmla="*/ 95 h 365"/>
                  <a:gd name="T14" fmla="*/ 48 w 209"/>
                  <a:gd name="T15" fmla="*/ 59 h 365"/>
                  <a:gd name="T16" fmla="*/ 33 w 209"/>
                  <a:gd name="T17" fmla="*/ 27 h 365"/>
                  <a:gd name="T18" fmla="*/ 22 w 209"/>
                  <a:gd name="T19" fmla="*/ 0 h 365"/>
                  <a:gd name="T20" fmla="*/ 22 w 209"/>
                  <a:gd name="T21" fmla="*/ 0 h 365"/>
                  <a:gd name="T22" fmla="*/ 9 w 209"/>
                  <a:gd name="T23" fmla="*/ 35 h 365"/>
                  <a:gd name="T24" fmla="*/ 0 w 209"/>
                  <a:gd name="T25" fmla="*/ 70 h 365"/>
                  <a:gd name="T26" fmla="*/ 0 w 209"/>
                  <a:gd name="T27" fmla="*/ 70 h 365"/>
                  <a:gd name="T28" fmla="*/ 14 w 209"/>
                  <a:gd name="T29" fmla="*/ 100 h 365"/>
                  <a:gd name="T30" fmla="*/ 30 w 209"/>
                  <a:gd name="T31" fmla="*/ 134 h 365"/>
                  <a:gd name="T32" fmla="*/ 49 w 209"/>
                  <a:gd name="T33" fmla="*/ 169 h 365"/>
                  <a:gd name="T34" fmla="*/ 70 w 209"/>
                  <a:gd name="T35" fmla="*/ 207 h 365"/>
                  <a:gd name="T36" fmla="*/ 96 w 209"/>
                  <a:gd name="T37" fmla="*/ 245 h 365"/>
                  <a:gd name="T38" fmla="*/ 123 w 209"/>
                  <a:gd name="T39" fmla="*/ 285 h 365"/>
                  <a:gd name="T40" fmla="*/ 151 w 209"/>
                  <a:gd name="T41" fmla="*/ 325 h 365"/>
                  <a:gd name="T42" fmla="*/ 185 w 209"/>
                  <a:gd name="T43" fmla="*/ 365 h 365"/>
                  <a:gd name="T44" fmla="*/ 185 w 209"/>
                  <a:gd name="T45" fmla="*/ 365 h 365"/>
                  <a:gd name="T46" fmla="*/ 209 w 209"/>
                  <a:gd name="T47" fmla="*/ 318 h 365"/>
                  <a:gd name="T48" fmla="*/ 209 w 209"/>
                  <a:gd name="T49" fmla="*/ 318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9" h="365">
                    <a:moveTo>
                      <a:pt x="209" y="318"/>
                    </a:moveTo>
                    <a:lnTo>
                      <a:pt x="209" y="318"/>
                    </a:lnTo>
                    <a:lnTo>
                      <a:pt x="172" y="272"/>
                    </a:lnTo>
                    <a:lnTo>
                      <a:pt x="140" y="226"/>
                    </a:lnTo>
                    <a:lnTo>
                      <a:pt x="112" y="180"/>
                    </a:lnTo>
                    <a:lnTo>
                      <a:pt x="86" y="137"/>
                    </a:lnTo>
                    <a:lnTo>
                      <a:pt x="65" y="95"/>
                    </a:lnTo>
                    <a:lnTo>
                      <a:pt x="48" y="59"/>
                    </a:lnTo>
                    <a:lnTo>
                      <a:pt x="33" y="27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9" y="35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4" y="100"/>
                    </a:lnTo>
                    <a:lnTo>
                      <a:pt x="30" y="134"/>
                    </a:lnTo>
                    <a:lnTo>
                      <a:pt x="49" y="169"/>
                    </a:lnTo>
                    <a:lnTo>
                      <a:pt x="70" y="207"/>
                    </a:lnTo>
                    <a:lnTo>
                      <a:pt x="96" y="245"/>
                    </a:lnTo>
                    <a:lnTo>
                      <a:pt x="123" y="285"/>
                    </a:lnTo>
                    <a:lnTo>
                      <a:pt x="151" y="325"/>
                    </a:lnTo>
                    <a:lnTo>
                      <a:pt x="185" y="365"/>
                    </a:lnTo>
                    <a:lnTo>
                      <a:pt x="185" y="365"/>
                    </a:lnTo>
                    <a:lnTo>
                      <a:pt x="209" y="318"/>
                    </a:lnTo>
                    <a:lnTo>
                      <a:pt x="209" y="3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30"/>
              <p:cNvSpPr>
                <a:spLocks/>
              </p:cNvSpPr>
              <p:nvPr/>
            </p:nvSpPr>
            <p:spPr bwMode="auto">
              <a:xfrm>
                <a:off x="2713" y="2315"/>
                <a:ext cx="149" cy="122"/>
              </a:xfrm>
              <a:custGeom>
                <a:avLst/>
                <a:gdLst>
                  <a:gd name="T0" fmla="*/ 212 w 297"/>
                  <a:gd name="T1" fmla="*/ 153 h 244"/>
                  <a:gd name="T2" fmla="*/ 212 w 297"/>
                  <a:gd name="T3" fmla="*/ 153 h 244"/>
                  <a:gd name="T4" fmla="*/ 185 w 297"/>
                  <a:gd name="T5" fmla="*/ 137 h 244"/>
                  <a:gd name="T6" fmla="*/ 159 w 297"/>
                  <a:gd name="T7" fmla="*/ 119 h 244"/>
                  <a:gd name="T8" fmla="*/ 134 w 297"/>
                  <a:gd name="T9" fmla="*/ 102 h 244"/>
                  <a:gd name="T10" fmla="*/ 110 w 297"/>
                  <a:gd name="T11" fmla="*/ 83 h 244"/>
                  <a:gd name="T12" fmla="*/ 86 w 297"/>
                  <a:gd name="T13" fmla="*/ 64 h 244"/>
                  <a:gd name="T14" fmla="*/ 64 w 297"/>
                  <a:gd name="T15" fmla="*/ 43 h 244"/>
                  <a:gd name="T16" fmla="*/ 43 w 297"/>
                  <a:gd name="T17" fmla="*/ 22 h 244"/>
                  <a:gd name="T18" fmla="*/ 22 w 297"/>
                  <a:gd name="T19" fmla="*/ 0 h 244"/>
                  <a:gd name="T20" fmla="*/ 22 w 297"/>
                  <a:gd name="T21" fmla="*/ 0 h 244"/>
                  <a:gd name="T22" fmla="*/ 0 w 297"/>
                  <a:gd name="T23" fmla="*/ 46 h 244"/>
                  <a:gd name="T24" fmla="*/ 0 w 297"/>
                  <a:gd name="T25" fmla="*/ 46 h 244"/>
                  <a:gd name="T26" fmla="*/ 21 w 297"/>
                  <a:gd name="T27" fmla="*/ 67 h 244"/>
                  <a:gd name="T28" fmla="*/ 41 w 297"/>
                  <a:gd name="T29" fmla="*/ 86 h 244"/>
                  <a:gd name="T30" fmla="*/ 64 w 297"/>
                  <a:gd name="T31" fmla="*/ 107 h 244"/>
                  <a:gd name="T32" fmla="*/ 88 w 297"/>
                  <a:gd name="T33" fmla="*/ 126 h 244"/>
                  <a:gd name="T34" fmla="*/ 112 w 297"/>
                  <a:gd name="T35" fmla="*/ 143 h 244"/>
                  <a:gd name="T36" fmla="*/ 137 w 297"/>
                  <a:gd name="T37" fmla="*/ 162 h 244"/>
                  <a:gd name="T38" fmla="*/ 163 w 297"/>
                  <a:gd name="T39" fmla="*/ 178 h 244"/>
                  <a:gd name="T40" fmla="*/ 190 w 297"/>
                  <a:gd name="T41" fmla="*/ 194 h 244"/>
                  <a:gd name="T42" fmla="*/ 190 w 297"/>
                  <a:gd name="T43" fmla="*/ 194 h 244"/>
                  <a:gd name="T44" fmla="*/ 215 w 297"/>
                  <a:gd name="T45" fmla="*/ 209 h 244"/>
                  <a:gd name="T46" fmla="*/ 242 w 297"/>
                  <a:gd name="T47" fmla="*/ 221 h 244"/>
                  <a:gd name="T48" fmla="*/ 269 w 297"/>
                  <a:gd name="T49" fmla="*/ 233 h 244"/>
                  <a:gd name="T50" fmla="*/ 297 w 297"/>
                  <a:gd name="T51" fmla="*/ 244 h 244"/>
                  <a:gd name="T52" fmla="*/ 297 w 297"/>
                  <a:gd name="T53" fmla="*/ 244 h 244"/>
                  <a:gd name="T54" fmla="*/ 282 w 297"/>
                  <a:gd name="T55" fmla="*/ 213 h 244"/>
                  <a:gd name="T56" fmla="*/ 269 w 297"/>
                  <a:gd name="T57" fmla="*/ 182 h 244"/>
                  <a:gd name="T58" fmla="*/ 269 w 297"/>
                  <a:gd name="T59" fmla="*/ 182 h 244"/>
                  <a:gd name="T60" fmla="*/ 241 w 297"/>
                  <a:gd name="T61" fmla="*/ 169 h 244"/>
                  <a:gd name="T62" fmla="*/ 212 w 297"/>
                  <a:gd name="T63" fmla="*/ 153 h 244"/>
                  <a:gd name="T64" fmla="*/ 212 w 297"/>
                  <a:gd name="T65" fmla="*/ 153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7" h="244">
                    <a:moveTo>
                      <a:pt x="212" y="153"/>
                    </a:moveTo>
                    <a:lnTo>
                      <a:pt x="212" y="153"/>
                    </a:lnTo>
                    <a:lnTo>
                      <a:pt x="185" y="137"/>
                    </a:lnTo>
                    <a:lnTo>
                      <a:pt x="159" y="119"/>
                    </a:lnTo>
                    <a:lnTo>
                      <a:pt x="134" y="102"/>
                    </a:lnTo>
                    <a:lnTo>
                      <a:pt x="110" y="83"/>
                    </a:lnTo>
                    <a:lnTo>
                      <a:pt x="86" y="64"/>
                    </a:lnTo>
                    <a:lnTo>
                      <a:pt x="64" y="43"/>
                    </a:lnTo>
                    <a:lnTo>
                      <a:pt x="43" y="2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21" y="67"/>
                    </a:lnTo>
                    <a:lnTo>
                      <a:pt x="41" y="86"/>
                    </a:lnTo>
                    <a:lnTo>
                      <a:pt x="64" y="107"/>
                    </a:lnTo>
                    <a:lnTo>
                      <a:pt x="88" y="126"/>
                    </a:lnTo>
                    <a:lnTo>
                      <a:pt x="112" y="143"/>
                    </a:lnTo>
                    <a:lnTo>
                      <a:pt x="137" y="162"/>
                    </a:lnTo>
                    <a:lnTo>
                      <a:pt x="163" y="178"/>
                    </a:lnTo>
                    <a:lnTo>
                      <a:pt x="190" y="194"/>
                    </a:lnTo>
                    <a:lnTo>
                      <a:pt x="190" y="194"/>
                    </a:lnTo>
                    <a:lnTo>
                      <a:pt x="215" y="209"/>
                    </a:lnTo>
                    <a:lnTo>
                      <a:pt x="242" y="221"/>
                    </a:lnTo>
                    <a:lnTo>
                      <a:pt x="269" y="233"/>
                    </a:lnTo>
                    <a:lnTo>
                      <a:pt x="297" y="244"/>
                    </a:lnTo>
                    <a:lnTo>
                      <a:pt x="297" y="244"/>
                    </a:lnTo>
                    <a:lnTo>
                      <a:pt x="282" y="213"/>
                    </a:lnTo>
                    <a:lnTo>
                      <a:pt x="269" y="182"/>
                    </a:lnTo>
                    <a:lnTo>
                      <a:pt x="269" y="182"/>
                    </a:lnTo>
                    <a:lnTo>
                      <a:pt x="241" y="169"/>
                    </a:lnTo>
                    <a:lnTo>
                      <a:pt x="212" y="153"/>
                    </a:lnTo>
                    <a:lnTo>
                      <a:pt x="212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31"/>
              <p:cNvSpPr>
                <a:spLocks/>
              </p:cNvSpPr>
              <p:nvPr/>
            </p:nvSpPr>
            <p:spPr bwMode="auto">
              <a:xfrm>
                <a:off x="2696" y="2296"/>
                <a:ext cx="29" cy="42"/>
              </a:xfrm>
              <a:custGeom>
                <a:avLst/>
                <a:gdLst>
                  <a:gd name="T0" fmla="*/ 24 w 57"/>
                  <a:gd name="T1" fmla="*/ 0 h 85"/>
                  <a:gd name="T2" fmla="*/ 24 w 57"/>
                  <a:gd name="T3" fmla="*/ 0 h 85"/>
                  <a:gd name="T4" fmla="*/ 0 w 57"/>
                  <a:gd name="T5" fmla="*/ 47 h 85"/>
                  <a:gd name="T6" fmla="*/ 0 w 57"/>
                  <a:gd name="T7" fmla="*/ 47 h 85"/>
                  <a:gd name="T8" fmla="*/ 35 w 57"/>
                  <a:gd name="T9" fmla="*/ 85 h 85"/>
                  <a:gd name="T10" fmla="*/ 35 w 57"/>
                  <a:gd name="T11" fmla="*/ 85 h 85"/>
                  <a:gd name="T12" fmla="*/ 57 w 57"/>
                  <a:gd name="T13" fmla="*/ 39 h 85"/>
                  <a:gd name="T14" fmla="*/ 57 w 57"/>
                  <a:gd name="T15" fmla="*/ 39 h 85"/>
                  <a:gd name="T16" fmla="*/ 24 w 57"/>
                  <a:gd name="T17" fmla="*/ 0 h 85"/>
                  <a:gd name="T18" fmla="*/ 24 w 57"/>
                  <a:gd name="T1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85">
                    <a:moveTo>
                      <a:pt x="24" y="0"/>
                    </a:moveTo>
                    <a:lnTo>
                      <a:pt x="24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35" y="85"/>
                    </a:lnTo>
                    <a:lnTo>
                      <a:pt x="35" y="85"/>
                    </a:lnTo>
                    <a:lnTo>
                      <a:pt x="57" y="39"/>
                    </a:lnTo>
                    <a:lnTo>
                      <a:pt x="57" y="39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3"/>
              <p:cNvSpPr>
                <a:spLocks/>
              </p:cNvSpPr>
              <p:nvPr/>
            </p:nvSpPr>
            <p:spPr bwMode="auto">
              <a:xfrm>
                <a:off x="3044" y="2088"/>
                <a:ext cx="165" cy="294"/>
              </a:xfrm>
              <a:custGeom>
                <a:avLst/>
                <a:gdLst>
                  <a:gd name="T0" fmla="*/ 60 w 328"/>
                  <a:gd name="T1" fmla="*/ 0 h 589"/>
                  <a:gd name="T2" fmla="*/ 60 w 328"/>
                  <a:gd name="T3" fmla="*/ 0 h 589"/>
                  <a:gd name="T4" fmla="*/ 0 w 328"/>
                  <a:gd name="T5" fmla="*/ 8 h 589"/>
                  <a:gd name="T6" fmla="*/ 0 w 328"/>
                  <a:gd name="T7" fmla="*/ 8 h 589"/>
                  <a:gd name="T8" fmla="*/ 14 w 328"/>
                  <a:gd name="T9" fmla="*/ 21 h 589"/>
                  <a:gd name="T10" fmla="*/ 14 w 328"/>
                  <a:gd name="T11" fmla="*/ 21 h 589"/>
                  <a:gd name="T12" fmla="*/ 49 w 328"/>
                  <a:gd name="T13" fmla="*/ 55 h 589"/>
                  <a:gd name="T14" fmla="*/ 81 w 328"/>
                  <a:gd name="T15" fmla="*/ 91 h 589"/>
                  <a:gd name="T16" fmla="*/ 111 w 328"/>
                  <a:gd name="T17" fmla="*/ 128 h 589"/>
                  <a:gd name="T18" fmla="*/ 137 w 328"/>
                  <a:gd name="T19" fmla="*/ 168 h 589"/>
                  <a:gd name="T20" fmla="*/ 162 w 328"/>
                  <a:gd name="T21" fmla="*/ 206 h 589"/>
                  <a:gd name="T22" fmla="*/ 183 w 328"/>
                  <a:gd name="T23" fmla="*/ 246 h 589"/>
                  <a:gd name="T24" fmla="*/ 204 w 328"/>
                  <a:gd name="T25" fmla="*/ 286 h 589"/>
                  <a:gd name="T26" fmla="*/ 221 w 328"/>
                  <a:gd name="T27" fmla="*/ 326 h 589"/>
                  <a:gd name="T28" fmla="*/ 236 w 328"/>
                  <a:gd name="T29" fmla="*/ 365 h 589"/>
                  <a:gd name="T30" fmla="*/ 250 w 328"/>
                  <a:gd name="T31" fmla="*/ 402 h 589"/>
                  <a:gd name="T32" fmla="*/ 261 w 328"/>
                  <a:gd name="T33" fmla="*/ 439 h 589"/>
                  <a:gd name="T34" fmla="*/ 271 w 328"/>
                  <a:gd name="T35" fmla="*/ 474 h 589"/>
                  <a:gd name="T36" fmla="*/ 287 w 328"/>
                  <a:gd name="T37" fmla="*/ 538 h 589"/>
                  <a:gd name="T38" fmla="*/ 296 w 328"/>
                  <a:gd name="T39" fmla="*/ 589 h 589"/>
                  <a:gd name="T40" fmla="*/ 296 w 328"/>
                  <a:gd name="T41" fmla="*/ 589 h 589"/>
                  <a:gd name="T42" fmla="*/ 314 w 328"/>
                  <a:gd name="T43" fmla="*/ 549 h 589"/>
                  <a:gd name="T44" fmla="*/ 328 w 328"/>
                  <a:gd name="T45" fmla="*/ 506 h 589"/>
                  <a:gd name="T46" fmla="*/ 328 w 328"/>
                  <a:gd name="T47" fmla="*/ 506 h 589"/>
                  <a:gd name="T48" fmla="*/ 314 w 328"/>
                  <a:gd name="T49" fmla="*/ 452 h 589"/>
                  <a:gd name="T50" fmla="*/ 296 w 328"/>
                  <a:gd name="T51" fmla="*/ 391 h 589"/>
                  <a:gd name="T52" fmla="*/ 285 w 328"/>
                  <a:gd name="T53" fmla="*/ 359 h 589"/>
                  <a:gd name="T54" fmla="*/ 272 w 328"/>
                  <a:gd name="T55" fmla="*/ 327 h 589"/>
                  <a:gd name="T56" fmla="*/ 260 w 328"/>
                  <a:gd name="T57" fmla="*/ 294 h 589"/>
                  <a:gd name="T58" fmla="*/ 244 w 328"/>
                  <a:gd name="T59" fmla="*/ 260 h 589"/>
                  <a:gd name="T60" fmla="*/ 226 w 328"/>
                  <a:gd name="T61" fmla="*/ 227 h 589"/>
                  <a:gd name="T62" fmla="*/ 209 w 328"/>
                  <a:gd name="T63" fmla="*/ 193 h 589"/>
                  <a:gd name="T64" fmla="*/ 188 w 328"/>
                  <a:gd name="T65" fmla="*/ 158 h 589"/>
                  <a:gd name="T66" fmla="*/ 167 w 328"/>
                  <a:gd name="T67" fmla="*/ 126 h 589"/>
                  <a:gd name="T68" fmla="*/ 143 w 328"/>
                  <a:gd name="T69" fmla="*/ 93 h 589"/>
                  <a:gd name="T70" fmla="*/ 118 w 328"/>
                  <a:gd name="T71" fmla="*/ 61 h 589"/>
                  <a:gd name="T72" fmla="*/ 91 w 328"/>
                  <a:gd name="T73" fmla="*/ 31 h 589"/>
                  <a:gd name="T74" fmla="*/ 60 w 328"/>
                  <a:gd name="T75" fmla="*/ 0 h 589"/>
                  <a:gd name="T76" fmla="*/ 60 w 328"/>
                  <a:gd name="T77" fmla="*/ 0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8" h="589">
                    <a:moveTo>
                      <a:pt x="60" y="0"/>
                    </a:moveTo>
                    <a:lnTo>
                      <a:pt x="60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49" y="55"/>
                    </a:lnTo>
                    <a:lnTo>
                      <a:pt x="81" y="91"/>
                    </a:lnTo>
                    <a:lnTo>
                      <a:pt x="111" y="128"/>
                    </a:lnTo>
                    <a:lnTo>
                      <a:pt x="137" y="168"/>
                    </a:lnTo>
                    <a:lnTo>
                      <a:pt x="162" y="206"/>
                    </a:lnTo>
                    <a:lnTo>
                      <a:pt x="183" y="246"/>
                    </a:lnTo>
                    <a:lnTo>
                      <a:pt x="204" y="286"/>
                    </a:lnTo>
                    <a:lnTo>
                      <a:pt x="221" y="326"/>
                    </a:lnTo>
                    <a:lnTo>
                      <a:pt x="236" y="365"/>
                    </a:lnTo>
                    <a:lnTo>
                      <a:pt x="250" y="402"/>
                    </a:lnTo>
                    <a:lnTo>
                      <a:pt x="261" y="439"/>
                    </a:lnTo>
                    <a:lnTo>
                      <a:pt x="271" y="474"/>
                    </a:lnTo>
                    <a:lnTo>
                      <a:pt x="287" y="538"/>
                    </a:lnTo>
                    <a:lnTo>
                      <a:pt x="296" y="589"/>
                    </a:lnTo>
                    <a:lnTo>
                      <a:pt x="296" y="589"/>
                    </a:lnTo>
                    <a:lnTo>
                      <a:pt x="314" y="549"/>
                    </a:lnTo>
                    <a:lnTo>
                      <a:pt x="328" y="506"/>
                    </a:lnTo>
                    <a:lnTo>
                      <a:pt x="328" y="506"/>
                    </a:lnTo>
                    <a:lnTo>
                      <a:pt x="314" y="452"/>
                    </a:lnTo>
                    <a:lnTo>
                      <a:pt x="296" y="391"/>
                    </a:lnTo>
                    <a:lnTo>
                      <a:pt x="285" y="359"/>
                    </a:lnTo>
                    <a:lnTo>
                      <a:pt x="272" y="327"/>
                    </a:lnTo>
                    <a:lnTo>
                      <a:pt x="260" y="294"/>
                    </a:lnTo>
                    <a:lnTo>
                      <a:pt x="244" y="260"/>
                    </a:lnTo>
                    <a:lnTo>
                      <a:pt x="226" y="227"/>
                    </a:lnTo>
                    <a:lnTo>
                      <a:pt x="209" y="193"/>
                    </a:lnTo>
                    <a:lnTo>
                      <a:pt x="188" y="158"/>
                    </a:lnTo>
                    <a:lnTo>
                      <a:pt x="167" y="126"/>
                    </a:lnTo>
                    <a:lnTo>
                      <a:pt x="143" y="93"/>
                    </a:lnTo>
                    <a:lnTo>
                      <a:pt x="118" y="61"/>
                    </a:lnTo>
                    <a:lnTo>
                      <a:pt x="91" y="31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4"/>
              <p:cNvSpPr>
                <a:spLocks/>
              </p:cNvSpPr>
              <p:nvPr/>
            </p:nvSpPr>
            <p:spPr bwMode="auto">
              <a:xfrm>
                <a:off x="2740" y="1964"/>
                <a:ext cx="161" cy="45"/>
              </a:xfrm>
              <a:custGeom>
                <a:avLst/>
                <a:gdLst>
                  <a:gd name="T0" fmla="*/ 322 w 322"/>
                  <a:gd name="T1" fmla="*/ 49 h 90"/>
                  <a:gd name="T2" fmla="*/ 322 w 322"/>
                  <a:gd name="T3" fmla="*/ 49 h 90"/>
                  <a:gd name="T4" fmla="*/ 287 w 322"/>
                  <a:gd name="T5" fmla="*/ 38 h 90"/>
                  <a:gd name="T6" fmla="*/ 253 w 322"/>
                  <a:gd name="T7" fmla="*/ 30 h 90"/>
                  <a:gd name="T8" fmla="*/ 188 w 322"/>
                  <a:gd name="T9" fmla="*/ 16 h 90"/>
                  <a:gd name="T10" fmla="*/ 129 w 322"/>
                  <a:gd name="T11" fmla="*/ 6 h 90"/>
                  <a:gd name="T12" fmla="*/ 78 w 322"/>
                  <a:gd name="T13" fmla="*/ 0 h 90"/>
                  <a:gd name="T14" fmla="*/ 78 w 322"/>
                  <a:gd name="T15" fmla="*/ 0 h 90"/>
                  <a:gd name="T16" fmla="*/ 38 w 322"/>
                  <a:gd name="T17" fmla="*/ 19 h 90"/>
                  <a:gd name="T18" fmla="*/ 0 w 322"/>
                  <a:gd name="T19" fmla="*/ 41 h 90"/>
                  <a:gd name="T20" fmla="*/ 0 w 322"/>
                  <a:gd name="T21" fmla="*/ 41 h 90"/>
                  <a:gd name="T22" fmla="*/ 51 w 322"/>
                  <a:gd name="T23" fmla="*/ 44 h 90"/>
                  <a:gd name="T24" fmla="*/ 82 w 322"/>
                  <a:gd name="T25" fmla="*/ 47 h 90"/>
                  <a:gd name="T26" fmla="*/ 119 w 322"/>
                  <a:gd name="T27" fmla="*/ 52 h 90"/>
                  <a:gd name="T28" fmla="*/ 159 w 322"/>
                  <a:gd name="T29" fmla="*/ 59 h 90"/>
                  <a:gd name="T30" fmla="*/ 202 w 322"/>
                  <a:gd name="T31" fmla="*/ 67 h 90"/>
                  <a:gd name="T32" fmla="*/ 248 w 322"/>
                  <a:gd name="T33" fmla="*/ 78 h 90"/>
                  <a:gd name="T34" fmla="*/ 295 w 322"/>
                  <a:gd name="T35" fmla="*/ 90 h 90"/>
                  <a:gd name="T36" fmla="*/ 295 w 322"/>
                  <a:gd name="T37" fmla="*/ 90 h 90"/>
                  <a:gd name="T38" fmla="*/ 322 w 322"/>
                  <a:gd name="T39" fmla="*/ 49 h 90"/>
                  <a:gd name="T40" fmla="*/ 322 w 322"/>
                  <a:gd name="T41" fmla="*/ 4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2" h="90">
                    <a:moveTo>
                      <a:pt x="322" y="49"/>
                    </a:moveTo>
                    <a:lnTo>
                      <a:pt x="322" y="49"/>
                    </a:lnTo>
                    <a:lnTo>
                      <a:pt x="287" y="38"/>
                    </a:lnTo>
                    <a:lnTo>
                      <a:pt x="253" y="30"/>
                    </a:lnTo>
                    <a:lnTo>
                      <a:pt x="188" y="16"/>
                    </a:lnTo>
                    <a:lnTo>
                      <a:pt x="129" y="6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38" y="19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1" y="44"/>
                    </a:lnTo>
                    <a:lnTo>
                      <a:pt x="82" y="47"/>
                    </a:lnTo>
                    <a:lnTo>
                      <a:pt x="119" y="52"/>
                    </a:lnTo>
                    <a:lnTo>
                      <a:pt x="159" y="59"/>
                    </a:lnTo>
                    <a:lnTo>
                      <a:pt x="202" y="67"/>
                    </a:lnTo>
                    <a:lnTo>
                      <a:pt x="248" y="78"/>
                    </a:lnTo>
                    <a:lnTo>
                      <a:pt x="295" y="90"/>
                    </a:lnTo>
                    <a:lnTo>
                      <a:pt x="295" y="90"/>
                    </a:lnTo>
                    <a:lnTo>
                      <a:pt x="322" y="49"/>
                    </a:lnTo>
                    <a:lnTo>
                      <a:pt x="322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5"/>
              <p:cNvSpPr>
                <a:spLocks/>
              </p:cNvSpPr>
              <p:nvPr/>
            </p:nvSpPr>
            <p:spPr bwMode="auto">
              <a:xfrm>
                <a:off x="2911" y="1996"/>
                <a:ext cx="140" cy="76"/>
              </a:xfrm>
              <a:custGeom>
                <a:avLst/>
                <a:gdLst>
                  <a:gd name="T0" fmla="*/ 216 w 279"/>
                  <a:gd name="T1" fmla="*/ 151 h 151"/>
                  <a:gd name="T2" fmla="*/ 216 w 279"/>
                  <a:gd name="T3" fmla="*/ 151 h 151"/>
                  <a:gd name="T4" fmla="*/ 279 w 279"/>
                  <a:gd name="T5" fmla="*/ 140 h 151"/>
                  <a:gd name="T6" fmla="*/ 279 w 279"/>
                  <a:gd name="T7" fmla="*/ 140 h 151"/>
                  <a:gd name="T8" fmla="*/ 249 w 279"/>
                  <a:gd name="T9" fmla="*/ 116 h 151"/>
                  <a:gd name="T10" fmla="*/ 219 w 279"/>
                  <a:gd name="T11" fmla="*/ 96 h 151"/>
                  <a:gd name="T12" fmla="*/ 187 w 279"/>
                  <a:gd name="T13" fmla="*/ 75 h 151"/>
                  <a:gd name="T14" fmla="*/ 155 w 279"/>
                  <a:gd name="T15" fmla="*/ 57 h 151"/>
                  <a:gd name="T16" fmla="*/ 123 w 279"/>
                  <a:gd name="T17" fmla="*/ 41 h 151"/>
                  <a:gd name="T18" fmla="*/ 90 w 279"/>
                  <a:gd name="T19" fmla="*/ 25 h 151"/>
                  <a:gd name="T20" fmla="*/ 58 w 279"/>
                  <a:gd name="T21" fmla="*/ 11 h 151"/>
                  <a:gd name="T22" fmla="*/ 26 w 279"/>
                  <a:gd name="T23" fmla="*/ 0 h 151"/>
                  <a:gd name="T24" fmla="*/ 26 w 279"/>
                  <a:gd name="T25" fmla="*/ 0 h 151"/>
                  <a:gd name="T26" fmla="*/ 0 w 279"/>
                  <a:gd name="T27" fmla="*/ 41 h 151"/>
                  <a:gd name="T28" fmla="*/ 0 w 279"/>
                  <a:gd name="T29" fmla="*/ 41 h 151"/>
                  <a:gd name="T30" fmla="*/ 55 w 279"/>
                  <a:gd name="T31" fmla="*/ 62 h 151"/>
                  <a:gd name="T32" fmla="*/ 82 w 279"/>
                  <a:gd name="T33" fmla="*/ 73 h 151"/>
                  <a:gd name="T34" fmla="*/ 109 w 279"/>
                  <a:gd name="T35" fmla="*/ 88 h 151"/>
                  <a:gd name="T36" fmla="*/ 136 w 279"/>
                  <a:gd name="T37" fmla="*/ 102 h 151"/>
                  <a:gd name="T38" fmla="*/ 163 w 279"/>
                  <a:gd name="T39" fmla="*/ 116 h 151"/>
                  <a:gd name="T40" fmla="*/ 190 w 279"/>
                  <a:gd name="T41" fmla="*/ 132 h 151"/>
                  <a:gd name="T42" fmla="*/ 216 w 279"/>
                  <a:gd name="T43" fmla="*/ 151 h 151"/>
                  <a:gd name="T44" fmla="*/ 216 w 279"/>
                  <a:gd name="T45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9" h="151">
                    <a:moveTo>
                      <a:pt x="216" y="151"/>
                    </a:moveTo>
                    <a:lnTo>
                      <a:pt x="216" y="151"/>
                    </a:lnTo>
                    <a:lnTo>
                      <a:pt x="279" y="140"/>
                    </a:lnTo>
                    <a:lnTo>
                      <a:pt x="279" y="140"/>
                    </a:lnTo>
                    <a:lnTo>
                      <a:pt x="249" y="116"/>
                    </a:lnTo>
                    <a:lnTo>
                      <a:pt x="219" y="96"/>
                    </a:lnTo>
                    <a:lnTo>
                      <a:pt x="187" y="75"/>
                    </a:lnTo>
                    <a:lnTo>
                      <a:pt x="155" y="57"/>
                    </a:lnTo>
                    <a:lnTo>
                      <a:pt x="123" y="41"/>
                    </a:lnTo>
                    <a:lnTo>
                      <a:pt x="90" y="25"/>
                    </a:lnTo>
                    <a:lnTo>
                      <a:pt x="58" y="1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5" y="62"/>
                    </a:lnTo>
                    <a:lnTo>
                      <a:pt x="82" y="73"/>
                    </a:lnTo>
                    <a:lnTo>
                      <a:pt x="109" y="88"/>
                    </a:lnTo>
                    <a:lnTo>
                      <a:pt x="136" y="102"/>
                    </a:lnTo>
                    <a:lnTo>
                      <a:pt x="163" y="116"/>
                    </a:lnTo>
                    <a:lnTo>
                      <a:pt x="190" y="132"/>
                    </a:lnTo>
                    <a:lnTo>
                      <a:pt x="216" y="151"/>
                    </a:lnTo>
                    <a:lnTo>
                      <a:pt x="216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6"/>
              <p:cNvSpPr>
                <a:spLocks/>
              </p:cNvSpPr>
              <p:nvPr/>
            </p:nvSpPr>
            <p:spPr bwMode="auto">
              <a:xfrm>
                <a:off x="3019" y="2067"/>
                <a:ext cx="56" cy="25"/>
              </a:xfrm>
              <a:custGeom>
                <a:avLst/>
                <a:gdLst>
                  <a:gd name="T0" fmla="*/ 63 w 111"/>
                  <a:gd name="T1" fmla="*/ 0 h 51"/>
                  <a:gd name="T2" fmla="*/ 63 w 111"/>
                  <a:gd name="T3" fmla="*/ 0 h 51"/>
                  <a:gd name="T4" fmla="*/ 0 w 111"/>
                  <a:gd name="T5" fmla="*/ 11 h 51"/>
                  <a:gd name="T6" fmla="*/ 0 w 111"/>
                  <a:gd name="T7" fmla="*/ 11 h 51"/>
                  <a:gd name="T8" fmla="*/ 25 w 111"/>
                  <a:gd name="T9" fmla="*/ 31 h 51"/>
                  <a:gd name="T10" fmla="*/ 51 w 111"/>
                  <a:gd name="T11" fmla="*/ 51 h 51"/>
                  <a:gd name="T12" fmla="*/ 51 w 111"/>
                  <a:gd name="T13" fmla="*/ 51 h 51"/>
                  <a:gd name="T14" fmla="*/ 111 w 111"/>
                  <a:gd name="T15" fmla="*/ 43 h 51"/>
                  <a:gd name="T16" fmla="*/ 111 w 111"/>
                  <a:gd name="T17" fmla="*/ 43 h 51"/>
                  <a:gd name="T18" fmla="*/ 97 w 111"/>
                  <a:gd name="T19" fmla="*/ 29 h 51"/>
                  <a:gd name="T20" fmla="*/ 97 w 111"/>
                  <a:gd name="T21" fmla="*/ 29 h 51"/>
                  <a:gd name="T22" fmla="*/ 63 w 111"/>
                  <a:gd name="T23" fmla="*/ 0 h 51"/>
                  <a:gd name="T24" fmla="*/ 63 w 111"/>
                  <a:gd name="T2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1" h="51">
                    <a:moveTo>
                      <a:pt x="63" y="0"/>
                    </a:moveTo>
                    <a:lnTo>
                      <a:pt x="63" y="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5" y="31"/>
                    </a:lnTo>
                    <a:lnTo>
                      <a:pt x="51" y="51"/>
                    </a:lnTo>
                    <a:lnTo>
                      <a:pt x="51" y="51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7"/>
              <p:cNvSpPr>
                <a:spLocks/>
              </p:cNvSpPr>
              <p:nvPr/>
            </p:nvSpPr>
            <p:spPr bwMode="auto">
              <a:xfrm>
                <a:off x="2887" y="1989"/>
                <a:ext cx="37" cy="28"/>
              </a:xfrm>
              <a:custGeom>
                <a:avLst/>
                <a:gdLst>
                  <a:gd name="T0" fmla="*/ 73 w 73"/>
                  <a:gd name="T1" fmla="*/ 16 h 57"/>
                  <a:gd name="T2" fmla="*/ 73 w 73"/>
                  <a:gd name="T3" fmla="*/ 16 h 57"/>
                  <a:gd name="T4" fmla="*/ 27 w 73"/>
                  <a:gd name="T5" fmla="*/ 0 h 57"/>
                  <a:gd name="T6" fmla="*/ 27 w 73"/>
                  <a:gd name="T7" fmla="*/ 0 h 57"/>
                  <a:gd name="T8" fmla="*/ 0 w 73"/>
                  <a:gd name="T9" fmla="*/ 41 h 57"/>
                  <a:gd name="T10" fmla="*/ 0 w 73"/>
                  <a:gd name="T11" fmla="*/ 41 h 57"/>
                  <a:gd name="T12" fmla="*/ 47 w 73"/>
                  <a:gd name="T13" fmla="*/ 57 h 57"/>
                  <a:gd name="T14" fmla="*/ 47 w 73"/>
                  <a:gd name="T15" fmla="*/ 57 h 57"/>
                  <a:gd name="T16" fmla="*/ 73 w 73"/>
                  <a:gd name="T17" fmla="*/ 16 h 57"/>
                  <a:gd name="T18" fmla="*/ 73 w 73"/>
                  <a:gd name="T19" fmla="*/ 1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57">
                    <a:moveTo>
                      <a:pt x="73" y="16"/>
                    </a:moveTo>
                    <a:lnTo>
                      <a:pt x="73" y="16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47" y="57"/>
                    </a:lnTo>
                    <a:lnTo>
                      <a:pt x="47" y="57"/>
                    </a:lnTo>
                    <a:lnTo>
                      <a:pt x="73" y="16"/>
                    </a:lnTo>
                    <a:lnTo>
                      <a:pt x="73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2"/>
              <p:cNvSpPr>
                <a:spLocks/>
              </p:cNvSpPr>
              <p:nvPr/>
            </p:nvSpPr>
            <p:spPr bwMode="auto">
              <a:xfrm>
                <a:off x="2848" y="2406"/>
                <a:ext cx="46" cy="42"/>
              </a:xfrm>
              <a:custGeom>
                <a:avLst/>
                <a:gdLst>
                  <a:gd name="T0" fmla="*/ 28 w 91"/>
                  <a:gd name="T1" fmla="*/ 62 h 82"/>
                  <a:gd name="T2" fmla="*/ 28 w 91"/>
                  <a:gd name="T3" fmla="*/ 62 h 82"/>
                  <a:gd name="T4" fmla="*/ 59 w 91"/>
                  <a:gd name="T5" fmla="*/ 73 h 82"/>
                  <a:gd name="T6" fmla="*/ 91 w 91"/>
                  <a:gd name="T7" fmla="*/ 82 h 82"/>
                  <a:gd name="T8" fmla="*/ 91 w 91"/>
                  <a:gd name="T9" fmla="*/ 82 h 82"/>
                  <a:gd name="T10" fmla="*/ 77 w 91"/>
                  <a:gd name="T11" fmla="*/ 54 h 82"/>
                  <a:gd name="T12" fmla="*/ 63 w 91"/>
                  <a:gd name="T13" fmla="*/ 25 h 82"/>
                  <a:gd name="T14" fmla="*/ 63 w 91"/>
                  <a:gd name="T15" fmla="*/ 25 h 82"/>
                  <a:gd name="T16" fmla="*/ 31 w 91"/>
                  <a:gd name="T17" fmla="*/ 12 h 82"/>
                  <a:gd name="T18" fmla="*/ 0 w 91"/>
                  <a:gd name="T19" fmla="*/ 0 h 82"/>
                  <a:gd name="T20" fmla="*/ 0 w 91"/>
                  <a:gd name="T21" fmla="*/ 0 h 82"/>
                  <a:gd name="T22" fmla="*/ 13 w 91"/>
                  <a:gd name="T23" fmla="*/ 31 h 82"/>
                  <a:gd name="T24" fmla="*/ 28 w 91"/>
                  <a:gd name="T25" fmla="*/ 62 h 82"/>
                  <a:gd name="T26" fmla="*/ 28 w 91"/>
                  <a:gd name="T27" fmla="*/ 6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1" h="82">
                    <a:moveTo>
                      <a:pt x="28" y="62"/>
                    </a:moveTo>
                    <a:lnTo>
                      <a:pt x="28" y="62"/>
                    </a:lnTo>
                    <a:lnTo>
                      <a:pt x="59" y="73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77" y="54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31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31"/>
                    </a:lnTo>
                    <a:lnTo>
                      <a:pt x="28" y="62"/>
                    </a:lnTo>
                    <a:lnTo>
                      <a:pt x="28" y="6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13"/>
              <p:cNvSpPr>
                <a:spLocks/>
              </p:cNvSpPr>
              <p:nvPr/>
            </p:nvSpPr>
            <p:spPr bwMode="auto">
              <a:xfrm>
                <a:off x="2834" y="2391"/>
                <a:ext cx="69" cy="66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745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250"/>
                            </p:stCondLst>
                            <p:childTnLst>
                              <p:par>
                                <p:cTn id="3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2" grpId="0" animBg="1"/>
      <p:bldP spid="30" grpId="0"/>
      <p:bldP spid="51" grpId="0"/>
      <p:bldP spid="5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3"/>
          <p:cNvSpPr txBox="1">
            <a:spLocks/>
          </p:cNvSpPr>
          <p:nvPr/>
        </p:nvSpPr>
        <p:spPr>
          <a:xfrm>
            <a:off x="9233055" y="3341112"/>
            <a:ext cx="3813408" cy="649857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5073"/>
              </a:buClr>
            </a:pPr>
            <a:endParaRPr sz="1200">
              <a:solidFill>
                <a:srgbClr val="005073"/>
              </a:solidFill>
            </a:endParaRPr>
          </a:p>
        </p:txBody>
      </p:sp>
      <p:sp>
        <p:nvSpPr>
          <p:cNvPr id="26" name="Round Same Side Corner Rectangle 25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Title 1"/>
          <p:cNvSpPr txBox="1">
            <a:spLocks/>
          </p:cNvSpPr>
          <p:nvPr/>
        </p:nvSpPr>
        <p:spPr bwMode="auto">
          <a:xfrm>
            <a:off x="1235966" y="360378"/>
            <a:ext cx="7440862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200" b="0" i="0" u="none" kern="120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2pPr>
            <a:lvl3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3pPr>
            <a:lvl4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4pPr>
            <a:lvl5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5pPr>
            <a:lvl6pPr marL="457189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78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66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54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</a:pPr>
            <a:r>
              <a:rPr sz="2000" dirty="0" smtClean="0">
                <a:solidFill>
                  <a:srgbClr val="005073"/>
                </a:solidFill>
              </a:rPr>
              <a:t>Example Penetration </a:t>
            </a:r>
            <a:r>
              <a:rPr sz="2000" dirty="0">
                <a:solidFill>
                  <a:srgbClr val="005073"/>
                </a:solidFill>
              </a:rPr>
              <a:t>T</a:t>
            </a:r>
            <a:r>
              <a:rPr sz="2000" dirty="0" smtClean="0">
                <a:solidFill>
                  <a:srgbClr val="005073"/>
                </a:solidFill>
              </a:rPr>
              <a:t>est </a:t>
            </a:r>
            <a:r>
              <a:rPr sz="2000" dirty="0">
                <a:solidFill>
                  <a:srgbClr val="005073"/>
                </a:solidFill>
              </a:rPr>
              <a:t>P</a:t>
            </a:r>
            <a:r>
              <a:rPr sz="2000" dirty="0" smtClean="0">
                <a:solidFill>
                  <a:srgbClr val="005073"/>
                </a:solidFill>
              </a:rPr>
              <a:t>rogression</a:t>
            </a:r>
            <a:endParaRPr sz="1800" dirty="0">
              <a:solidFill>
                <a:srgbClr val="005073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-84844" y="1448094"/>
            <a:ext cx="4854804" cy="445267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Exploited a known backdoor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-84841" y="2001979"/>
            <a:ext cx="4854804" cy="57916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Obtained access to sensitive systems through unfettered lateral movement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-84841" y="2689759"/>
            <a:ext cx="4854804" cy="445267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Compromised a wealth of operational data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-84844" y="3243644"/>
            <a:ext cx="4854804" cy="57916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Obtained admin control of servers 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-84843" y="3931424"/>
            <a:ext cx="4854804" cy="579162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Compromised </a:t>
            </a:r>
            <a:r>
              <a:rPr lang="en-US" sz="1600" dirty="0" smtClean="0">
                <a:solidFill>
                  <a:srgbClr val="FFFFFF"/>
                </a:solidFill>
                <a:latin typeface="CiscoSansTT Light" charset="0"/>
                <a:ea typeface="CiscoSansTT Light" charset="0"/>
                <a:cs typeface="CiscoSansTT Light" charset="0"/>
              </a:rPr>
              <a:t>several access systems</a:t>
            </a:r>
            <a:endParaRPr lang="en-US" sz="1600" dirty="0">
              <a:solidFill>
                <a:srgbClr val="FFFFFF"/>
              </a:solidFill>
              <a:latin typeface="CiscoSansTT Light" charset="0"/>
              <a:ea typeface="CiscoSansTT Light" charset="0"/>
              <a:cs typeface="CiscoSansTT Light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804140" y="1410082"/>
            <a:ext cx="4339860" cy="3062492"/>
            <a:chOff x="4803525" y="1448094"/>
            <a:chExt cx="4339860" cy="3062492"/>
          </a:xfrm>
        </p:grpSpPr>
        <p:grpSp>
          <p:nvGrpSpPr>
            <p:cNvPr id="9" name="Group 8"/>
            <p:cNvGrpSpPr/>
            <p:nvPr/>
          </p:nvGrpSpPr>
          <p:grpSpPr>
            <a:xfrm>
              <a:off x="4803525" y="1448094"/>
              <a:ext cx="4339860" cy="3062492"/>
              <a:chOff x="4803525" y="1448094"/>
              <a:chExt cx="4339860" cy="3062492"/>
            </a:xfrm>
            <a:solidFill>
              <a:schemeClr val="tx1">
                <a:lumMod val="10000"/>
                <a:lumOff val="90000"/>
              </a:schemeClr>
            </a:solidFill>
          </p:grpSpPr>
          <p:sp>
            <p:nvSpPr>
              <p:cNvPr id="7" name="Rectangle 6"/>
              <p:cNvSpPr/>
              <p:nvPr/>
            </p:nvSpPr>
            <p:spPr>
              <a:xfrm>
                <a:off x="5024487" y="1448094"/>
                <a:ext cx="4118898" cy="306249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Triangle 7"/>
              <p:cNvSpPr/>
              <p:nvPr/>
            </p:nvSpPr>
            <p:spPr>
              <a:xfrm rot="16200000">
                <a:off x="4786743" y="1560247"/>
                <a:ext cx="254523" cy="220959"/>
              </a:xfrm>
              <a:prstGeom prst="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9" name="Text Placeholder 3"/>
            <p:cNvSpPr txBox="1">
              <a:spLocks/>
            </p:cNvSpPr>
            <p:nvPr/>
          </p:nvSpPr>
          <p:spPr>
            <a:xfrm>
              <a:off x="5187038" y="1614138"/>
              <a:ext cx="3793795" cy="649857"/>
            </a:xfrm>
            <a:prstGeom prst="rect">
              <a:avLst/>
            </a:prstGeom>
          </p:spPr>
          <p:txBody>
            <a:bodyPr/>
            <a:lstStyle>
              <a:lvl1pPr marL="169863" indent="-169863" algn="l" defTabSz="684213" rtl="0" eaLnBrk="1" fontAlgn="base" hangingPunct="1">
                <a:lnSpc>
                  <a:spcPct val="95000"/>
                </a:lnSpc>
                <a:spcBef>
                  <a:spcPts val="1075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charset="0"/>
                <a:buChar char="•"/>
                <a:defRPr lang="en-US" sz="15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1pPr>
              <a:lvl2pPr marL="358775" indent="-215900" algn="l" defTabSz="684213" rtl="0" eaLnBrk="1" fontAlgn="base" hangingPunct="1">
                <a:lnSpc>
                  <a:spcPct val="95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lang="en-US" sz="14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2pPr>
              <a:lvl3pPr marL="431800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2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3pPr>
              <a:lvl4pPr marL="503238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4pPr>
              <a:lvl5pPr marL="574675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5pPr>
              <a:lvl6pPr marL="863856" indent="-171445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35844" indent="-171422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20" indent="0" algn="l" defTabSz="685777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53" indent="-171445" algn="l" defTabSz="68577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srgbClr val="005073"/>
                </a:buClr>
                <a:buFont typeface="Arial" charset="0"/>
                <a:buNone/>
              </a:pPr>
              <a:r>
                <a:rPr sz="1400" dirty="0" smtClean="0">
                  <a:solidFill>
                    <a:srgbClr val="005073"/>
                  </a:solidFill>
                </a:rPr>
                <a:t>Sensitive data was discovered through a known exploit, which could </a:t>
              </a:r>
              <a:r>
                <a:rPr lang="en-US" sz="1400" dirty="0" smtClean="0">
                  <a:solidFill>
                    <a:srgbClr val="005073"/>
                  </a:solidFill>
                </a:rPr>
                <a:t>have</a:t>
              </a:r>
              <a:r>
                <a:rPr sz="1400" dirty="0" smtClean="0">
                  <a:solidFill>
                    <a:srgbClr val="005073"/>
                  </a:solidFill>
                </a:rPr>
                <a:t> been patched.</a:t>
              </a:r>
              <a:endParaRPr sz="1400" dirty="0">
                <a:solidFill>
                  <a:srgbClr val="005073"/>
                </a:solidFill>
              </a:endParaRPr>
            </a:p>
            <a:p>
              <a:pPr marL="0" indent="0">
                <a:buClr>
                  <a:srgbClr val="005073"/>
                </a:buClr>
                <a:buFont typeface="Arial" charset="0"/>
                <a:buNone/>
              </a:pPr>
              <a:r>
                <a:rPr lang="en-US" sz="1400" dirty="0" smtClean="0">
                  <a:solidFill>
                    <a:srgbClr val="005073"/>
                  </a:solidFill>
                </a:rPr>
                <a:t>Information obtained through this exploit was utilized for further movement and access through domain.</a:t>
              </a:r>
              <a:endParaRPr sz="1400" dirty="0">
                <a:solidFill>
                  <a:srgbClr val="005073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4804667" y="1410082"/>
            <a:ext cx="4339333" cy="3062492"/>
            <a:chOff x="4804052" y="1448094"/>
            <a:chExt cx="4339333" cy="3062492"/>
          </a:xfrm>
        </p:grpSpPr>
        <p:grpSp>
          <p:nvGrpSpPr>
            <p:cNvPr id="53" name="Group 52"/>
            <p:cNvGrpSpPr/>
            <p:nvPr/>
          </p:nvGrpSpPr>
          <p:grpSpPr>
            <a:xfrm>
              <a:off x="4804052" y="1448094"/>
              <a:ext cx="4339333" cy="3062492"/>
              <a:chOff x="4804052" y="1448094"/>
              <a:chExt cx="4339333" cy="3062492"/>
            </a:xfrm>
            <a:solidFill>
              <a:schemeClr val="tx1">
                <a:lumMod val="10000"/>
                <a:lumOff val="90000"/>
              </a:schemeClr>
            </a:solidFill>
          </p:grpSpPr>
          <p:sp>
            <p:nvSpPr>
              <p:cNvPr id="55" name="Rectangle 54"/>
              <p:cNvSpPr/>
              <p:nvPr/>
            </p:nvSpPr>
            <p:spPr>
              <a:xfrm>
                <a:off x="5024487" y="1448094"/>
                <a:ext cx="4118898" cy="306249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riangle 55"/>
              <p:cNvSpPr/>
              <p:nvPr/>
            </p:nvSpPr>
            <p:spPr>
              <a:xfrm rot="16200000">
                <a:off x="4787270" y="2187256"/>
                <a:ext cx="254523" cy="220959"/>
              </a:xfrm>
              <a:prstGeom prst="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4" name="Text Placeholder 3"/>
            <p:cNvSpPr txBox="1">
              <a:spLocks/>
            </p:cNvSpPr>
            <p:nvPr/>
          </p:nvSpPr>
          <p:spPr>
            <a:xfrm>
              <a:off x="5187038" y="1614138"/>
              <a:ext cx="3793795" cy="649857"/>
            </a:xfrm>
            <a:prstGeom prst="rect">
              <a:avLst/>
            </a:prstGeom>
          </p:spPr>
          <p:txBody>
            <a:bodyPr/>
            <a:lstStyle>
              <a:lvl1pPr marL="169863" indent="-169863" algn="l" defTabSz="684213" rtl="0" eaLnBrk="1" fontAlgn="base" hangingPunct="1">
                <a:lnSpc>
                  <a:spcPct val="95000"/>
                </a:lnSpc>
                <a:spcBef>
                  <a:spcPts val="1075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charset="0"/>
                <a:buChar char="•"/>
                <a:defRPr lang="en-US" sz="15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1pPr>
              <a:lvl2pPr marL="358775" indent="-215900" algn="l" defTabSz="684213" rtl="0" eaLnBrk="1" fontAlgn="base" hangingPunct="1">
                <a:lnSpc>
                  <a:spcPct val="95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lang="en-US" sz="14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2pPr>
              <a:lvl3pPr marL="431800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2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3pPr>
              <a:lvl4pPr marL="503238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4pPr>
              <a:lvl5pPr marL="574675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5pPr>
              <a:lvl6pPr marL="863856" indent="-171445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35844" indent="-171422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20" indent="0" algn="l" defTabSz="685777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53" indent="-171445" algn="l" defTabSz="68577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srgbClr val="005073"/>
                </a:buClr>
                <a:buFont typeface="Arial" charset="0"/>
                <a:buNone/>
              </a:pPr>
              <a:r>
                <a:rPr sz="1400" dirty="0">
                  <a:solidFill>
                    <a:srgbClr val="005073"/>
                  </a:solidFill>
                </a:rPr>
                <a:t>Lack of segmentation allowed for movement from system to </a:t>
              </a:r>
              <a:r>
                <a:rPr sz="1400" dirty="0" smtClean="0">
                  <a:solidFill>
                    <a:srgbClr val="005073"/>
                  </a:solidFill>
                </a:rPr>
                <a:t>system.  Additional access was gained through this lateral movement.</a:t>
              </a:r>
              <a:endParaRPr sz="1400" dirty="0">
                <a:solidFill>
                  <a:srgbClr val="005073"/>
                </a:solidFill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4804667" y="1410082"/>
            <a:ext cx="4339333" cy="3062492"/>
            <a:chOff x="4804052" y="1448094"/>
            <a:chExt cx="4339333" cy="3062492"/>
          </a:xfrm>
        </p:grpSpPr>
        <p:grpSp>
          <p:nvGrpSpPr>
            <p:cNvPr id="58" name="Group 57"/>
            <p:cNvGrpSpPr/>
            <p:nvPr/>
          </p:nvGrpSpPr>
          <p:grpSpPr>
            <a:xfrm>
              <a:off x="4804052" y="1448094"/>
              <a:ext cx="4339333" cy="3062492"/>
              <a:chOff x="4804052" y="1448094"/>
              <a:chExt cx="4339333" cy="3062492"/>
            </a:xfrm>
            <a:solidFill>
              <a:schemeClr val="tx1">
                <a:lumMod val="10000"/>
                <a:lumOff val="90000"/>
              </a:schemeClr>
            </a:solidFill>
          </p:grpSpPr>
          <p:sp>
            <p:nvSpPr>
              <p:cNvPr id="60" name="Rectangle 59"/>
              <p:cNvSpPr/>
              <p:nvPr/>
            </p:nvSpPr>
            <p:spPr>
              <a:xfrm>
                <a:off x="5024487" y="1448094"/>
                <a:ext cx="4118898" cy="306249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riangle 60"/>
              <p:cNvSpPr/>
              <p:nvPr/>
            </p:nvSpPr>
            <p:spPr>
              <a:xfrm rot="16200000">
                <a:off x="4787270" y="2828279"/>
                <a:ext cx="254523" cy="220959"/>
              </a:xfrm>
              <a:prstGeom prst="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9" name="Text Placeholder 3"/>
            <p:cNvSpPr txBox="1">
              <a:spLocks/>
            </p:cNvSpPr>
            <p:nvPr/>
          </p:nvSpPr>
          <p:spPr>
            <a:xfrm>
              <a:off x="5187038" y="1614138"/>
              <a:ext cx="3793795" cy="649857"/>
            </a:xfrm>
            <a:prstGeom prst="rect">
              <a:avLst/>
            </a:prstGeom>
          </p:spPr>
          <p:txBody>
            <a:bodyPr/>
            <a:lstStyle>
              <a:lvl1pPr marL="169863" indent="-169863" algn="l" defTabSz="684213" rtl="0" eaLnBrk="1" fontAlgn="base" hangingPunct="1">
                <a:lnSpc>
                  <a:spcPct val="95000"/>
                </a:lnSpc>
                <a:spcBef>
                  <a:spcPts val="1075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charset="0"/>
                <a:buChar char="•"/>
                <a:defRPr lang="en-US" sz="15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1pPr>
              <a:lvl2pPr marL="358775" indent="-215900" algn="l" defTabSz="684213" rtl="0" eaLnBrk="1" fontAlgn="base" hangingPunct="1">
                <a:lnSpc>
                  <a:spcPct val="95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lang="en-US" sz="14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2pPr>
              <a:lvl3pPr marL="431800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2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3pPr>
              <a:lvl4pPr marL="503238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4pPr>
              <a:lvl5pPr marL="574675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5pPr>
              <a:lvl6pPr marL="863856" indent="-171445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35844" indent="-171422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20" indent="0" algn="l" defTabSz="685777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53" indent="-171445" algn="l" defTabSz="68577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srgbClr val="005073"/>
                </a:buClr>
                <a:buFont typeface="Arial" charset="0"/>
                <a:buNone/>
              </a:pPr>
              <a:r>
                <a:rPr sz="1400" dirty="0" smtClean="0">
                  <a:solidFill>
                    <a:srgbClr val="005073"/>
                  </a:solidFill>
                </a:rPr>
                <a:t>Actionable </a:t>
              </a:r>
              <a:r>
                <a:rPr sz="1400" dirty="0">
                  <a:solidFill>
                    <a:srgbClr val="005073"/>
                  </a:solidFill>
                </a:rPr>
                <a:t>i</a:t>
              </a:r>
              <a:r>
                <a:rPr sz="1400" dirty="0" smtClean="0">
                  <a:solidFill>
                    <a:srgbClr val="005073"/>
                  </a:solidFill>
                </a:rPr>
                <a:t>ntelligence </a:t>
              </a:r>
              <a:r>
                <a:rPr sz="1400" dirty="0">
                  <a:solidFill>
                    <a:srgbClr val="005073"/>
                  </a:solidFill>
                </a:rPr>
                <a:t>gained for attacking the SP and its </a:t>
              </a:r>
              <a:r>
                <a:rPr sz="1400" dirty="0" smtClean="0">
                  <a:solidFill>
                    <a:srgbClr val="005073"/>
                  </a:solidFill>
                </a:rPr>
                <a:t>customers.</a:t>
              </a:r>
              <a:endParaRPr sz="1400" dirty="0">
                <a:solidFill>
                  <a:srgbClr val="005073"/>
                </a:solidFill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4804667" y="1410082"/>
            <a:ext cx="4339333" cy="3062492"/>
            <a:chOff x="4804052" y="1448094"/>
            <a:chExt cx="4339333" cy="3062492"/>
          </a:xfrm>
        </p:grpSpPr>
        <p:grpSp>
          <p:nvGrpSpPr>
            <p:cNvPr id="63" name="Group 62"/>
            <p:cNvGrpSpPr/>
            <p:nvPr/>
          </p:nvGrpSpPr>
          <p:grpSpPr>
            <a:xfrm>
              <a:off x="4804052" y="1448094"/>
              <a:ext cx="4339333" cy="3062492"/>
              <a:chOff x="4804052" y="1448094"/>
              <a:chExt cx="4339333" cy="3062492"/>
            </a:xfrm>
            <a:solidFill>
              <a:schemeClr val="tx1">
                <a:lumMod val="10000"/>
                <a:lumOff val="90000"/>
              </a:schemeClr>
            </a:solidFill>
          </p:grpSpPr>
          <p:sp>
            <p:nvSpPr>
              <p:cNvPr id="65" name="Rectangle 64"/>
              <p:cNvSpPr/>
              <p:nvPr/>
            </p:nvSpPr>
            <p:spPr>
              <a:xfrm>
                <a:off x="5024487" y="1448094"/>
                <a:ext cx="4118898" cy="306249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Triangle 65"/>
              <p:cNvSpPr/>
              <p:nvPr/>
            </p:nvSpPr>
            <p:spPr>
              <a:xfrm rot="16200000">
                <a:off x="4787270" y="3450448"/>
                <a:ext cx="254523" cy="220959"/>
              </a:xfrm>
              <a:prstGeom prst="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4" name="Text Placeholder 3"/>
            <p:cNvSpPr txBox="1">
              <a:spLocks/>
            </p:cNvSpPr>
            <p:nvPr/>
          </p:nvSpPr>
          <p:spPr>
            <a:xfrm>
              <a:off x="5187038" y="1614138"/>
              <a:ext cx="3793795" cy="649857"/>
            </a:xfrm>
            <a:prstGeom prst="rect">
              <a:avLst/>
            </a:prstGeom>
          </p:spPr>
          <p:txBody>
            <a:bodyPr/>
            <a:lstStyle>
              <a:lvl1pPr marL="169863" indent="-169863" algn="l" defTabSz="684213" rtl="0" eaLnBrk="1" fontAlgn="base" hangingPunct="1">
                <a:lnSpc>
                  <a:spcPct val="95000"/>
                </a:lnSpc>
                <a:spcBef>
                  <a:spcPts val="1075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charset="0"/>
                <a:buChar char="•"/>
                <a:defRPr lang="en-US" sz="15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1pPr>
              <a:lvl2pPr marL="358775" indent="-215900" algn="l" defTabSz="684213" rtl="0" eaLnBrk="1" fontAlgn="base" hangingPunct="1">
                <a:lnSpc>
                  <a:spcPct val="95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lang="en-US" sz="14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2pPr>
              <a:lvl3pPr marL="431800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2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3pPr>
              <a:lvl4pPr marL="503238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4pPr>
              <a:lvl5pPr marL="574675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5pPr>
              <a:lvl6pPr marL="863856" indent="-171445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35844" indent="-171422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20" indent="0" algn="l" defTabSz="685777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53" indent="-171445" algn="l" defTabSz="68577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srgbClr val="005073"/>
                </a:buClr>
                <a:buFont typeface="Arial" charset="0"/>
                <a:buNone/>
              </a:pPr>
              <a:r>
                <a:rPr sz="1400" dirty="0" smtClean="0">
                  <a:solidFill>
                    <a:srgbClr val="005073"/>
                  </a:solidFill>
                </a:rPr>
                <a:t>Sensitive information obtained through </a:t>
              </a:r>
              <a:r>
                <a:rPr sz="1400" dirty="0">
                  <a:solidFill>
                    <a:srgbClr val="005073"/>
                  </a:solidFill>
                </a:rPr>
                <a:t>the exploited backdoor allowed for full control of </a:t>
              </a:r>
              <a:r>
                <a:rPr sz="1400" dirty="0" smtClean="0">
                  <a:solidFill>
                    <a:srgbClr val="005073"/>
                  </a:solidFill>
                </a:rPr>
                <a:t>systems at the OS level within the test scope.</a:t>
              </a:r>
              <a:endParaRPr sz="1400" dirty="0">
                <a:solidFill>
                  <a:srgbClr val="005073"/>
                </a:solidFill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4804667" y="1410082"/>
            <a:ext cx="4339333" cy="3062492"/>
            <a:chOff x="4804052" y="1448094"/>
            <a:chExt cx="4339333" cy="3062492"/>
          </a:xfrm>
        </p:grpSpPr>
        <p:grpSp>
          <p:nvGrpSpPr>
            <p:cNvPr id="68" name="Group 67"/>
            <p:cNvGrpSpPr/>
            <p:nvPr/>
          </p:nvGrpSpPr>
          <p:grpSpPr>
            <a:xfrm>
              <a:off x="4804052" y="1448094"/>
              <a:ext cx="4339333" cy="3062492"/>
              <a:chOff x="4804052" y="1448094"/>
              <a:chExt cx="4339333" cy="3062492"/>
            </a:xfrm>
            <a:solidFill>
              <a:schemeClr val="tx1">
                <a:lumMod val="10000"/>
                <a:lumOff val="90000"/>
              </a:schemeClr>
            </a:solidFill>
          </p:grpSpPr>
          <p:sp>
            <p:nvSpPr>
              <p:cNvPr id="70" name="Rectangle 69"/>
              <p:cNvSpPr/>
              <p:nvPr/>
            </p:nvSpPr>
            <p:spPr>
              <a:xfrm>
                <a:off x="5024487" y="1448094"/>
                <a:ext cx="4118898" cy="3062492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Triangle 70"/>
              <p:cNvSpPr/>
              <p:nvPr/>
            </p:nvSpPr>
            <p:spPr>
              <a:xfrm rot="16200000">
                <a:off x="4787270" y="4110326"/>
                <a:ext cx="254523" cy="220959"/>
              </a:xfrm>
              <a:prstGeom prst="triangle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69" name="Text Placeholder 3"/>
            <p:cNvSpPr txBox="1">
              <a:spLocks/>
            </p:cNvSpPr>
            <p:nvPr/>
          </p:nvSpPr>
          <p:spPr>
            <a:xfrm>
              <a:off x="5187038" y="1614138"/>
              <a:ext cx="3793795" cy="649857"/>
            </a:xfrm>
            <a:prstGeom prst="rect">
              <a:avLst/>
            </a:prstGeom>
          </p:spPr>
          <p:txBody>
            <a:bodyPr/>
            <a:lstStyle>
              <a:lvl1pPr marL="169863" indent="-169863" algn="l" defTabSz="684213" rtl="0" eaLnBrk="1" fontAlgn="base" hangingPunct="1">
                <a:lnSpc>
                  <a:spcPct val="95000"/>
                </a:lnSpc>
                <a:spcBef>
                  <a:spcPts val="1075"/>
                </a:spcBef>
                <a:spcAft>
                  <a:spcPct val="0"/>
                </a:spcAft>
                <a:buClr>
                  <a:schemeClr val="tx2"/>
                </a:buClr>
                <a:buSzPct val="90000"/>
                <a:buFont typeface="Arial" charset="0"/>
                <a:buChar char="•"/>
                <a:defRPr lang="en-US" sz="15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1pPr>
              <a:lvl2pPr marL="358775" indent="-215900" algn="l" defTabSz="684213" rtl="0" eaLnBrk="1" fontAlgn="base" hangingPunct="1">
                <a:lnSpc>
                  <a:spcPct val="95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tx2"/>
                </a:buClr>
                <a:buFont typeface="Arial" charset="0"/>
                <a:buChar char="•"/>
                <a:defRPr lang="en-US" sz="14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2pPr>
              <a:lvl3pPr marL="431800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2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3pPr>
              <a:lvl4pPr marL="503238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4pPr>
              <a:lvl5pPr marL="574675" indent="-169863" algn="l" defTabSz="684213" rtl="0" eaLnBrk="1" fontAlgn="base" hangingPunct="1">
                <a:lnSpc>
                  <a:spcPct val="95000"/>
                </a:lnSpc>
                <a:spcBef>
                  <a:spcPts val="625"/>
                </a:spcBef>
                <a:spcAft>
                  <a:spcPct val="0"/>
                </a:spcAft>
                <a:buFont typeface="Arial" charset="0"/>
                <a:buChar char="•"/>
                <a:defRPr lang="en-US" sz="1100" kern="1200" dirty="0">
                  <a:solidFill>
                    <a:schemeClr val="tx1"/>
                  </a:solidFill>
                  <a:latin typeface="+mn-lt"/>
                  <a:ea typeface="ＭＳ Ｐゴシック" charset="0"/>
                  <a:cs typeface="CiscoSans"/>
                </a:defRPr>
              </a:lvl5pPr>
              <a:lvl6pPr marL="863856" indent="-171445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9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935844" indent="-171422" algn="l" defTabSz="685777" rtl="0" eaLnBrk="1" latinLnBrk="0" hangingPunct="1">
                <a:spcBef>
                  <a:spcPts val="600"/>
                </a:spcBef>
                <a:buFont typeface="Arial" pitchFamily="34" charset="0"/>
                <a:buChar char="•"/>
                <a:defRPr sz="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220" indent="0" algn="l" defTabSz="685777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553" indent="-171445" algn="l" defTabSz="68577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Clr>
                  <a:srgbClr val="005073"/>
                </a:buClr>
                <a:buFont typeface="Arial" charset="0"/>
                <a:buNone/>
              </a:pPr>
              <a:r>
                <a:rPr sz="1400" dirty="0" smtClean="0">
                  <a:solidFill>
                    <a:srgbClr val="005073"/>
                  </a:solidFill>
                </a:rPr>
                <a:t>Previously compromised data was utilized to access and manipulate mult</a:t>
              </a:r>
              <a:r>
                <a:rPr lang="en-US" sz="1400" dirty="0" smtClean="0">
                  <a:solidFill>
                    <a:srgbClr val="005073"/>
                  </a:solidFill>
                </a:rPr>
                <a:t>i</a:t>
              </a:r>
              <a:r>
                <a:rPr sz="1400" dirty="0" smtClean="0">
                  <a:solidFill>
                    <a:srgbClr val="005073"/>
                  </a:solidFill>
                </a:rPr>
                <a:t>ple crucial access systems. </a:t>
              </a:r>
              <a:endParaRPr sz="1400" dirty="0">
                <a:solidFill>
                  <a:srgbClr val="005073"/>
                </a:solidFill>
              </a:endParaRPr>
            </a:p>
          </p:txBody>
        </p:sp>
      </p:grpSp>
      <p:pic>
        <p:nvPicPr>
          <p:cNvPr id="38" name="Picture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99" y="527048"/>
            <a:ext cx="519060" cy="519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0307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5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1" grpId="0" animBg="1"/>
      <p:bldP spid="32" grpId="0" animBg="1"/>
      <p:bldP spid="33" grpId="0" animBg="1"/>
      <p:bldP spid="3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205664" y="1085081"/>
            <a:ext cx="44117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rgbClr val="005073"/>
                </a:solidFill>
                <a:latin typeface="+mn-lt"/>
                <a:ea typeface="CiscoSansTT Thin" charset="0"/>
                <a:cs typeface="CiscoSansTT Thin" charset="0"/>
              </a:rPr>
              <a:t>Steady-State – Traffic destined to subscriber:</a:t>
            </a:r>
            <a:endParaRPr lang="en-US" sz="1600" dirty="0">
              <a:solidFill>
                <a:srgbClr val="005073"/>
              </a:solidFill>
              <a:latin typeface="+mn-lt"/>
              <a:ea typeface="CiscoSansTT Thin" charset="0"/>
              <a:cs typeface="CiscoSansTT Thin" charset="0"/>
            </a:endParaRPr>
          </a:p>
          <a:p>
            <a:r>
              <a:rPr lang="en-US" sz="1600" b="1" dirty="0" smtClean="0">
                <a:solidFill>
                  <a:schemeClr val="accent2"/>
                </a:solidFill>
                <a:latin typeface="+mn-lt"/>
              </a:rPr>
              <a:t>Allowed</a:t>
            </a:r>
            <a:endParaRPr lang="en-US" sz="16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89" name="Cloud 88"/>
          <p:cNvSpPr/>
          <p:nvPr/>
        </p:nvSpPr>
        <p:spPr>
          <a:xfrm>
            <a:off x="698486" y="1740293"/>
            <a:ext cx="1737408" cy="2390620"/>
          </a:xfrm>
          <a:prstGeom prst="cloud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90" name="Cloud 89"/>
          <p:cNvSpPr/>
          <p:nvPr/>
        </p:nvSpPr>
        <p:spPr>
          <a:xfrm>
            <a:off x="2251371" y="1586707"/>
            <a:ext cx="3989295" cy="2697793"/>
          </a:xfrm>
          <a:prstGeom prst="cloud">
            <a:avLst/>
          </a:prstGeom>
          <a:solidFill>
            <a:schemeClr val="accent5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3" name="Right Arrow 112"/>
          <p:cNvSpPr/>
          <p:nvPr/>
        </p:nvSpPr>
        <p:spPr>
          <a:xfrm rot="10800000" flipV="1">
            <a:off x="1949212" y="2796058"/>
            <a:ext cx="880574" cy="14850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2" name="Right Arrow 111"/>
          <p:cNvSpPr/>
          <p:nvPr/>
        </p:nvSpPr>
        <p:spPr>
          <a:xfrm rot="12000097" flipV="1">
            <a:off x="2450233" y="3016095"/>
            <a:ext cx="2075381" cy="14850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1" name="Right Arrow 110"/>
          <p:cNvSpPr/>
          <p:nvPr/>
        </p:nvSpPr>
        <p:spPr>
          <a:xfrm rot="9680214" flipV="1">
            <a:off x="3925917" y="3105273"/>
            <a:ext cx="2154991" cy="148508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04" name="Cloud 103"/>
          <p:cNvSpPr/>
          <p:nvPr/>
        </p:nvSpPr>
        <p:spPr>
          <a:xfrm>
            <a:off x="6213401" y="943900"/>
            <a:ext cx="2668751" cy="4391983"/>
          </a:xfrm>
          <a:prstGeom prst="cloud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2820985" y="183565"/>
            <a:ext cx="8404944" cy="397971"/>
          </a:xfrm>
          <a:prstGeom prst="rect">
            <a:avLst/>
          </a:prstGeom>
        </p:spPr>
        <p:txBody>
          <a:bodyPr lIns="0" tIns="0" rIns="0" bIns="0"/>
          <a:lstStyle/>
          <a:p>
            <a:pPr marL="233363" indent="-233363" defTabSz="684213">
              <a:spcBef>
                <a:spcPts val="2000"/>
              </a:spcBef>
              <a:buSzPct val="100000"/>
              <a:buFont typeface="Arial" charset="0"/>
              <a:buChar char="•"/>
            </a:pPr>
            <a:endParaRPr lang="en-US" kern="0" dirty="0" smtClean="0">
              <a:solidFill>
                <a:srgbClr val="005073"/>
              </a:solidFill>
              <a:latin typeface="+mn-lt"/>
              <a:cs typeface="CiscoSans"/>
            </a:endParaRPr>
          </a:p>
        </p:txBody>
      </p:sp>
      <p:grpSp>
        <p:nvGrpSpPr>
          <p:cNvPr id="50" name="Group 49"/>
          <p:cNvGrpSpPr>
            <a:grpSpLocks noChangeAspect="1"/>
          </p:cNvGrpSpPr>
          <p:nvPr/>
        </p:nvGrpSpPr>
        <p:grpSpPr>
          <a:xfrm>
            <a:off x="1190259" y="2514176"/>
            <a:ext cx="758952" cy="758952"/>
            <a:chOff x="5253221" y="2455518"/>
            <a:chExt cx="966043" cy="969264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3221" y="2455518"/>
              <a:ext cx="966043" cy="969264"/>
            </a:xfrm>
            <a:prstGeom prst="rect">
              <a:avLst/>
            </a:prstGeom>
          </p:spPr>
        </p:pic>
        <p:sp>
          <p:nvSpPr>
            <p:cNvPr id="52" name="Freeform 33"/>
            <p:cNvSpPr>
              <a:spLocks noEditPoints="1"/>
            </p:cNvSpPr>
            <p:nvPr/>
          </p:nvSpPr>
          <p:spPr bwMode="auto">
            <a:xfrm>
              <a:off x="5811897" y="3032186"/>
              <a:ext cx="138102" cy="161552"/>
            </a:xfrm>
            <a:custGeom>
              <a:avLst/>
              <a:gdLst>
                <a:gd name="T0" fmla="*/ 473 w 564"/>
                <a:gd name="T1" fmla="*/ 45 h 460"/>
                <a:gd name="T2" fmla="*/ 457 w 564"/>
                <a:gd name="T3" fmla="*/ 20 h 460"/>
                <a:gd name="T4" fmla="*/ 433 w 564"/>
                <a:gd name="T5" fmla="*/ 4 h 460"/>
                <a:gd name="T6" fmla="*/ 150 w 564"/>
                <a:gd name="T7" fmla="*/ 0 h 460"/>
                <a:gd name="T8" fmla="*/ 131 w 564"/>
                <a:gd name="T9" fmla="*/ 4 h 460"/>
                <a:gd name="T10" fmla="*/ 107 w 564"/>
                <a:gd name="T11" fmla="*/ 20 h 460"/>
                <a:gd name="T12" fmla="*/ 91 w 564"/>
                <a:gd name="T13" fmla="*/ 45 h 460"/>
                <a:gd name="T14" fmla="*/ 40 w 564"/>
                <a:gd name="T15" fmla="*/ 174 h 460"/>
                <a:gd name="T16" fmla="*/ 14 w 564"/>
                <a:gd name="T17" fmla="*/ 190 h 460"/>
                <a:gd name="T18" fmla="*/ 1 w 564"/>
                <a:gd name="T19" fmla="*/ 214 h 460"/>
                <a:gd name="T20" fmla="*/ 65 w 564"/>
                <a:gd name="T21" fmla="*/ 382 h 460"/>
                <a:gd name="T22" fmla="*/ 67 w 564"/>
                <a:gd name="T23" fmla="*/ 428 h 460"/>
                <a:gd name="T24" fmla="*/ 78 w 564"/>
                <a:gd name="T25" fmla="*/ 449 h 460"/>
                <a:gd name="T26" fmla="*/ 99 w 564"/>
                <a:gd name="T27" fmla="*/ 460 h 460"/>
                <a:gd name="T28" fmla="*/ 115 w 564"/>
                <a:gd name="T29" fmla="*/ 460 h 460"/>
                <a:gd name="T30" fmla="*/ 134 w 564"/>
                <a:gd name="T31" fmla="*/ 449 h 460"/>
                <a:gd name="T32" fmla="*/ 145 w 564"/>
                <a:gd name="T33" fmla="*/ 428 h 460"/>
                <a:gd name="T34" fmla="*/ 418 w 564"/>
                <a:gd name="T35" fmla="*/ 382 h 460"/>
                <a:gd name="T36" fmla="*/ 419 w 564"/>
                <a:gd name="T37" fmla="*/ 428 h 460"/>
                <a:gd name="T38" fmla="*/ 430 w 564"/>
                <a:gd name="T39" fmla="*/ 449 h 460"/>
                <a:gd name="T40" fmla="*/ 451 w 564"/>
                <a:gd name="T41" fmla="*/ 460 h 460"/>
                <a:gd name="T42" fmla="*/ 467 w 564"/>
                <a:gd name="T43" fmla="*/ 460 h 460"/>
                <a:gd name="T44" fmla="*/ 486 w 564"/>
                <a:gd name="T45" fmla="*/ 449 h 460"/>
                <a:gd name="T46" fmla="*/ 497 w 564"/>
                <a:gd name="T47" fmla="*/ 428 h 460"/>
                <a:gd name="T48" fmla="*/ 564 w 564"/>
                <a:gd name="T49" fmla="*/ 382 h 460"/>
                <a:gd name="T50" fmla="*/ 563 w 564"/>
                <a:gd name="T51" fmla="*/ 214 h 460"/>
                <a:gd name="T52" fmla="*/ 550 w 564"/>
                <a:gd name="T53" fmla="*/ 190 h 460"/>
                <a:gd name="T54" fmla="*/ 526 w 564"/>
                <a:gd name="T55" fmla="*/ 174 h 460"/>
                <a:gd name="T56" fmla="*/ 145 w 564"/>
                <a:gd name="T57" fmla="*/ 69 h 460"/>
                <a:gd name="T58" fmla="*/ 151 w 564"/>
                <a:gd name="T59" fmla="*/ 59 h 460"/>
                <a:gd name="T60" fmla="*/ 402 w 564"/>
                <a:gd name="T61" fmla="*/ 56 h 460"/>
                <a:gd name="T62" fmla="*/ 410 w 564"/>
                <a:gd name="T63" fmla="*/ 59 h 460"/>
                <a:gd name="T64" fmla="*/ 451 w 564"/>
                <a:gd name="T65" fmla="*/ 173 h 460"/>
                <a:gd name="T66" fmla="*/ 146 w 564"/>
                <a:gd name="T67" fmla="*/ 327 h 460"/>
                <a:gd name="T68" fmla="*/ 129 w 564"/>
                <a:gd name="T69" fmla="*/ 323 h 460"/>
                <a:gd name="T70" fmla="*/ 108 w 564"/>
                <a:gd name="T71" fmla="*/ 307 h 460"/>
                <a:gd name="T72" fmla="*/ 99 w 564"/>
                <a:gd name="T73" fmla="*/ 280 h 460"/>
                <a:gd name="T74" fmla="*/ 103 w 564"/>
                <a:gd name="T75" fmla="*/ 260 h 460"/>
                <a:gd name="T76" fmla="*/ 121 w 564"/>
                <a:gd name="T77" fmla="*/ 240 h 460"/>
                <a:gd name="T78" fmla="*/ 146 w 564"/>
                <a:gd name="T79" fmla="*/ 232 h 460"/>
                <a:gd name="T80" fmla="*/ 166 w 564"/>
                <a:gd name="T81" fmla="*/ 236 h 460"/>
                <a:gd name="T82" fmla="*/ 186 w 564"/>
                <a:gd name="T83" fmla="*/ 252 h 460"/>
                <a:gd name="T84" fmla="*/ 194 w 564"/>
                <a:gd name="T85" fmla="*/ 280 h 460"/>
                <a:gd name="T86" fmla="*/ 191 w 564"/>
                <a:gd name="T87" fmla="*/ 299 h 460"/>
                <a:gd name="T88" fmla="*/ 174 w 564"/>
                <a:gd name="T89" fmla="*/ 319 h 460"/>
                <a:gd name="T90" fmla="*/ 146 w 564"/>
                <a:gd name="T91" fmla="*/ 327 h 460"/>
                <a:gd name="T92" fmla="*/ 418 w 564"/>
                <a:gd name="T93" fmla="*/ 327 h 460"/>
                <a:gd name="T94" fmla="*/ 390 w 564"/>
                <a:gd name="T95" fmla="*/ 319 h 460"/>
                <a:gd name="T96" fmla="*/ 374 w 564"/>
                <a:gd name="T97" fmla="*/ 299 h 460"/>
                <a:gd name="T98" fmla="*/ 370 w 564"/>
                <a:gd name="T99" fmla="*/ 280 h 460"/>
                <a:gd name="T100" fmla="*/ 378 w 564"/>
                <a:gd name="T101" fmla="*/ 252 h 460"/>
                <a:gd name="T102" fmla="*/ 398 w 564"/>
                <a:gd name="T103" fmla="*/ 236 h 460"/>
                <a:gd name="T104" fmla="*/ 418 w 564"/>
                <a:gd name="T105" fmla="*/ 232 h 460"/>
                <a:gd name="T106" fmla="*/ 445 w 564"/>
                <a:gd name="T107" fmla="*/ 240 h 460"/>
                <a:gd name="T108" fmla="*/ 461 w 564"/>
                <a:gd name="T109" fmla="*/ 260 h 460"/>
                <a:gd name="T110" fmla="*/ 465 w 564"/>
                <a:gd name="T111" fmla="*/ 280 h 460"/>
                <a:gd name="T112" fmla="*/ 457 w 564"/>
                <a:gd name="T113" fmla="*/ 307 h 460"/>
                <a:gd name="T114" fmla="*/ 437 w 564"/>
                <a:gd name="T115" fmla="*/ 323 h 460"/>
                <a:gd name="T116" fmla="*/ 418 w 564"/>
                <a:gd name="T117" fmla="*/ 327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4" h="460">
                  <a:moveTo>
                    <a:pt x="516" y="173"/>
                  </a:moveTo>
                  <a:lnTo>
                    <a:pt x="473" y="45"/>
                  </a:lnTo>
                  <a:lnTo>
                    <a:pt x="473" y="45"/>
                  </a:lnTo>
                  <a:lnTo>
                    <a:pt x="470" y="36"/>
                  </a:lnTo>
                  <a:lnTo>
                    <a:pt x="464" y="28"/>
                  </a:lnTo>
                  <a:lnTo>
                    <a:pt x="457" y="20"/>
                  </a:lnTo>
                  <a:lnTo>
                    <a:pt x="451" y="13"/>
                  </a:lnTo>
                  <a:lnTo>
                    <a:pt x="443" y="8"/>
                  </a:lnTo>
                  <a:lnTo>
                    <a:pt x="433" y="4"/>
                  </a:lnTo>
                  <a:lnTo>
                    <a:pt x="424" y="0"/>
                  </a:lnTo>
                  <a:lnTo>
                    <a:pt x="414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0" y="0"/>
                  </a:lnTo>
                  <a:lnTo>
                    <a:pt x="131" y="4"/>
                  </a:lnTo>
                  <a:lnTo>
                    <a:pt x="123" y="8"/>
                  </a:lnTo>
                  <a:lnTo>
                    <a:pt x="113" y="13"/>
                  </a:lnTo>
                  <a:lnTo>
                    <a:pt x="107" y="20"/>
                  </a:lnTo>
                  <a:lnTo>
                    <a:pt x="100" y="28"/>
                  </a:lnTo>
                  <a:lnTo>
                    <a:pt x="94" y="36"/>
                  </a:lnTo>
                  <a:lnTo>
                    <a:pt x="91" y="45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0" y="174"/>
                  </a:lnTo>
                  <a:lnTo>
                    <a:pt x="30" y="177"/>
                  </a:lnTo>
                  <a:lnTo>
                    <a:pt x="22" y="184"/>
                  </a:lnTo>
                  <a:lnTo>
                    <a:pt x="14" y="190"/>
                  </a:lnTo>
                  <a:lnTo>
                    <a:pt x="9" y="197"/>
                  </a:lnTo>
                  <a:lnTo>
                    <a:pt x="5" y="206"/>
                  </a:lnTo>
                  <a:lnTo>
                    <a:pt x="1" y="214"/>
                  </a:lnTo>
                  <a:lnTo>
                    <a:pt x="0" y="225"/>
                  </a:lnTo>
                  <a:lnTo>
                    <a:pt x="0" y="382"/>
                  </a:lnTo>
                  <a:lnTo>
                    <a:pt x="65" y="382"/>
                  </a:lnTo>
                  <a:lnTo>
                    <a:pt x="65" y="420"/>
                  </a:lnTo>
                  <a:lnTo>
                    <a:pt x="65" y="420"/>
                  </a:lnTo>
                  <a:lnTo>
                    <a:pt x="67" y="428"/>
                  </a:lnTo>
                  <a:lnTo>
                    <a:pt x="68" y="436"/>
                  </a:lnTo>
                  <a:lnTo>
                    <a:pt x="73" y="442"/>
                  </a:lnTo>
                  <a:lnTo>
                    <a:pt x="78" y="449"/>
                  </a:lnTo>
                  <a:lnTo>
                    <a:pt x="83" y="453"/>
                  </a:lnTo>
                  <a:lnTo>
                    <a:pt x="91" y="456"/>
                  </a:lnTo>
                  <a:lnTo>
                    <a:pt x="99" y="460"/>
                  </a:lnTo>
                  <a:lnTo>
                    <a:pt x="107" y="460"/>
                  </a:lnTo>
                  <a:lnTo>
                    <a:pt x="107" y="460"/>
                  </a:lnTo>
                  <a:lnTo>
                    <a:pt x="115" y="460"/>
                  </a:lnTo>
                  <a:lnTo>
                    <a:pt x="121" y="456"/>
                  </a:lnTo>
                  <a:lnTo>
                    <a:pt x="129" y="453"/>
                  </a:lnTo>
                  <a:lnTo>
                    <a:pt x="134" y="449"/>
                  </a:lnTo>
                  <a:lnTo>
                    <a:pt x="138" y="442"/>
                  </a:lnTo>
                  <a:lnTo>
                    <a:pt x="143" y="436"/>
                  </a:lnTo>
                  <a:lnTo>
                    <a:pt x="145" y="428"/>
                  </a:lnTo>
                  <a:lnTo>
                    <a:pt x="146" y="420"/>
                  </a:lnTo>
                  <a:lnTo>
                    <a:pt x="146" y="382"/>
                  </a:lnTo>
                  <a:lnTo>
                    <a:pt x="418" y="382"/>
                  </a:lnTo>
                  <a:lnTo>
                    <a:pt x="418" y="420"/>
                  </a:lnTo>
                  <a:lnTo>
                    <a:pt x="418" y="420"/>
                  </a:lnTo>
                  <a:lnTo>
                    <a:pt x="419" y="428"/>
                  </a:lnTo>
                  <a:lnTo>
                    <a:pt x="421" y="436"/>
                  </a:lnTo>
                  <a:lnTo>
                    <a:pt x="426" y="442"/>
                  </a:lnTo>
                  <a:lnTo>
                    <a:pt x="430" y="449"/>
                  </a:lnTo>
                  <a:lnTo>
                    <a:pt x="437" y="453"/>
                  </a:lnTo>
                  <a:lnTo>
                    <a:pt x="443" y="456"/>
                  </a:lnTo>
                  <a:lnTo>
                    <a:pt x="451" y="460"/>
                  </a:lnTo>
                  <a:lnTo>
                    <a:pt x="459" y="460"/>
                  </a:lnTo>
                  <a:lnTo>
                    <a:pt x="459" y="460"/>
                  </a:lnTo>
                  <a:lnTo>
                    <a:pt x="467" y="460"/>
                  </a:lnTo>
                  <a:lnTo>
                    <a:pt x="473" y="456"/>
                  </a:lnTo>
                  <a:lnTo>
                    <a:pt x="481" y="453"/>
                  </a:lnTo>
                  <a:lnTo>
                    <a:pt x="486" y="449"/>
                  </a:lnTo>
                  <a:lnTo>
                    <a:pt x="492" y="442"/>
                  </a:lnTo>
                  <a:lnTo>
                    <a:pt x="496" y="436"/>
                  </a:lnTo>
                  <a:lnTo>
                    <a:pt x="497" y="428"/>
                  </a:lnTo>
                  <a:lnTo>
                    <a:pt x="499" y="420"/>
                  </a:lnTo>
                  <a:lnTo>
                    <a:pt x="499" y="382"/>
                  </a:lnTo>
                  <a:lnTo>
                    <a:pt x="564" y="382"/>
                  </a:lnTo>
                  <a:lnTo>
                    <a:pt x="564" y="225"/>
                  </a:lnTo>
                  <a:lnTo>
                    <a:pt x="564" y="225"/>
                  </a:lnTo>
                  <a:lnTo>
                    <a:pt x="563" y="214"/>
                  </a:lnTo>
                  <a:lnTo>
                    <a:pt x="559" y="206"/>
                  </a:lnTo>
                  <a:lnTo>
                    <a:pt x="556" y="197"/>
                  </a:lnTo>
                  <a:lnTo>
                    <a:pt x="550" y="190"/>
                  </a:lnTo>
                  <a:lnTo>
                    <a:pt x="542" y="184"/>
                  </a:lnTo>
                  <a:lnTo>
                    <a:pt x="534" y="177"/>
                  </a:lnTo>
                  <a:lnTo>
                    <a:pt x="526" y="174"/>
                  </a:lnTo>
                  <a:lnTo>
                    <a:pt x="516" y="173"/>
                  </a:lnTo>
                  <a:lnTo>
                    <a:pt x="516" y="173"/>
                  </a:lnTo>
                  <a:close/>
                  <a:moveTo>
                    <a:pt x="145" y="69"/>
                  </a:moveTo>
                  <a:lnTo>
                    <a:pt x="145" y="69"/>
                  </a:lnTo>
                  <a:lnTo>
                    <a:pt x="148" y="64"/>
                  </a:lnTo>
                  <a:lnTo>
                    <a:pt x="151" y="59"/>
                  </a:lnTo>
                  <a:lnTo>
                    <a:pt x="156" y="58"/>
                  </a:lnTo>
                  <a:lnTo>
                    <a:pt x="161" y="56"/>
                  </a:lnTo>
                  <a:lnTo>
                    <a:pt x="402" y="56"/>
                  </a:lnTo>
                  <a:lnTo>
                    <a:pt x="402" y="56"/>
                  </a:lnTo>
                  <a:lnTo>
                    <a:pt x="406" y="58"/>
                  </a:lnTo>
                  <a:lnTo>
                    <a:pt x="410" y="59"/>
                  </a:lnTo>
                  <a:lnTo>
                    <a:pt x="414" y="64"/>
                  </a:lnTo>
                  <a:lnTo>
                    <a:pt x="418" y="69"/>
                  </a:lnTo>
                  <a:lnTo>
                    <a:pt x="451" y="173"/>
                  </a:lnTo>
                  <a:lnTo>
                    <a:pt x="111" y="173"/>
                  </a:lnTo>
                  <a:lnTo>
                    <a:pt x="145" y="69"/>
                  </a:lnTo>
                  <a:close/>
                  <a:moveTo>
                    <a:pt x="146" y="327"/>
                  </a:moveTo>
                  <a:lnTo>
                    <a:pt x="146" y="327"/>
                  </a:lnTo>
                  <a:lnTo>
                    <a:pt x="137" y="326"/>
                  </a:lnTo>
                  <a:lnTo>
                    <a:pt x="129" y="323"/>
                  </a:lnTo>
                  <a:lnTo>
                    <a:pt x="121" y="319"/>
                  </a:lnTo>
                  <a:lnTo>
                    <a:pt x="113" y="313"/>
                  </a:lnTo>
                  <a:lnTo>
                    <a:pt x="108" y="307"/>
                  </a:lnTo>
                  <a:lnTo>
                    <a:pt x="103" y="299"/>
                  </a:lnTo>
                  <a:lnTo>
                    <a:pt x="100" y="289"/>
                  </a:lnTo>
                  <a:lnTo>
                    <a:pt x="99" y="280"/>
                  </a:lnTo>
                  <a:lnTo>
                    <a:pt x="99" y="280"/>
                  </a:lnTo>
                  <a:lnTo>
                    <a:pt x="100" y="270"/>
                  </a:lnTo>
                  <a:lnTo>
                    <a:pt x="103" y="260"/>
                  </a:lnTo>
                  <a:lnTo>
                    <a:pt x="108" y="252"/>
                  </a:lnTo>
                  <a:lnTo>
                    <a:pt x="113" y="246"/>
                  </a:lnTo>
                  <a:lnTo>
                    <a:pt x="121" y="240"/>
                  </a:lnTo>
                  <a:lnTo>
                    <a:pt x="129" y="236"/>
                  </a:lnTo>
                  <a:lnTo>
                    <a:pt x="137" y="233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56" y="233"/>
                  </a:lnTo>
                  <a:lnTo>
                    <a:pt x="166" y="236"/>
                  </a:lnTo>
                  <a:lnTo>
                    <a:pt x="174" y="240"/>
                  </a:lnTo>
                  <a:lnTo>
                    <a:pt x="180" y="246"/>
                  </a:lnTo>
                  <a:lnTo>
                    <a:pt x="186" y="252"/>
                  </a:lnTo>
                  <a:lnTo>
                    <a:pt x="191" y="260"/>
                  </a:lnTo>
                  <a:lnTo>
                    <a:pt x="193" y="270"/>
                  </a:lnTo>
                  <a:lnTo>
                    <a:pt x="194" y="280"/>
                  </a:lnTo>
                  <a:lnTo>
                    <a:pt x="194" y="280"/>
                  </a:lnTo>
                  <a:lnTo>
                    <a:pt x="193" y="289"/>
                  </a:lnTo>
                  <a:lnTo>
                    <a:pt x="191" y="299"/>
                  </a:lnTo>
                  <a:lnTo>
                    <a:pt x="186" y="307"/>
                  </a:lnTo>
                  <a:lnTo>
                    <a:pt x="180" y="313"/>
                  </a:lnTo>
                  <a:lnTo>
                    <a:pt x="174" y="319"/>
                  </a:lnTo>
                  <a:lnTo>
                    <a:pt x="166" y="323"/>
                  </a:lnTo>
                  <a:lnTo>
                    <a:pt x="156" y="326"/>
                  </a:lnTo>
                  <a:lnTo>
                    <a:pt x="146" y="327"/>
                  </a:lnTo>
                  <a:lnTo>
                    <a:pt x="146" y="327"/>
                  </a:lnTo>
                  <a:close/>
                  <a:moveTo>
                    <a:pt x="418" y="327"/>
                  </a:moveTo>
                  <a:lnTo>
                    <a:pt x="418" y="327"/>
                  </a:lnTo>
                  <a:lnTo>
                    <a:pt x="408" y="326"/>
                  </a:lnTo>
                  <a:lnTo>
                    <a:pt x="398" y="323"/>
                  </a:lnTo>
                  <a:lnTo>
                    <a:pt x="390" y="319"/>
                  </a:lnTo>
                  <a:lnTo>
                    <a:pt x="384" y="313"/>
                  </a:lnTo>
                  <a:lnTo>
                    <a:pt x="378" y="307"/>
                  </a:lnTo>
                  <a:lnTo>
                    <a:pt x="374" y="299"/>
                  </a:lnTo>
                  <a:lnTo>
                    <a:pt x="371" y="289"/>
                  </a:lnTo>
                  <a:lnTo>
                    <a:pt x="370" y="280"/>
                  </a:lnTo>
                  <a:lnTo>
                    <a:pt x="370" y="280"/>
                  </a:lnTo>
                  <a:lnTo>
                    <a:pt x="371" y="270"/>
                  </a:lnTo>
                  <a:lnTo>
                    <a:pt x="374" y="260"/>
                  </a:lnTo>
                  <a:lnTo>
                    <a:pt x="378" y="252"/>
                  </a:lnTo>
                  <a:lnTo>
                    <a:pt x="384" y="246"/>
                  </a:lnTo>
                  <a:lnTo>
                    <a:pt x="390" y="240"/>
                  </a:lnTo>
                  <a:lnTo>
                    <a:pt x="398" y="236"/>
                  </a:lnTo>
                  <a:lnTo>
                    <a:pt x="408" y="233"/>
                  </a:lnTo>
                  <a:lnTo>
                    <a:pt x="418" y="232"/>
                  </a:lnTo>
                  <a:lnTo>
                    <a:pt x="418" y="232"/>
                  </a:lnTo>
                  <a:lnTo>
                    <a:pt x="427" y="233"/>
                  </a:lnTo>
                  <a:lnTo>
                    <a:pt x="437" y="236"/>
                  </a:lnTo>
                  <a:lnTo>
                    <a:pt x="445" y="240"/>
                  </a:lnTo>
                  <a:lnTo>
                    <a:pt x="451" y="246"/>
                  </a:lnTo>
                  <a:lnTo>
                    <a:pt x="457" y="252"/>
                  </a:lnTo>
                  <a:lnTo>
                    <a:pt x="461" y="260"/>
                  </a:lnTo>
                  <a:lnTo>
                    <a:pt x="464" y="270"/>
                  </a:lnTo>
                  <a:lnTo>
                    <a:pt x="465" y="280"/>
                  </a:lnTo>
                  <a:lnTo>
                    <a:pt x="465" y="280"/>
                  </a:lnTo>
                  <a:lnTo>
                    <a:pt x="464" y="289"/>
                  </a:lnTo>
                  <a:lnTo>
                    <a:pt x="461" y="299"/>
                  </a:lnTo>
                  <a:lnTo>
                    <a:pt x="457" y="307"/>
                  </a:lnTo>
                  <a:lnTo>
                    <a:pt x="451" y="313"/>
                  </a:lnTo>
                  <a:lnTo>
                    <a:pt x="445" y="319"/>
                  </a:lnTo>
                  <a:lnTo>
                    <a:pt x="437" y="323"/>
                  </a:lnTo>
                  <a:lnTo>
                    <a:pt x="427" y="326"/>
                  </a:lnTo>
                  <a:lnTo>
                    <a:pt x="418" y="327"/>
                  </a:lnTo>
                  <a:lnTo>
                    <a:pt x="418" y="327"/>
                  </a:lnTo>
                  <a:close/>
                </a:path>
              </a:pathLst>
            </a:custGeom>
            <a:solidFill>
              <a:srgbClr val="00BC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US" sz="2400">
                <a:solidFill>
                  <a:srgbClr val="282828"/>
                </a:solidFill>
                <a:latin typeface="+mn-lt"/>
              </a:endParaRPr>
            </a:p>
          </p:txBody>
        </p:sp>
      </p:grpSp>
      <p:grpSp>
        <p:nvGrpSpPr>
          <p:cNvPr id="184" name="Group 183"/>
          <p:cNvGrpSpPr/>
          <p:nvPr/>
        </p:nvGrpSpPr>
        <p:grpSpPr>
          <a:xfrm>
            <a:off x="-291778" y="5417912"/>
            <a:ext cx="758952" cy="758952"/>
            <a:chOff x="1537155" y="1405136"/>
            <a:chExt cx="758952" cy="758952"/>
          </a:xfrm>
        </p:grpSpPr>
        <p:sp>
          <p:nvSpPr>
            <p:cNvPr id="66" name="Oval 65"/>
            <p:cNvSpPr>
              <a:spLocks noChangeAspect="1"/>
            </p:cNvSpPr>
            <p:nvPr/>
          </p:nvSpPr>
          <p:spPr>
            <a:xfrm>
              <a:off x="1537155" y="1405136"/>
              <a:ext cx="758952" cy="758952"/>
            </a:xfrm>
            <a:prstGeom prst="ellipse">
              <a:avLst/>
            </a:prstGeom>
            <a:solidFill>
              <a:srgbClr val="00507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005073"/>
                </a:solidFill>
              </a:endParaRPr>
            </a:p>
          </p:txBody>
        </p:sp>
        <p:grpSp>
          <p:nvGrpSpPr>
            <p:cNvPr id="181" name="Group 180"/>
            <p:cNvGrpSpPr/>
            <p:nvPr/>
          </p:nvGrpSpPr>
          <p:grpSpPr>
            <a:xfrm>
              <a:off x="1694072" y="1570063"/>
              <a:ext cx="458180" cy="440758"/>
              <a:chOff x="9463090" y="6346031"/>
              <a:chExt cx="417513" cy="401638"/>
            </a:xfrm>
            <a:solidFill>
              <a:srgbClr val="FBB330"/>
            </a:solidFill>
            <a:effectLst/>
          </p:grpSpPr>
          <p:sp>
            <p:nvSpPr>
              <p:cNvPr id="182" name="Freeform 421"/>
              <p:cNvSpPr>
                <a:spLocks/>
              </p:cNvSpPr>
              <p:nvPr/>
            </p:nvSpPr>
            <p:spPr bwMode="auto">
              <a:xfrm>
                <a:off x="9609140" y="6346031"/>
                <a:ext cx="271463" cy="290513"/>
              </a:xfrm>
              <a:custGeom>
                <a:avLst/>
                <a:gdLst>
                  <a:gd name="T0" fmla="*/ 698 w 1193"/>
                  <a:gd name="T1" fmla="*/ 295 h 1279"/>
                  <a:gd name="T2" fmla="*/ 636 w 1193"/>
                  <a:gd name="T3" fmla="*/ 0 h 1279"/>
                  <a:gd name="T4" fmla="*/ 636 w 1193"/>
                  <a:gd name="T5" fmla="*/ 974 h 1279"/>
                  <a:gd name="T6" fmla="*/ 637 w 1193"/>
                  <a:gd name="T7" fmla="*/ 650 h 1279"/>
                  <a:gd name="T8" fmla="*/ 684 w 1193"/>
                  <a:gd name="T9" fmla="*/ 653 h 1279"/>
                  <a:gd name="T10" fmla="*/ 730 w 1193"/>
                  <a:gd name="T11" fmla="*/ 664 h 1279"/>
                  <a:gd name="T12" fmla="*/ 772 w 1193"/>
                  <a:gd name="T13" fmla="*/ 680 h 1279"/>
                  <a:gd name="T14" fmla="*/ 811 w 1193"/>
                  <a:gd name="T15" fmla="*/ 703 h 1279"/>
                  <a:gd name="T16" fmla="*/ 846 w 1193"/>
                  <a:gd name="T17" fmla="*/ 730 h 1279"/>
                  <a:gd name="T18" fmla="*/ 877 w 1193"/>
                  <a:gd name="T19" fmla="*/ 763 h 1279"/>
                  <a:gd name="T20" fmla="*/ 904 w 1193"/>
                  <a:gd name="T21" fmla="*/ 799 h 1279"/>
                  <a:gd name="T22" fmla="*/ 924 w 1193"/>
                  <a:gd name="T23" fmla="*/ 839 h 1279"/>
                  <a:gd name="T24" fmla="*/ 938 w 1193"/>
                  <a:gd name="T25" fmla="*/ 883 h 1279"/>
                  <a:gd name="T26" fmla="*/ 946 w 1193"/>
                  <a:gd name="T27" fmla="*/ 929 h 1279"/>
                  <a:gd name="T28" fmla="*/ 948 w 1193"/>
                  <a:gd name="T29" fmla="*/ 961 h 1279"/>
                  <a:gd name="T30" fmla="*/ 944 w 1193"/>
                  <a:gd name="T31" fmla="*/ 1008 h 1279"/>
                  <a:gd name="T32" fmla="*/ 934 w 1193"/>
                  <a:gd name="T33" fmla="*/ 1052 h 1279"/>
                  <a:gd name="T34" fmla="*/ 918 w 1193"/>
                  <a:gd name="T35" fmla="*/ 1094 h 1279"/>
                  <a:gd name="T36" fmla="*/ 895 w 1193"/>
                  <a:gd name="T37" fmla="*/ 1133 h 1279"/>
                  <a:gd name="T38" fmla="*/ 869 w 1193"/>
                  <a:gd name="T39" fmla="*/ 1169 h 1279"/>
                  <a:gd name="T40" fmla="*/ 836 w 1193"/>
                  <a:gd name="T41" fmla="*/ 1199 h 1279"/>
                  <a:gd name="T42" fmla="*/ 801 w 1193"/>
                  <a:gd name="T43" fmla="*/ 1226 h 1279"/>
                  <a:gd name="T44" fmla="*/ 761 w 1193"/>
                  <a:gd name="T45" fmla="*/ 1246 h 1279"/>
                  <a:gd name="T46" fmla="*/ 718 w 1193"/>
                  <a:gd name="T47" fmla="*/ 1261 h 1279"/>
                  <a:gd name="T48" fmla="*/ 672 w 1193"/>
                  <a:gd name="T49" fmla="*/ 1270 h 1279"/>
                  <a:gd name="T50" fmla="*/ 640 w 1193"/>
                  <a:gd name="T51" fmla="*/ 1272 h 1279"/>
                  <a:gd name="T52" fmla="*/ 703 w 1193"/>
                  <a:gd name="T53" fmla="*/ 1278 h 1279"/>
                  <a:gd name="T54" fmla="*/ 748 w 1193"/>
                  <a:gd name="T55" fmla="*/ 1278 h 1279"/>
                  <a:gd name="T56" fmla="*/ 818 w 1193"/>
                  <a:gd name="T57" fmla="*/ 1270 h 1279"/>
                  <a:gd name="T58" fmla="*/ 885 w 1193"/>
                  <a:gd name="T59" fmla="*/ 1250 h 1279"/>
                  <a:gd name="T60" fmla="*/ 947 w 1193"/>
                  <a:gd name="T61" fmla="*/ 1222 h 1279"/>
                  <a:gd name="T62" fmla="*/ 1005 w 1193"/>
                  <a:gd name="T63" fmla="*/ 1185 h 1279"/>
                  <a:gd name="T64" fmla="*/ 1056 w 1193"/>
                  <a:gd name="T65" fmla="*/ 1141 h 1279"/>
                  <a:gd name="T66" fmla="*/ 1100 w 1193"/>
                  <a:gd name="T67" fmla="*/ 1090 h 1279"/>
                  <a:gd name="T68" fmla="*/ 1137 w 1193"/>
                  <a:gd name="T69" fmla="*/ 1033 h 1279"/>
                  <a:gd name="T70" fmla="*/ 1165 w 1193"/>
                  <a:gd name="T71" fmla="*/ 970 h 1279"/>
                  <a:gd name="T72" fmla="*/ 1184 w 1193"/>
                  <a:gd name="T73" fmla="*/ 904 h 1279"/>
                  <a:gd name="T74" fmla="*/ 1193 w 1193"/>
                  <a:gd name="T75" fmla="*/ 833 h 1279"/>
                  <a:gd name="T76" fmla="*/ 1193 w 1193"/>
                  <a:gd name="T77" fmla="*/ 784 h 1279"/>
                  <a:gd name="T78" fmla="*/ 1184 w 1193"/>
                  <a:gd name="T79" fmla="*/ 714 h 1279"/>
                  <a:gd name="T80" fmla="*/ 1165 w 1193"/>
                  <a:gd name="T81" fmla="*/ 646 h 1279"/>
                  <a:gd name="T82" fmla="*/ 1136 w 1193"/>
                  <a:gd name="T83" fmla="*/ 583 h 1279"/>
                  <a:gd name="T84" fmla="*/ 1099 w 1193"/>
                  <a:gd name="T85" fmla="*/ 524 h 1279"/>
                  <a:gd name="T86" fmla="*/ 1054 w 1193"/>
                  <a:gd name="T87" fmla="*/ 470 h 1279"/>
                  <a:gd name="T88" fmla="*/ 1004 w 1193"/>
                  <a:gd name="T89" fmla="*/ 423 h 1279"/>
                  <a:gd name="T90" fmla="*/ 946 w 1193"/>
                  <a:gd name="T91" fmla="*/ 381 h 1279"/>
                  <a:gd name="T92" fmla="*/ 884 w 1193"/>
                  <a:gd name="T93" fmla="*/ 347 h 1279"/>
                  <a:gd name="T94" fmla="*/ 817 w 1193"/>
                  <a:gd name="T95" fmla="*/ 320 h 1279"/>
                  <a:gd name="T96" fmla="*/ 748 w 1193"/>
                  <a:gd name="T97" fmla="*/ 303 h 1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93" h="1279">
                    <a:moveTo>
                      <a:pt x="723" y="298"/>
                    </a:moveTo>
                    <a:lnTo>
                      <a:pt x="723" y="298"/>
                    </a:lnTo>
                    <a:lnTo>
                      <a:pt x="698" y="295"/>
                    </a:lnTo>
                    <a:lnTo>
                      <a:pt x="669" y="293"/>
                    </a:lnTo>
                    <a:lnTo>
                      <a:pt x="636" y="289"/>
                    </a:lnTo>
                    <a:lnTo>
                      <a:pt x="636" y="0"/>
                    </a:lnTo>
                    <a:lnTo>
                      <a:pt x="318" y="244"/>
                    </a:lnTo>
                    <a:lnTo>
                      <a:pt x="0" y="486"/>
                    </a:lnTo>
                    <a:lnTo>
                      <a:pt x="636" y="974"/>
                    </a:lnTo>
                    <a:lnTo>
                      <a:pt x="636" y="650"/>
                    </a:lnTo>
                    <a:lnTo>
                      <a:pt x="637" y="650"/>
                    </a:lnTo>
                    <a:lnTo>
                      <a:pt x="637" y="650"/>
                    </a:lnTo>
                    <a:lnTo>
                      <a:pt x="654" y="650"/>
                    </a:lnTo>
                    <a:lnTo>
                      <a:pt x="669" y="652"/>
                    </a:lnTo>
                    <a:lnTo>
                      <a:pt x="684" y="653"/>
                    </a:lnTo>
                    <a:lnTo>
                      <a:pt x="700" y="656"/>
                    </a:lnTo>
                    <a:lnTo>
                      <a:pt x="715" y="660"/>
                    </a:lnTo>
                    <a:lnTo>
                      <a:pt x="730" y="664"/>
                    </a:lnTo>
                    <a:lnTo>
                      <a:pt x="744" y="668"/>
                    </a:lnTo>
                    <a:lnTo>
                      <a:pt x="759" y="674"/>
                    </a:lnTo>
                    <a:lnTo>
                      <a:pt x="772" y="680"/>
                    </a:lnTo>
                    <a:lnTo>
                      <a:pt x="785" y="687"/>
                    </a:lnTo>
                    <a:lnTo>
                      <a:pt x="799" y="694"/>
                    </a:lnTo>
                    <a:lnTo>
                      <a:pt x="811" y="703"/>
                    </a:lnTo>
                    <a:lnTo>
                      <a:pt x="823" y="712"/>
                    </a:lnTo>
                    <a:lnTo>
                      <a:pt x="835" y="721"/>
                    </a:lnTo>
                    <a:lnTo>
                      <a:pt x="846" y="730"/>
                    </a:lnTo>
                    <a:lnTo>
                      <a:pt x="858" y="740"/>
                    </a:lnTo>
                    <a:lnTo>
                      <a:pt x="868" y="752"/>
                    </a:lnTo>
                    <a:lnTo>
                      <a:pt x="877" y="763"/>
                    </a:lnTo>
                    <a:lnTo>
                      <a:pt x="886" y="774"/>
                    </a:lnTo>
                    <a:lnTo>
                      <a:pt x="895" y="786"/>
                    </a:lnTo>
                    <a:lnTo>
                      <a:pt x="904" y="799"/>
                    </a:lnTo>
                    <a:lnTo>
                      <a:pt x="911" y="813"/>
                    </a:lnTo>
                    <a:lnTo>
                      <a:pt x="918" y="826"/>
                    </a:lnTo>
                    <a:lnTo>
                      <a:pt x="924" y="839"/>
                    </a:lnTo>
                    <a:lnTo>
                      <a:pt x="929" y="854"/>
                    </a:lnTo>
                    <a:lnTo>
                      <a:pt x="934" y="868"/>
                    </a:lnTo>
                    <a:lnTo>
                      <a:pt x="938" y="883"/>
                    </a:lnTo>
                    <a:lnTo>
                      <a:pt x="942" y="898"/>
                    </a:lnTo>
                    <a:lnTo>
                      <a:pt x="944" y="914"/>
                    </a:lnTo>
                    <a:lnTo>
                      <a:pt x="946" y="929"/>
                    </a:lnTo>
                    <a:lnTo>
                      <a:pt x="948" y="944"/>
                    </a:lnTo>
                    <a:lnTo>
                      <a:pt x="948" y="961"/>
                    </a:lnTo>
                    <a:lnTo>
                      <a:pt x="948" y="961"/>
                    </a:lnTo>
                    <a:lnTo>
                      <a:pt x="948" y="977"/>
                    </a:lnTo>
                    <a:lnTo>
                      <a:pt x="946" y="992"/>
                    </a:lnTo>
                    <a:lnTo>
                      <a:pt x="944" y="1008"/>
                    </a:lnTo>
                    <a:lnTo>
                      <a:pt x="942" y="1023"/>
                    </a:lnTo>
                    <a:lnTo>
                      <a:pt x="938" y="1038"/>
                    </a:lnTo>
                    <a:lnTo>
                      <a:pt x="934" y="1052"/>
                    </a:lnTo>
                    <a:lnTo>
                      <a:pt x="930" y="1067"/>
                    </a:lnTo>
                    <a:lnTo>
                      <a:pt x="924" y="1081"/>
                    </a:lnTo>
                    <a:lnTo>
                      <a:pt x="918" y="1094"/>
                    </a:lnTo>
                    <a:lnTo>
                      <a:pt x="912" y="1108"/>
                    </a:lnTo>
                    <a:lnTo>
                      <a:pt x="904" y="1121"/>
                    </a:lnTo>
                    <a:lnTo>
                      <a:pt x="895" y="1133"/>
                    </a:lnTo>
                    <a:lnTo>
                      <a:pt x="887" y="1145"/>
                    </a:lnTo>
                    <a:lnTo>
                      <a:pt x="878" y="1157"/>
                    </a:lnTo>
                    <a:lnTo>
                      <a:pt x="869" y="1169"/>
                    </a:lnTo>
                    <a:lnTo>
                      <a:pt x="859" y="1179"/>
                    </a:lnTo>
                    <a:lnTo>
                      <a:pt x="847" y="1189"/>
                    </a:lnTo>
                    <a:lnTo>
                      <a:pt x="836" y="1199"/>
                    </a:lnTo>
                    <a:lnTo>
                      <a:pt x="825" y="1208"/>
                    </a:lnTo>
                    <a:lnTo>
                      <a:pt x="813" y="1218"/>
                    </a:lnTo>
                    <a:lnTo>
                      <a:pt x="801" y="1226"/>
                    </a:lnTo>
                    <a:lnTo>
                      <a:pt x="787" y="1233"/>
                    </a:lnTo>
                    <a:lnTo>
                      <a:pt x="774" y="1240"/>
                    </a:lnTo>
                    <a:lnTo>
                      <a:pt x="761" y="1246"/>
                    </a:lnTo>
                    <a:lnTo>
                      <a:pt x="747" y="1251"/>
                    </a:lnTo>
                    <a:lnTo>
                      <a:pt x="732" y="1256"/>
                    </a:lnTo>
                    <a:lnTo>
                      <a:pt x="718" y="1261"/>
                    </a:lnTo>
                    <a:lnTo>
                      <a:pt x="703" y="1265"/>
                    </a:lnTo>
                    <a:lnTo>
                      <a:pt x="687" y="1268"/>
                    </a:lnTo>
                    <a:lnTo>
                      <a:pt x="672" y="1270"/>
                    </a:lnTo>
                    <a:lnTo>
                      <a:pt x="657" y="1271"/>
                    </a:lnTo>
                    <a:lnTo>
                      <a:pt x="640" y="1272"/>
                    </a:lnTo>
                    <a:lnTo>
                      <a:pt x="640" y="1272"/>
                    </a:lnTo>
                    <a:lnTo>
                      <a:pt x="661" y="1275"/>
                    </a:lnTo>
                    <a:lnTo>
                      <a:pt x="681" y="1277"/>
                    </a:lnTo>
                    <a:lnTo>
                      <a:pt x="703" y="1278"/>
                    </a:lnTo>
                    <a:lnTo>
                      <a:pt x="723" y="1279"/>
                    </a:lnTo>
                    <a:lnTo>
                      <a:pt x="723" y="1279"/>
                    </a:lnTo>
                    <a:lnTo>
                      <a:pt x="748" y="1278"/>
                    </a:lnTo>
                    <a:lnTo>
                      <a:pt x="772" y="1277"/>
                    </a:lnTo>
                    <a:lnTo>
                      <a:pt x="795" y="1274"/>
                    </a:lnTo>
                    <a:lnTo>
                      <a:pt x="818" y="1270"/>
                    </a:lnTo>
                    <a:lnTo>
                      <a:pt x="841" y="1264"/>
                    </a:lnTo>
                    <a:lnTo>
                      <a:pt x="864" y="1257"/>
                    </a:lnTo>
                    <a:lnTo>
                      <a:pt x="885" y="1250"/>
                    </a:lnTo>
                    <a:lnTo>
                      <a:pt x="907" y="1242"/>
                    </a:lnTo>
                    <a:lnTo>
                      <a:pt x="927" y="1232"/>
                    </a:lnTo>
                    <a:lnTo>
                      <a:pt x="947" y="1222"/>
                    </a:lnTo>
                    <a:lnTo>
                      <a:pt x="967" y="1211"/>
                    </a:lnTo>
                    <a:lnTo>
                      <a:pt x="986" y="1198"/>
                    </a:lnTo>
                    <a:lnTo>
                      <a:pt x="1005" y="1185"/>
                    </a:lnTo>
                    <a:lnTo>
                      <a:pt x="1023" y="1172"/>
                    </a:lnTo>
                    <a:lnTo>
                      <a:pt x="1039" y="1156"/>
                    </a:lnTo>
                    <a:lnTo>
                      <a:pt x="1056" y="1141"/>
                    </a:lnTo>
                    <a:lnTo>
                      <a:pt x="1072" y="1125"/>
                    </a:lnTo>
                    <a:lnTo>
                      <a:pt x="1086" y="1108"/>
                    </a:lnTo>
                    <a:lnTo>
                      <a:pt x="1100" y="1090"/>
                    </a:lnTo>
                    <a:lnTo>
                      <a:pt x="1114" y="1072"/>
                    </a:lnTo>
                    <a:lnTo>
                      <a:pt x="1126" y="1052"/>
                    </a:lnTo>
                    <a:lnTo>
                      <a:pt x="1137" y="1033"/>
                    </a:lnTo>
                    <a:lnTo>
                      <a:pt x="1147" y="1013"/>
                    </a:lnTo>
                    <a:lnTo>
                      <a:pt x="1156" y="991"/>
                    </a:lnTo>
                    <a:lnTo>
                      <a:pt x="1165" y="970"/>
                    </a:lnTo>
                    <a:lnTo>
                      <a:pt x="1173" y="948"/>
                    </a:lnTo>
                    <a:lnTo>
                      <a:pt x="1179" y="926"/>
                    </a:lnTo>
                    <a:lnTo>
                      <a:pt x="1184" y="904"/>
                    </a:lnTo>
                    <a:lnTo>
                      <a:pt x="1188" y="880"/>
                    </a:lnTo>
                    <a:lnTo>
                      <a:pt x="1191" y="857"/>
                    </a:lnTo>
                    <a:lnTo>
                      <a:pt x="1193" y="833"/>
                    </a:lnTo>
                    <a:lnTo>
                      <a:pt x="1193" y="809"/>
                    </a:lnTo>
                    <a:lnTo>
                      <a:pt x="1193" y="809"/>
                    </a:lnTo>
                    <a:lnTo>
                      <a:pt x="1193" y="784"/>
                    </a:lnTo>
                    <a:lnTo>
                      <a:pt x="1191" y="761"/>
                    </a:lnTo>
                    <a:lnTo>
                      <a:pt x="1188" y="737"/>
                    </a:lnTo>
                    <a:lnTo>
                      <a:pt x="1184" y="714"/>
                    </a:lnTo>
                    <a:lnTo>
                      <a:pt x="1179" y="691"/>
                    </a:lnTo>
                    <a:lnTo>
                      <a:pt x="1172" y="668"/>
                    </a:lnTo>
                    <a:lnTo>
                      <a:pt x="1165" y="646"/>
                    </a:lnTo>
                    <a:lnTo>
                      <a:pt x="1156" y="625"/>
                    </a:lnTo>
                    <a:lnTo>
                      <a:pt x="1146" y="604"/>
                    </a:lnTo>
                    <a:lnTo>
                      <a:pt x="1136" y="583"/>
                    </a:lnTo>
                    <a:lnTo>
                      <a:pt x="1125" y="563"/>
                    </a:lnTo>
                    <a:lnTo>
                      <a:pt x="1113" y="543"/>
                    </a:lnTo>
                    <a:lnTo>
                      <a:pt x="1099" y="524"/>
                    </a:lnTo>
                    <a:lnTo>
                      <a:pt x="1085" y="506"/>
                    </a:lnTo>
                    <a:lnTo>
                      <a:pt x="1071" y="487"/>
                    </a:lnTo>
                    <a:lnTo>
                      <a:pt x="1054" y="470"/>
                    </a:lnTo>
                    <a:lnTo>
                      <a:pt x="1038" y="454"/>
                    </a:lnTo>
                    <a:lnTo>
                      <a:pt x="1021" y="438"/>
                    </a:lnTo>
                    <a:lnTo>
                      <a:pt x="1004" y="423"/>
                    </a:lnTo>
                    <a:lnTo>
                      <a:pt x="985" y="408"/>
                    </a:lnTo>
                    <a:lnTo>
                      <a:pt x="966" y="395"/>
                    </a:lnTo>
                    <a:lnTo>
                      <a:pt x="946" y="381"/>
                    </a:lnTo>
                    <a:lnTo>
                      <a:pt x="926" y="369"/>
                    </a:lnTo>
                    <a:lnTo>
                      <a:pt x="906" y="358"/>
                    </a:lnTo>
                    <a:lnTo>
                      <a:pt x="884" y="347"/>
                    </a:lnTo>
                    <a:lnTo>
                      <a:pt x="862" y="337"/>
                    </a:lnTo>
                    <a:lnTo>
                      <a:pt x="840" y="328"/>
                    </a:lnTo>
                    <a:lnTo>
                      <a:pt x="817" y="320"/>
                    </a:lnTo>
                    <a:lnTo>
                      <a:pt x="794" y="314"/>
                    </a:lnTo>
                    <a:lnTo>
                      <a:pt x="771" y="308"/>
                    </a:lnTo>
                    <a:lnTo>
                      <a:pt x="748" y="303"/>
                    </a:lnTo>
                    <a:lnTo>
                      <a:pt x="723" y="298"/>
                    </a:lnTo>
                    <a:lnTo>
                      <a:pt x="723" y="2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FFFFFF"/>
                  </a:solidFill>
                  <a:latin typeface="+mn-lt"/>
                  <a:ea typeface=""/>
                  <a:cs typeface=""/>
                </a:endParaRPr>
              </a:p>
            </p:txBody>
          </p:sp>
          <p:sp>
            <p:nvSpPr>
              <p:cNvPr id="183" name="Freeform 422"/>
              <p:cNvSpPr>
                <a:spLocks/>
              </p:cNvSpPr>
              <p:nvPr/>
            </p:nvSpPr>
            <p:spPr bwMode="auto">
              <a:xfrm>
                <a:off x="9463090" y="6457156"/>
                <a:ext cx="269875" cy="290513"/>
              </a:xfrm>
              <a:custGeom>
                <a:avLst/>
                <a:gdLst>
                  <a:gd name="T0" fmla="*/ 495 w 1193"/>
                  <a:gd name="T1" fmla="*/ 985 h 1280"/>
                  <a:gd name="T2" fmla="*/ 556 w 1193"/>
                  <a:gd name="T3" fmla="*/ 1280 h 1280"/>
                  <a:gd name="T4" fmla="*/ 556 w 1193"/>
                  <a:gd name="T5" fmla="*/ 305 h 1280"/>
                  <a:gd name="T6" fmla="*/ 555 w 1193"/>
                  <a:gd name="T7" fmla="*/ 630 h 1280"/>
                  <a:gd name="T8" fmla="*/ 508 w 1193"/>
                  <a:gd name="T9" fmla="*/ 627 h 1280"/>
                  <a:gd name="T10" fmla="*/ 464 w 1193"/>
                  <a:gd name="T11" fmla="*/ 617 h 1280"/>
                  <a:gd name="T12" fmla="*/ 421 w 1193"/>
                  <a:gd name="T13" fmla="*/ 599 h 1280"/>
                  <a:gd name="T14" fmla="*/ 382 w 1193"/>
                  <a:gd name="T15" fmla="*/ 577 h 1280"/>
                  <a:gd name="T16" fmla="*/ 346 w 1193"/>
                  <a:gd name="T17" fmla="*/ 549 h 1280"/>
                  <a:gd name="T18" fmla="*/ 316 w 1193"/>
                  <a:gd name="T19" fmla="*/ 517 h 1280"/>
                  <a:gd name="T20" fmla="*/ 289 w 1193"/>
                  <a:gd name="T21" fmla="*/ 481 h 1280"/>
                  <a:gd name="T22" fmla="*/ 269 w 1193"/>
                  <a:gd name="T23" fmla="*/ 440 h 1280"/>
                  <a:gd name="T24" fmla="*/ 254 w 1193"/>
                  <a:gd name="T25" fmla="*/ 397 h 1280"/>
                  <a:gd name="T26" fmla="*/ 246 w 1193"/>
                  <a:gd name="T27" fmla="*/ 351 h 1280"/>
                  <a:gd name="T28" fmla="*/ 244 w 1193"/>
                  <a:gd name="T29" fmla="*/ 319 h 1280"/>
                  <a:gd name="T30" fmla="*/ 248 w 1193"/>
                  <a:gd name="T31" fmla="*/ 272 h 1280"/>
                  <a:gd name="T32" fmla="*/ 259 w 1193"/>
                  <a:gd name="T33" fmla="*/ 227 h 1280"/>
                  <a:gd name="T34" fmla="*/ 275 w 1193"/>
                  <a:gd name="T35" fmla="*/ 185 h 1280"/>
                  <a:gd name="T36" fmla="*/ 297 w 1193"/>
                  <a:gd name="T37" fmla="*/ 146 h 1280"/>
                  <a:gd name="T38" fmla="*/ 324 w 1193"/>
                  <a:gd name="T39" fmla="*/ 112 h 1280"/>
                  <a:gd name="T40" fmla="*/ 356 w 1193"/>
                  <a:gd name="T41" fmla="*/ 80 h 1280"/>
                  <a:gd name="T42" fmla="*/ 392 w 1193"/>
                  <a:gd name="T43" fmla="*/ 54 h 1280"/>
                  <a:gd name="T44" fmla="*/ 432 w 1193"/>
                  <a:gd name="T45" fmla="*/ 33 h 1280"/>
                  <a:gd name="T46" fmla="*/ 475 w 1193"/>
                  <a:gd name="T47" fmla="*/ 19 h 1280"/>
                  <a:gd name="T48" fmla="*/ 521 w 1193"/>
                  <a:gd name="T49" fmla="*/ 10 h 1280"/>
                  <a:gd name="T50" fmla="*/ 552 w 1193"/>
                  <a:gd name="T51" fmla="*/ 9 h 1280"/>
                  <a:gd name="T52" fmla="*/ 490 w 1193"/>
                  <a:gd name="T53" fmla="*/ 1 h 1280"/>
                  <a:gd name="T54" fmla="*/ 445 w 1193"/>
                  <a:gd name="T55" fmla="*/ 1 h 1280"/>
                  <a:gd name="T56" fmla="*/ 375 w 1193"/>
                  <a:gd name="T57" fmla="*/ 11 h 1280"/>
                  <a:gd name="T58" fmla="*/ 307 w 1193"/>
                  <a:gd name="T59" fmla="*/ 29 h 1280"/>
                  <a:gd name="T60" fmla="*/ 245 w 1193"/>
                  <a:gd name="T61" fmla="*/ 58 h 1280"/>
                  <a:gd name="T62" fmla="*/ 188 w 1193"/>
                  <a:gd name="T63" fmla="*/ 94 h 1280"/>
                  <a:gd name="T64" fmla="*/ 137 w 1193"/>
                  <a:gd name="T65" fmla="*/ 138 h 1280"/>
                  <a:gd name="T66" fmla="*/ 92 w 1193"/>
                  <a:gd name="T67" fmla="*/ 189 h 1280"/>
                  <a:gd name="T68" fmla="*/ 56 w 1193"/>
                  <a:gd name="T69" fmla="*/ 247 h 1280"/>
                  <a:gd name="T70" fmla="*/ 28 w 1193"/>
                  <a:gd name="T71" fmla="*/ 310 h 1280"/>
                  <a:gd name="T72" fmla="*/ 9 w 1193"/>
                  <a:gd name="T73" fmla="*/ 376 h 1280"/>
                  <a:gd name="T74" fmla="*/ 0 w 1193"/>
                  <a:gd name="T75" fmla="*/ 447 h 1280"/>
                  <a:gd name="T76" fmla="*/ 0 w 1193"/>
                  <a:gd name="T77" fmla="*/ 495 h 1280"/>
                  <a:gd name="T78" fmla="*/ 9 w 1193"/>
                  <a:gd name="T79" fmla="*/ 566 h 1280"/>
                  <a:gd name="T80" fmla="*/ 28 w 1193"/>
                  <a:gd name="T81" fmla="*/ 633 h 1280"/>
                  <a:gd name="T82" fmla="*/ 57 w 1193"/>
                  <a:gd name="T83" fmla="*/ 697 h 1280"/>
                  <a:gd name="T84" fmla="*/ 93 w 1193"/>
                  <a:gd name="T85" fmla="*/ 755 h 1280"/>
                  <a:gd name="T86" fmla="*/ 138 w 1193"/>
                  <a:gd name="T87" fmla="*/ 809 h 1280"/>
                  <a:gd name="T88" fmla="*/ 189 w 1193"/>
                  <a:gd name="T89" fmla="*/ 857 h 1280"/>
                  <a:gd name="T90" fmla="*/ 246 w 1193"/>
                  <a:gd name="T91" fmla="*/ 898 h 1280"/>
                  <a:gd name="T92" fmla="*/ 309 w 1193"/>
                  <a:gd name="T93" fmla="*/ 933 h 1280"/>
                  <a:gd name="T94" fmla="*/ 376 w 1193"/>
                  <a:gd name="T95" fmla="*/ 959 h 1280"/>
                  <a:gd name="T96" fmla="*/ 445 w 1193"/>
                  <a:gd name="T97" fmla="*/ 978 h 1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93" h="1280">
                    <a:moveTo>
                      <a:pt x="470" y="982"/>
                    </a:moveTo>
                    <a:lnTo>
                      <a:pt x="470" y="982"/>
                    </a:lnTo>
                    <a:lnTo>
                      <a:pt x="495" y="985"/>
                    </a:lnTo>
                    <a:lnTo>
                      <a:pt x="524" y="987"/>
                    </a:lnTo>
                    <a:lnTo>
                      <a:pt x="556" y="990"/>
                    </a:lnTo>
                    <a:lnTo>
                      <a:pt x="556" y="1280"/>
                    </a:lnTo>
                    <a:lnTo>
                      <a:pt x="874" y="1036"/>
                    </a:lnTo>
                    <a:lnTo>
                      <a:pt x="1193" y="793"/>
                    </a:lnTo>
                    <a:lnTo>
                      <a:pt x="556" y="305"/>
                    </a:lnTo>
                    <a:lnTo>
                      <a:pt x="556" y="630"/>
                    </a:lnTo>
                    <a:lnTo>
                      <a:pt x="555" y="630"/>
                    </a:lnTo>
                    <a:lnTo>
                      <a:pt x="555" y="630"/>
                    </a:lnTo>
                    <a:lnTo>
                      <a:pt x="540" y="630"/>
                    </a:lnTo>
                    <a:lnTo>
                      <a:pt x="524" y="629"/>
                    </a:lnTo>
                    <a:lnTo>
                      <a:pt x="508" y="627"/>
                    </a:lnTo>
                    <a:lnTo>
                      <a:pt x="493" y="624"/>
                    </a:lnTo>
                    <a:lnTo>
                      <a:pt x="478" y="621"/>
                    </a:lnTo>
                    <a:lnTo>
                      <a:pt x="464" y="617"/>
                    </a:lnTo>
                    <a:lnTo>
                      <a:pt x="448" y="611"/>
                    </a:lnTo>
                    <a:lnTo>
                      <a:pt x="434" y="605"/>
                    </a:lnTo>
                    <a:lnTo>
                      <a:pt x="421" y="599"/>
                    </a:lnTo>
                    <a:lnTo>
                      <a:pt x="407" y="593"/>
                    </a:lnTo>
                    <a:lnTo>
                      <a:pt x="394" y="585"/>
                    </a:lnTo>
                    <a:lnTo>
                      <a:pt x="382" y="577"/>
                    </a:lnTo>
                    <a:lnTo>
                      <a:pt x="370" y="569"/>
                    </a:lnTo>
                    <a:lnTo>
                      <a:pt x="357" y="559"/>
                    </a:lnTo>
                    <a:lnTo>
                      <a:pt x="346" y="549"/>
                    </a:lnTo>
                    <a:lnTo>
                      <a:pt x="336" y="539"/>
                    </a:lnTo>
                    <a:lnTo>
                      <a:pt x="325" y="528"/>
                    </a:lnTo>
                    <a:lnTo>
                      <a:pt x="316" y="517"/>
                    </a:lnTo>
                    <a:lnTo>
                      <a:pt x="306" y="505"/>
                    </a:lnTo>
                    <a:lnTo>
                      <a:pt x="297" y="493"/>
                    </a:lnTo>
                    <a:lnTo>
                      <a:pt x="289" y="481"/>
                    </a:lnTo>
                    <a:lnTo>
                      <a:pt x="282" y="468"/>
                    </a:lnTo>
                    <a:lnTo>
                      <a:pt x="275" y="454"/>
                    </a:lnTo>
                    <a:lnTo>
                      <a:pt x="269" y="440"/>
                    </a:lnTo>
                    <a:lnTo>
                      <a:pt x="264" y="426"/>
                    </a:lnTo>
                    <a:lnTo>
                      <a:pt x="259" y="412"/>
                    </a:lnTo>
                    <a:lnTo>
                      <a:pt x="254" y="397"/>
                    </a:lnTo>
                    <a:lnTo>
                      <a:pt x="250" y="382"/>
                    </a:lnTo>
                    <a:lnTo>
                      <a:pt x="248" y="367"/>
                    </a:lnTo>
                    <a:lnTo>
                      <a:pt x="246" y="351"/>
                    </a:lnTo>
                    <a:lnTo>
                      <a:pt x="245" y="335"/>
                    </a:lnTo>
                    <a:lnTo>
                      <a:pt x="244" y="319"/>
                    </a:lnTo>
                    <a:lnTo>
                      <a:pt x="244" y="319"/>
                    </a:lnTo>
                    <a:lnTo>
                      <a:pt x="245" y="303"/>
                    </a:lnTo>
                    <a:lnTo>
                      <a:pt x="246" y="287"/>
                    </a:lnTo>
                    <a:lnTo>
                      <a:pt x="248" y="272"/>
                    </a:lnTo>
                    <a:lnTo>
                      <a:pt x="250" y="256"/>
                    </a:lnTo>
                    <a:lnTo>
                      <a:pt x="254" y="242"/>
                    </a:lnTo>
                    <a:lnTo>
                      <a:pt x="259" y="227"/>
                    </a:lnTo>
                    <a:lnTo>
                      <a:pt x="263" y="213"/>
                    </a:lnTo>
                    <a:lnTo>
                      <a:pt x="269" y="198"/>
                    </a:lnTo>
                    <a:lnTo>
                      <a:pt x="275" y="185"/>
                    </a:lnTo>
                    <a:lnTo>
                      <a:pt x="282" y="172"/>
                    </a:lnTo>
                    <a:lnTo>
                      <a:pt x="289" y="159"/>
                    </a:lnTo>
                    <a:lnTo>
                      <a:pt x="297" y="146"/>
                    </a:lnTo>
                    <a:lnTo>
                      <a:pt x="305" y="134"/>
                    </a:lnTo>
                    <a:lnTo>
                      <a:pt x="315" y="123"/>
                    </a:lnTo>
                    <a:lnTo>
                      <a:pt x="324" y="112"/>
                    </a:lnTo>
                    <a:lnTo>
                      <a:pt x="334" y="100"/>
                    </a:lnTo>
                    <a:lnTo>
                      <a:pt x="345" y="90"/>
                    </a:lnTo>
                    <a:lnTo>
                      <a:pt x="356" y="80"/>
                    </a:lnTo>
                    <a:lnTo>
                      <a:pt x="368" y="71"/>
                    </a:lnTo>
                    <a:lnTo>
                      <a:pt x="380" y="63"/>
                    </a:lnTo>
                    <a:lnTo>
                      <a:pt x="392" y="54"/>
                    </a:lnTo>
                    <a:lnTo>
                      <a:pt x="405" y="46"/>
                    </a:lnTo>
                    <a:lnTo>
                      <a:pt x="419" y="40"/>
                    </a:lnTo>
                    <a:lnTo>
                      <a:pt x="432" y="33"/>
                    </a:lnTo>
                    <a:lnTo>
                      <a:pt x="446" y="28"/>
                    </a:lnTo>
                    <a:lnTo>
                      <a:pt x="460" y="23"/>
                    </a:lnTo>
                    <a:lnTo>
                      <a:pt x="475" y="19"/>
                    </a:lnTo>
                    <a:lnTo>
                      <a:pt x="490" y="15"/>
                    </a:lnTo>
                    <a:lnTo>
                      <a:pt x="505" y="13"/>
                    </a:lnTo>
                    <a:lnTo>
                      <a:pt x="521" y="10"/>
                    </a:lnTo>
                    <a:lnTo>
                      <a:pt x="536" y="9"/>
                    </a:lnTo>
                    <a:lnTo>
                      <a:pt x="552" y="9"/>
                    </a:lnTo>
                    <a:lnTo>
                      <a:pt x="552" y="9"/>
                    </a:lnTo>
                    <a:lnTo>
                      <a:pt x="532" y="5"/>
                    </a:lnTo>
                    <a:lnTo>
                      <a:pt x="511" y="2"/>
                    </a:lnTo>
                    <a:lnTo>
                      <a:pt x="490" y="1"/>
                    </a:lnTo>
                    <a:lnTo>
                      <a:pt x="470" y="0"/>
                    </a:lnTo>
                    <a:lnTo>
                      <a:pt x="470" y="0"/>
                    </a:lnTo>
                    <a:lnTo>
                      <a:pt x="445" y="1"/>
                    </a:lnTo>
                    <a:lnTo>
                      <a:pt x="422" y="3"/>
                    </a:lnTo>
                    <a:lnTo>
                      <a:pt x="398" y="7"/>
                    </a:lnTo>
                    <a:lnTo>
                      <a:pt x="375" y="11"/>
                    </a:lnTo>
                    <a:lnTo>
                      <a:pt x="352" y="16"/>
                    </a:lnTo>
                    <a:lnTo>
                      <a:pt x="330" y="22"/>
                    </a:lnTo>
                    <a:lnTo>
                      <a:pt x="307" y="29"/>
                    </a:lnTo>
                    <a:lnTo>
                      <a:pt x="286" y="38"/>
                    </a:lnTo>
                    <a:lnTo>
                      <a:pt x="266" y="47"/>
                    </a:lnTo>
                    <a:lnTo>
                      <a:pt x="245" y="58"/>
                    </a:lnTo>
                    <a:lnTo>
                      <a:pt x="226" y="69"/>
                    </a:lnTo>
                    <a:lnTo>
                      <a:pt x="207" y="81"/>
                    </a:lnTo>
                    <a:lnTo>
                      <a:pt x="188" y="94"/>
                    </a:lnTo>
                    <a:lnTo>
                      <a:pt x="171" y="109"/>
                    </a:lnTo>
                    <a:lnTo>
                      <a:pt x="154" y="123"/>
                    </a:lnTo>
                    <a:lnTo>
                      <a:pt x="137" y="138"/>
                    </a:lnTo>
                    <a:lnTo>
                      <a:pt x="122" y="154"/>
                    </a:lnTo>
                    <a:lnTo>
                      <a:pt x="107" y="172"/>
                    </a:lnTo>
                    <a:lnTo>
                      <a:pt x="92" y="189"/>
                    </a:lnTo>
                    <a:lnTo>
                      <a:pt x="79" y="209"/>
                    </a:lnTo>
                    <a:lnTo>
                      <a:pt x="67" y="227"/>
                    </a:lnTo>
                    <a:lnTo>
                      <a:pt x="56" y="247"/>
                    </a:lnTo>
                    <a:lnTo>
                      <a:pt x="45" y="267"/>
                    </a:lnTo>
                    <a:lnTo>
                      <a:pt x="36" y="288"/>
                    </a:lnTo>
                    <a:lnTo>
                      <a:pt x="28" y="310"/>
                    </a:lnTo>
                    <a:lnTo>
                      <a:pt x="20" y="331"/>
                    </a:lnTo>
                    <a:lnTo>
                      <a:pt x="14" y="353"/>
                    </a:lnTo>
                    <a:lnTo>
                      <a:pt x="9" y="376"/>
                    </a:lnTo>
                    <a:lnTo>
                      <a:pt x="5" y="399"/>
                    </a:lnTo>
                    <a:lnTo>
                      <a:pt x="2" y="423"/>
                    </a:lnTo>
                    <a:lnTo>
                      <a:pt x="0" y="447"/>
                    </a:lnTo>
                    <a:lnTo>
                      <a:pt x="0" y="471"/>
                    </a:lnTo>
                    <a:lnTo>
                      <a:pt x="0" y="471"/>
                    </a:lnTo>
                    <a:lnTo>
                      <a:pt x="0" y="495"/>
                    </a:lnTo>
                    <a:lnTo>
                      <a:pt x="2" y="519"/>
                    </a:lnTo>
                    <a:lnTo>
                      <a:pt x="5" y="543"/>
                    </a:lnTo>
                    <a:lnTo>
                      <a:pt x="9" y="566"/>
                    </a:lnTo>
                    <a:lnTo>
                      <a:pt x="14" y="589"/>
                    </a:lnTo>
                    <a:lnTo>
                      <a:pt x="21" y="611"/>
                    </a:lnTo>
                    <a:lnTo>
                      <a:pt x="28" y="633"/>
                    </a:lnTo>
                    <a:lnTo>
                      <a:pt x="36" y="655"/>
                    </a:lnTo>
                    <a:lnTo>
                      <a:pt x="46" y="676"/>
                    </a:lnTo>
                    <a:lnTo>
                      <a:pt x="57" y="697"/>
                    </a:lnTo>
                    <a:lnTo>
                      <a:pt x="68" y="716"/>
                    </a:lnTo>
                    <a:lnTo>
                      <a:pt x="80" y="737"/>
                    </a:lnTo>
                    <a:lnTo>
                      <a:pt x="93" y="755"/>
                    </a:lnTo>
                    <a:lnTo>
                      <a:pt x="108" y="774"/>
                    </a:lnTo>
                    <a:lnTo>
                      <a:pt x="123" y="792"/>
                    </a:lnTo>
                    <a:lnTo>
                      <a:pt x="138" y="809"/>
                    </a:lnTo>
                    <a:lnTo>
                      <a:pt x="155" y="826"/>
                    </a:lnTo>
                    <a:lnTo>
                      <a:pt x="172" y="842"/>
                    </a:lnTo>
                    <a:lnTo>
                      <a:pt x="189" y="857"/>
                    </a:lnTo>
                    <a:lnTo>
                      <a:pt x="208" y="872"/>
                    </a:lnTo>
                    <a:lnTo>
                      <a:pt x="227" y="885"/>
                    </a:lnTo>
                    <a:lnTo>
                      <a:pt x="246" y="898"/>
                    </a:lnTo>
                    <a:lnTo>
                      <a:pt x="267" y="910"/>
                    </a:lnTo>
                    <a:lnTo>
                      <a:pt x="288" y="922"/>
                    </a:lnTo>
                    <a:lnTo>
                      <a:pt x="309" y="933"/>
                    </a:lnTo>
                    <a:lnTo>
                      <a:pt x="331" y="942"/>
                    </a:lnTo>
                    <a:lnTo>
                      <a:pt x="353" y="951"/>
                    </a:lnTo>
                    <a:lnTo>
                      <a:pt x="376" y="959"/>
                    </a:lnTo>
                    <a:lnTo>
                      <a:pt x="398" y="966"/>
                    </a:lnTo>
                    <a:lnTo>
                      <a:pt x="422" y="973"/>
                    </a:lnTo>
                    <a:lnTo>
                      <a:pt x="445" y="978"/>
                    </a:lnTo>
                    <a:lnTo>
                      <a:pt x="470" y="982"/>
                    </a:lnTo>
                    <a:lnTo>
                      <a:pt x="470" y="9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FFFFFF"/>
                  </a:solidFill>
                  <a:latin typeface="+mn-lt"/>
                  <a:ea typeface=""/>
                  <a:cs typeface=""/>
                </a:endParaRPr>
              </a:p>
            </p:txBody>
          </p:sp>
        </p:grpSp>
      </p:grpSp>
      <p:sp>
        <p:nvSpPr>
          <p:cNvPr id="86" name="Oval 85"/>
          <p:cNvSpPr>
            <a:spLocks noChangeAspect="1"/>
          </p:cNvSpPr>
          <p:nvPr/>
        </p:nvSpPr>
        <p:spPr>
          <a:xfrm>
            <a:off x="-1467755" y="1765583"/>
            <a:ext cx="758952" cy="758952"/>
          </a:xfrm>
          <a:prstGeom prst="ellipse">
            <a:avLst/>
          </a:prstGeom>
          <a:solidFill>
            <a:srgbClr val="00507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5073"/>
              </a:solidFill>
            </a:endParaRPr>
          </a:p>
        </p:txBody>
      </p:sp>
      <p:sp>
        <p:nvSpPr>
          <p:cNvPr id="87" name="Oval 86"/>
          <p:cNvSpPr>
            <a:spLocks noChangeAspect="1"/>
          </p:cNvSpPr>
          <p:nvPr/>
        </p:nvSpPr>
        <p:spPr>
          <a:xfrm>
            <a:off x="-758952" y="-1172134"/>
            <a:ext cx="758952" cy="758952"/>
          </a:xfrm>
          <a:prstGeom prst="ellipse">
            <a:avLst/>
          </a:prstGeom>
          <a:solidFill>
            <a:srgbClr val="00507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5073"/>
              </a:solidFill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3953159" y="3167064"/>
            <a:ext cx="513879" cy="41096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2"/>
                </a:solidFill>
              </a:rPr>
              <a:t>R</a:t>
            </a:r>
            <a:r>
              <a:rPr lang="en-US" sz="14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3255896" y="2142965"/>
            <a:ext cx="26430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+mn-lt"/>
              </a:rPr>
              <a:t>SP Infrastructure</a:t>
            </a:r>
            <a:endParaRPr lang="en-US" sz="2000" dirty="0">
              <a:latin typeface="+mn-lt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7123599" y="1941647"/>
            <a:ext cx="17108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2"/>
                </a:solidFill>
                <a:latin typeface="+mn-lt"/>
              </a:rPr>
              <a:t>Internet</a:t>
            </a:r>
            <a:endParaRPr lang="en-US" sz="20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016176" y="2070532"/>
            <a:ext cx="20345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2"/>
                </a:solidFill>
                <a:latin typeface="+mn-lt"/>
              </a:rPr>
              <a:t>Customers </a:t>
            </a:r>
            <a:endParaRPr lang="en-US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95" name="Right Arrow 94"/>
          <p:cNvSpPr/>
          <p:nvPr/>
        </p:nvSpPr>
        <p:spPr>
          <a:xfrm rot="10800000" flipV="1">
            <a:off x="5659123" y="2868859"/>
            <a:ext cx="2218567" cy="151416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96" name="Group 95"/>
          <p:cNvGrpSpPr/>
          <p:nvPr/>
        </p:nvGrpSpPr>
        <p:grpSpPr>
          <a:xfrm>
            <a:off x="7284587" y="2505279"/>
            <a:ext cx="846993" cy="878573"/>
            <a:chOff x="3759728" y="1334910"/>
            <a:chExt cx="1624544" cy="1624539"/>
          </a:xfrm>
        </p:grpSpPr>
        <p:sp>
          <p:nvSpPr>
            <p:cNvPr id="97" name="Oval 96"/>
            <p:cNvSpPr/>
            <p:nvPr/>
          </p:nvSpPr>
          <p:spPr>
            <a:xfrm>
              <a:off x="3759728" y="1334910"/>
              <a:ext cx="1624544" cy="1624539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alpha val="0"/>
                  </a:schemeClr>
                </a:gs>
                <a:gs pos="100000">
                  <a:schemeClr val="bg1">
                    <a:lumMod val="40000"/>
                    <a:lumOff val="60000"/>
                    <a:alpha val="3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 defTabSz="914362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98" name="Oval 97"/>
            <p:cNvSpPr/>
            <p:nvPr/>
          </p:nvSpPr>
          <p:spPr>
            <a:xfrm>
              <a:off x="3840134" y="1415315"/>
              <a:ext cx="1463733" cy="1463729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gradFill>
                <a:gsLst>
                  <a:gs pos="100000">
                    <a:schemeClr val="accent1">
                      <a:tint val="66000"/>
                      <a:satMod val="160000"/>
                      <a:alpha val="0"/>
                    </a:schemeClr>
                  </a:gs>
                  <a:gs pos="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2492" tIns="94392" rIns="132492" bIns="94392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00" dirty="0">
                <a:solidFill>
                  <a:srgbClr val="F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99" name="Freeform 22"/>
            <p:cNvSpPr>
              <a:spLocks noEditPoints="1"/>
            </p:cNvSpPr>
            <p:nvPr/>
          </p:nvSpPr>
          <p:spPr bwMode="auto">
            <a:xfrm>
              <a:off x="4204119" y="1674191"/>
              <a:ext cx="735763" cy="903007"/>
            </a:xfrm>
            <a:custGeom>
              <a:avLst/>
              <a:gdLst/>
              <a:ahLst/>
              <a:cxnLst>
                <a:cxn ang="0">
                  <a:pos x="195" y="167"/>
                </a:cxn>
                <a:cxn ang="0">
                  <a:pos x="191" y="167"/>
                </a:cxn>
                <a:cxn ang="0">
                  <a:pos x="100" y="180"/>
                </a:cxn>
                <a:cxn ang="0">
                  <a:pos x="110" y="237"/>
                </a:cxn>
                <a:cxn ang="0">
                  <a:pos x="145" y="257"/>
                </a:cxn>
                <a:cxn ang="0">
                  <a:pos x="243" y="297"/>
                </a:cxn>
                <a:cxn ang="0">
                  <a:pos x="263" y="237"/>
                </a:cxn>
                <a:cxn ang="0">
                  <a:pos x="287" y="216"/>
                </a:cxn>
                <a:cxn ang="0">
                  <a:pos x="283" y="163"/>
                </a:cxn>
                <a:cxn ang="0">
                  <a:pos x="76" y="160"/>
                </a:cxn>
                <a:cxn ang="0">
                  <a:pos x="89" y="104"/>
                </a:cxn>
                <a:cxn ang="0">
                  <a:pos x="128" y="0"/>
                </a:cxn>
                <a:cxn ang="0">
                  <a:pos x="270" y="8"/>
                </a:cxn>
                <a:cxn ang="0">
                  <a:pos x="387" y="137"/>
                </a:cxn>
                <a:cxn ang="0">
                  <a:pos x="319" y="199"/>
                </a:cxn>
                <a:cxn ang="0">
                  <a:pos x="317" y="237"/>
                </a:cxn>
                <a:cxn ang="0">
                  <a:pos x="337" y="279"/>
                </a:cxn>
                <a:cxn ang="0">
                  <a:pos x="365" y="439"/>
                </a:cxn>
                <a:cxn ang="0">
                  <a:pos x="201" y="475"/>
                </a:cxn>
                <a:cxn ang="0">
                  <a:pos x="187" y="315"/>
                </a:cxn>
                <a:cxn ang="0">
                  <a:pos x="55" y="475"/>
                </a:cxn>
                <a:cxn ang="0">
                  <a:pos x="22" y="315"/>
                </a:cxn>
                <a:cxn ang="0">
                  <a:pos x="51" y="257"/>
                </a:cxn>
                <a:cxn ang="0">
                  <a:pos x="76" y="237"/>
                </a:cxn>
                <a:cxn ang="0">
                  <a:pos x="76" y="160"/>
                </a:cxn>
                <a:cxn ang="0">
                  <a:pos x="168" y="179"/>
                </a:cxn>
                <a:cxn ang="0">
                  <a:pos x="181" y="210"/>
                </a:cxn>
                <a:cxn ang="0">
                  <a:pos x="143" y="227"/>
                </a:cxn>
                <a:cxn ang="0">
                  <a:pos x="126" y="182"/>
                </a:cxn>
                <a:cxn ang="0">
                  <a:pos x="131" y="179"/>
                </a:cxn>
                <a:cxn ang="0">
                  <a:pos x="224" y="179"/>
                </a:cxn>
                <a:cxn ang="0">
                  <a:pos x="262" y="179"/>
                </a:cxn>
                <a:cxn ang="0">
                  <a:pos x="269" y="182"/>
                </a:cxn>
                <a:cxn ang="0">
                  <a:pos x="252" y="227"/>
                </a:cxn>
                <a:cxn ang="0">
                  <a:pos x="213" y="210"/>
                </a:cxn>
                <a:cxn ang="0">
                  <a:pos x="224" y="179"/>
                </a:cxn>
              </a:cxnLst>
              <a:rect l="0" t="0" r="r" b="b"/>
              <a:pathLst>
                <a:path w="387" h="475">
                  <a:moveTo>
                    <a:pt x="196" y="167"/>
                  </a:moveTo>
                  <a:cubicBezTo>
                    <a:pt x="195" y="167"/>
                    <a:pt x="195" y="167"/>
                    <a:pt x="195" y="167"/>
                  </a:cubicBezTo>
                  <a:cubicBezTo>
                    <a:pt x="193" y="167"/>
                    <a:pt x="193" y="167"/>
                    <a:pt x="193" y="167"/>
                  </a:cubicBezTo>
                  <a:cubicBezTo>
                    <a:pt x="191" y="167"/>
                    <a:pt x="191" y="167"/>
                    <a:pt x="191" y="167"/>
                  </a:cubicBezTo>
                  <a:cubicBezTo>
                    <a:pt x="160" y="167"/>
                    <a:pt x="131" y="166"/>
                    <a:pt x="105" y="163"/>
                  </a:cubicBezTo>
                  <a:cubicBezTo>
                    <a:pt x="102" y="168"/>
                    <a:pt x="100" y="173"/>
                    <a:pt x="100" y="180"/>
                  </a:cubicBezTo>
                  <a:cubicBezTo>
                    <a:pt x="100" y="216"/>
                    <a:pt x="100" y="216"/>
                    <a:pt x="100" y="216"/>
                  </a:cubicBezTo>
                  <a:cubicBezTo>
                    <a:pt x="100" y="225"/>
                    <a:pt x="104" y="233"/>
                    <a:pt x="110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36" y="237"/>
                    <a:pt x="145" y="246"/>
                    <a:pt x="145" y="257"/>
                  </a:cubicBezTo>
                  <a:cubicBezTo>
                    <a:pt x="145" y="297"/>
                    <a:pt x="145" y="297"/>
                    <a:pt x="145" y="297"/>
                  </a:cubicBezTo>
                  <a:cubicBezTo>
                    <a:pt x="173" y="313"/>
                    <a:pt x="215" y="313"/>
                    <a:pt x="243" y="297"/>
                  </a:cubicBezTo>
                  <a:cubicBezTo>
                    <a:pt x="243" y="257"/>
                    <a:pt x="243" y="257"/>
                    <a:pt x="243" y="257"/>
                  </a:cubicBezTo>
                  <a:cubicBezTo>
                    <a:pt x="243" y="246"/>
                    <a:pt x="252" y="237"/>
                    <a:pt x="263" y="237"/>
                  </a:cubicBezTo>
                  <a:cubicBezTo>
                    <a:pt x="278" y="237"/>
                    <a:pt x="278" y="237"/>
                    <a:pt x="278" y="237"/>
                  </a:cubicBezTo>
                  <a:cubicBezTo>
                    <a:pt x="283" y="233"/>
                    <a:pt x="287" y="225"/>
                    <a:pt x="287" y="216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87" y="173"/>
                    <a:pt x="286" y="168"/>
                    <a:pt x="283" y="163"/>
                  </a:cubicBezTo>
                  <a:cubicBezTo>
                    <a:pt x="257" y="166"/>
                    <a:pt x="227" y="167"/>
                    <a:pt x="196" y="167"/>
                  </a:cubicBezTo>
                  <a:close/>
                  <a:moveTo>
                    <a:pt x="76" y="160"/>
                  </a:moveTo>
                  <a:cubicBezTo>
                    <a:pt x="30" y="154"/>
                    <a:pt x="0" y="145"/>
                    <a:pt x="0" y="137"/>
                  </a:cubicBezTo>
                  <a:cubicBezTo>
                    <a:pt x="1" y="124"/>
                    <a:pt x="36" y="110"/>
                    <a:pt x="89" y="104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4"/>
                    <a:pt x="122" y="0"/>
                    <a:pt x="128" y="0"/>
                  </a:cubicBezTo>
                  <a:cubicBezTo>
                    <a:pt x="172" y="0"/>
                    <a:pt x="216" y="0"/>
                    <a:pt x="260" y="0"/>
                  </a:cubicBezTo>
                  <a:cubicBezTo>
                    <a:pt x="266" y="0"/>
                    <a:pt x="269" y="4"/>
                    <a:pt x="270" y="8"/>
                  </a:cubicBezTo>
                  <a:cubicBezTo>
                    <a:pt x="299" y="104"/>
                    <a:pt x="299" y="104"/>
                    <a:pt x="299" y="104"/>
                  </a:cubicBezTo>
                  <a:cubicBezTo>
                    <a:pt x="352" y="110"/>
                    <a:pt x="387" y="124"/>
                    <a:pt x="387" y="137"/>
                  </a:cubicBezTo>
                  <a:cubicBezTo>
                    <a:pt x="387" y="145"/>
                    <a:pt x="358" y="154"/>
                    <a:pt x="312" y="160"/>
                  </a:cubicBezTo>
                  <a:cubicBezTo>
                    <a:pt x="316" y="172"/>
                    <a:pt x="319" y="185"/>
                    <a:pt x="319" y="199"/>
                  </a:cubicBezTo>
                  <a:cubicBezTo>
                    <a:pt x="319" y="212"/>
                    <a:pt x="316" y="225"/>
                    <a:pt x="312" y="237"/>
                  </a:cubicBezTo>
                  <a:cubicBezTo>
                    <a:pt x="317" y="237"/>
                    <a:pt x="317" y="237"/>
                    <a:pt x="317" y="237"/>
                  </a:cubicBezTo>
                  <a:cubicBezTo>
                    <a:pt x="328" y="237"/>
                    <a:pt x="337" y="246"/>
                    <a:pt x="337" y="257"/>
                  </a:cubicBezTo>
                  <a:cubicBezTo>
                    <a:pt x="337" y="279"/>
                    <a:pt x="337" y="279"/>
                    <a:pt x="337" y="279"/>
                  </a:cubicBezTo>
                  <a:cubicBezTo>
                    <a:pt x="353" y="281"/>
                    <a:pt x="365" y="296"/>
                    <a:pt x="365" y="315"/>
                  </a:cubicBezTo>
                  <a:cubicBezTo>
                    <a:pt x="365" y="439"/>
                    <a:pt x="365" y="439"/>
                    <a:pt x="365" y="439"/>
                  </a:cubicBezTo>
                  <a:cubicBezTo>
                    <a:pt x="365" y="459"/>
                    <a:pt x="351" y="475"/>
                    <a:pt x="333" y="475"/>
                  </a:cubicBezTo>
                  <a:cubicBezTo>
                    <a:pt x="201" y="475"/>
                    <a:pt x="201" y="475"/>
                    <a:pt x="201" y="475"/>
                  </a:cubicBezTo>
                  <a:cubicBezTo>
                    <a:pt x="201" y="315"/>
                    <a:pt x="201" y="315"/>
                    <a:pt x="201" y="315"/>
                  </a:cubicBezTo>
                  <a:cubicBezTo>
                    <a:pt x="196" y="315"/>
                    <a:pt x="191" y="315"/>
                    <a:pt x="187" y="315"/>
                  </a:cubicBezTo>
                  <a:cubicBezTo>
                    <a:pt x="187" y="475"/>
                    <a:pt x="187" y="475"/>
                    <a:pt x="187" y="475"/>
                  </a:cubicBezTo>
                  <a:cubicBezTo>
                    <a:pt x="55" y="475"/>
                    <a:pt x="55" y="475"/>
                    <a:pt x="55" y="475"/>
                  </a:cubicBezTo>
                  <a:cubicBezTo>
                    <a:pt x="37" y="475"/>
                    <a:pt x="22" y="459"/>
                    <a:pt x="22" y="439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2" y="296"/>
                    <a:pt x="35" y="281"/>
                    <a:pt x="51" y="279"/>
                  </a:cubicBezTo>
                  <a:cubicBezTo>
                    <a:pt x="51" y="257"/>
                    <a:pt x="51" y="257"/>
                    <a:pt x="51" y="257"/>
                  </a:cubicBezTo>
                  <a:cubicBezTo>
                    <a:pt x="51" y="246"/>
                    <a:pt x="60" y="237"/>
                    <a:pt x="71" y="237"/>
                  </a:cubicBezTo>
                  <a:cubicBezTo>
                    <a:pt x="76" y="237"/>
                    <a:pt x="76" y="237"/>
                    <a:pt x="76" y="237"/>
                  </a:cubicBezTo>
                  <a:cubicBezTo>
                    <a:pt x="71" y="225"/>
                    <a:pt x="69" y="212"/>
                    <a:pt x="69" y="199"/>
                  </a:cubicBezTo>
                  <a:cubicBezTo>
                    <a:pt x="69" y="185"/>
                    <a:pt x="71" y="172"/>
                    <a:pt x="76" y="160"/>
                  </a:cubicBezTo>
                  <a:close/>
                  <a:moveTo>
                    <a:pt x="132" y="179"/>
                  </a:moveTo>
                  <a:cubicBezTo>
                    <a:pt x="144" y="179"/>
                    <a:pt x="156" y="179"/>
                    <a:pt x="168" y="179"/>
                  </a:cubicBezTo>
                  <a:cubicBezTo>
                    <a:pt x="180" y="179"/>
                    <a:pt x="181" y="182"/>
                    <a:pt x="181" y="194"/>
                  </a:cubicBezTo>
                  <a:cubicBezTo>
                    <a:pt x="181" y="194"/>
                    <a:pt x="181" y="208"/>
                    <a:pt x="181" y="210"/>
                  </a:cubicBezTo>
                  <a:cubicBezTo>
                    <a:pt x="181" y="219"/>
                    <a:pt x="173" y="227"/>
                    <a:pt x="164" y="227"/>
                  </a:cubicBezTo>
                  <a:cubicBezTo>
                    <a:pt x="143" y="227"/>
                    <a:pt x="143" y="227"/>
                    <a:pt x="143" y="227"/>
                  </a:cubicBezTo>
                  <a:cubicBezTo>
                    <a:pt x="133" y="227"/>
                    <a:pt x="126" y="219"/>
                    <a:pt x="126" y="210"/>
                  </a:cubicBezTo>
                  <a:cubicBezTo>
                    <a:pt x="126" y="182"/>
                    <a:pt x="126" y="182"/>
                    <a:pt x="126" y="182"/>
                  </a:cubicBezTo>
                  <a:cubicBezTo>
                    <a:pt x="126" y="180"/>
                    <a:pt x="127" y="179"/>
                    <a:pt x="128" y="179"/>
                  </a:cubicBezTo>
                  <a:cubicBezTo>
                    <a:pt x="131" y="179"/>
                    <a:pt x="131" y="179"/>
                    <a:pt x="131" y="179"/>
                  </a:cubicBezTo>
                  <a:cubicBezTo>
                    <a:pt x="131" y="179"/>
                    <a:pt x="131" y="179"/>
                    <a:pt x="132" y="179"/>
                  </a:cubicBezTo>
                  <a:close/>
                  <a:moveTo>
                    <a:pt x="224" y="179"/>
                  </a:moveTo>
                  <a:cubicBezTo>
                    <a:pt x="262" y="179"/>
                    <a:pt x="262" y="179"/>
                    <a:pt x="262" y="179"/>
                  </a:cubicBezTo>
                  <a:cubicBezTo>
                    <a:pt x="262" y="179"/>
                    <a:pt x="262" y="179"/>
                    <a:pt x="262" y="179"/>
                  </a:cubicBezTo>
                  <a:cubicBezTo>
                    <a:pt x="266" y="179"/>
                    <a:pt x="266" y="179"/>
                    <a:pt x="266" y="179"/>
                  </a:cubicBezTo>
                  <a:cubicBezTo>
                    <a:pt x="268" y="179"/>
                    <a:pt x="269" y="180"/>
                    <a:pt x="269" y="182"/>
                  </a:cubicBezTo>
                  <a:cubicBezTo>
                    <a:pt x="269" y="210"/>
                    <a:pt x="269" y="210"/>
                    <a:pt x="269" y="210"/>
                  </a:cubicBezTo>
                  <a:cubicBezTo>
                    <a:pt x="269" y="219"/>
                    <a:pt x="261" y="227"/>
                    <a:pt x="252" y="227"/>
                  </a:cubicBezTo>
                  <a:cubicBezTo>
                    <a:pt x="230" y="227"/>
                    <a:pt x="230" y="227"/>
                    <a:pt x="230" y="227"/>
                  </a:cubicBezTo>
                  <a:cubicBezTo>
                    <a:pt x="221" y="227"/>
                    <a:pt x="214" y="219"/>
                    <a:pt x="213" y="210"/>
                  </a:cubicBezTo>
                  <a:cubicBezTo>
                    <a:pt x="213" y="193"/>
                    <a:pt x="213" y="193"/>
                    <a:pt x="213" y="193"/>
                  </a:cubicBezTo>
                  <a:cubicBezTo>
                    <a:pt x="213" y="182"/>
                    <a:pt x="211" y="179"/>
                    <a:pt x="224" y="179"/>
                  </a:cubicBezTo>
                  <a:close/>
                </a:path>
              </a:pathLst>
            </a:custGeom>
            <a:solidFill>
              <a:schemeClr val="bg1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68589" tIns="34295" rIns="68589" bIns="34295"/>
            <a:lstStyle/>
            <a:p>
              <a:pPr defTabSz="685891">
                <a:defRPr/>
              </a:pPr>
              <a:endParaRPr lang="en-US" sz="1400" kern="0" dirty="0">
                <a:solidFill>
                  <a:srgbClr val="FF0000"/>
                </a:solidFill>
                <a:latin typeface="+mn-lt"/>
              </a:endParaRPr>
            </a:p>
          </p:txBody>
        </p:sp>
      </p:grpSp>
      <p:sp>
        <p:nvSpPr>
          <p:cNvPr id="102" name="Rectangle 101"/>
          <p:cNvSpPr/>
          <p:nvPr/>
        </p:nvSpPr>
        <p:spPr>
          <a:xfrm>
            <a:off x="6282340" y="2720984"/>
            <a:ext cx="513879" cy="4109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Int.</a:t>
            </a:r>
          </a:p>
          <a:p>
            <a:pPr algn="ctr"/>
            <a:r>
              <a:rPr lang="en-US" sz="1000" dirty="0" smtClean="0"/>
              <a:t>Peer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5617449" y="2731868"/>
            <a:ext cx="513879" cy="41096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bg2"/>
                </a:solidFill>
              </a:rPr>
              <a:t>Int.</a:t>
            </a:r>
          </a:p>
          <a:p>
            <a:pPr algn="ctr"/>
            <a:r>
              <a:rPr lang="en-US" sz="900" dirty="0" smtClean="0">
                <a:solidFill>
                  <a:schemeClr val="bg2"/>
                </a:solidFill>
              </a:rPr>
              <a:t>Peer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2462084" y="2656152"/>
            <a:ext cx="513879" cy="41096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2"/>
                </a:solidFill>
              </a:rPr>
              <a:t>PE</a:t>
            </a:r>
          </a:p>
        </p:txBody>
      </p:sp>
      <p:cxnSp>
        <p:nvCxnSpPr>
          <p:cNvPr id="101" name="Straight Arrow Connector 100"/>
          <p:cNvCxnSpPr>
            <a:stCxn id="118" idx="0"/>
          </p:cNvCxnSpPr>
          <p:nvPr/>
        </p:nvCxnSpPr>
        <p:spPr>
          <a:xfrm flipV="1">
            <a:off x="5653252" y="2986502"/>
            <a:ext cx="466505" cy="1161228"/>
          </a:xfrm>
          <a:prstGeom prst="straightConnector1">
            <a:avLst/>
          </a:prstGeom>
          <a:ln w="317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/>
          <p:nvPr/>
        </p:nvSpPr>
        <p:spPr>
          <a:xfrm>
            <a:off x="4962999" y="4147730"/>
            <a:ext cx="13805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err="1" smtClean="0">
                <a:solidFill>
                  <a:srgbClr val="005073"/>
                </a:solidFill>
                <a:latin typeface="+mn-lt"/>
                <a:ea typeface="CiscoSansTT Thin" charset="0"/>
                <a:cs typeface="CiscoSansTT Thin" charset="0"/>
              </a:rPr>
              <a:t>iACL</a:t>
            </a:r>
            <a:r>
              <a:rPr lang="en-US" sz="1600" dirty="0" smtClean="0">
                <a:solidFill>
                  <a:srgbClr val="005073"/>
                </a:solidFill>
                <a:latin typeface="+mn-lt"/>
                <a:ea typeface="CiscoSansTT Thin" charset="0"/>
                <a:cs typeface="CiscoSansTT Thin" charset="0"/>
              </a:rPr>
              <a:t> Applied</a:t>
            </a:r>
            <a:endParaRPr lang="en-US" sz="1600" dirty="0">
              <a:latin typeface="+mn-lt"/>
            </a:endParaRPr>
          </a:p>
        </p:txBody>
      </p:sp>
      <p:sp>
        <p:nvSpPr>
          <p:cNvPr id="36" name="Round Same Side Corner Rectangle 35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99" y="527048"/>
            <a:ext cx="519060" cy="519060"/>
          </a:xfrm>
          <a:prstGeom prst="rect">
            <a:avLst/>
          </a:prstGeom>
        </p:spPr>
      </p:pic>
      <p:sp>
        <p:nvSpPr>
          <p:cNvPr id="39" name="Title 1"/>
          <p:cNvSpPr txBox="1">
            <a:spLocks/>
          </p:cNvSpPr>
          <p:nvPr/>
        </p:nvSpPr>
        <p:spPr bwMode="auto">
          <a:xfrm>
            <a:off x="1197603" y="360377"/>
            <a:ext cx="7661917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mtClean="0">
                <a:solidFill>
                  <a:srgbClr val="005073"/>
                </a:solidFill>
                <a:latin typeface="+mn-lt"/>
              </a:rPr>
              <a:t>Build a secure foundation</a:t>
            </a:r>
            <a:br>
              <a:rPr lang="en-US" smtClean="0">
                <a:solidFill>
                  <a:srgbClr val="005073"/>
                </a:solidFill>
                <a:latin typeface="+mn-lt"/>
              </a:rPr>
            </a:br>
            <a:r>
              <a:rPr lang="en-US" sz="2000" smtClean="0">
                <a:solidFill>
                  <a:srgbClr val="005073"/>
                </a:solidFill>
                <a:latin typeface="+mn-lt"/>
              </a:rPr>
              <a:t>Infrastructure ACL (iACL)</a:t>
            </a: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6937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1210932" y="1085863"/>
            <a:ext cx="4663456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>
                <a:solidFill>
                  <a:srgbClr val="005073"/>
                </a:solidFill>
                <a:latin typeface="+mn-lt"/>
                <a:ea typeface="CiscoSansTT Thin" charset="0"/>
                <a:cs typeface="CiscoSansTT Thin" charset="0"/>
              </a:rPr>
              <a:t>Steady-State – Traffic destined to infrastructure:</a:t>
            </a:r>
            <a:endParaRPr lang="en-US" sz="1600" dirty="0">
              <a:solidFill>
                <a:srgbClr val="005073"/>
              </a:solidFill>
              <a:latin typeface="+mn-lt"/>
              <a:ea typeface="CiscoSansTT Thin" charset="0"/>
              <a:cs typeface="CiscoSansTT Thin" charset="0"/>
            </a:endParaRPr>
          </a:p>
          <a:p>
            <a:r>
              <a:rPr lang="en-US" b="1" dirty="0" smtClean="0">
                <a:solidFill>
                  <a:srgbClr val="FF0000"/>
                </a:solidFill>
                <a:latin typeface="+mn-lt"/>
              </a:rPr>
              <a:t>Blocked!</a:t>
            </a:r>
            <a:endParaRPr lang="en-US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Cloud 2"/>
          <p:cNvSpPr/>
          <p:nvPr/>
        </p:nvSpPr>
        <p:spPr>
          <a:xfrm>
            <a:off x="698486" y="1740293"/>
            <a:ext cx="1737408" cy="2390620"/>
          </a:xfrm>
          <a:prstGeom prst="cloud">
            <a:avLst/>
          </a:prstGeom>
          <a:solidFill>
            <a:schemeClr val="accent1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" name="Cloud 3"/>
          <p:cNvSpPr/>
          <p:nvPr/>
        </p:nvSpPr>
        <p:spPr>
          <a:xfrm>
            <a:off x="2251371" y="1586707"/>
            <a:ext cx="3989295" cy="2697793"/>
          </a:xfrm>
          <a:prstGeom prst="cloud">
            <a:avLst/>
          </a:prstGeom>
          <a:solidFill>
            <a:schemeClr val="accent5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8" name="Cloud 7"/>
          <p:cNvSpPr/>
          <p:nvPr/>
        </p:nvSpPr>
        <p:spPr>
          <a:xfrm>
            <a:off x="6213401" y="943900"/>
            <a:ext cx="2668751" cy="4391983"/>
          </a:xfrm>
          <a:prstGeom prst="cloud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2820985" y="183565"/>
            <a:ext cx="8404944" cy="397971"/>
          </a:xfrm>
          <a:prstGeom prst="rect">
            <a:avLst/>
          </a:prstGeom>
        </p:spPr>
        <p:txBody>
          <a:bodyPr lIns="0" tIns="0" rIns="0" bIns="0"/>
          <a:lstStyle/>
          <a:p>
            <a:pPr marL="233363" indent="-233363" defTabSz="684213">
              <a:spcBef>
                <a:spcPts val="2000"/>
              </a:spcBef>
              <a:buSzPct val="100000"/>
              <a:buFont typeface="Arial" charset="0"/>
              <a:buChar char="•"/>
            </a:pPr>
            <a:endParaRPr lang="en-US" kern="0" dirty="0" smtClean="0">
              <a:solidFill>
                <a:srgbClr val="005073"/>
              </a:solidFill>
              <a:latin typeface="+mn-lt"/>
              <a:cs typeface="CiscoSans"/>
            </a:endParaRPr>
          </a:p>
        </p:txBody>
      </p:sp>
      <p:grpSp>
        <p:nvGrpSpPr>
          <p:cNvPr id="11" name="Group 10"/>
          <p:cNvGrpSpPr>
            <a:grpSpLocks noChangeAspect="1"/>
          </p:cNvGrpSpPr>
          <p:nvPr/>
        </p:nvGrpSpPr>
        <p:grpSpPr>
          <a:xfrm>
            <a:off x="1190259" y="2514176"/>
            <a:ext cx="758952" cy="758952"/>
            <a:chOff x="5253221" y="2455518"/>
            <a:chExt cx="966043" cy="969264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3221" y="2455518"/>
              <a:ext cx="966043" cy="969264"/>
            </a:xfrm>
            <a:prstGeom prst="rect">
              <a:avLst/>
            </a:prstGeom>
          </p:spPr>
        </p:pic>
        <p:sp>
          <p:nvSpPr>
            <p:cNvPr id="13" name="Freeform 33"/>
            <p:cNvSpPr>
              <a:spLocks noEditPoints="1"/>
            </p:cNvSpPr>
            <p:nvPr/>
          </p:nvSpPr>
          <p:spPr bwMode="auto">
            <a:xfrm>
              <a:off x="5811897" y="3032186"/>
              <a:ext cx="138102" cy="161552"/>
            </a:xfrm>
            <a:custGeom>
              <a:avLst/>
              <a:gdLst>
                <a:gd name="T0" fmla="*/ 473 w 564"/>
                <a:gd name="T1" fmla="*/ 45 h 460"/>
                <a:gd name="T2" fmla="*/ 457 w 564"/>
                <a:gd name="T3" fmla="*/ 20 h 460"/>
                <a:gd name="T4" fmla="*/ 433 w 564"/>
                <a:gd name="T5" fmla="*/ 4 h 460"/>
                <a:gd name="T6" fmla="*/ 150 w 564"/>
                <a:gd name="T7" fmla="*/ 0 h 460"/>
                <a:gd name="T8" fmla="*/ 131 w 564"/>
                <a:gd name="T9" fmla="*/ 4 h 460"/>
                <a:gd name="T10" fmla="*/ 107 w 564"/>
                <a:gd name="T11" fmla="*/ 20 h 460"/>
                <a:gd name="T12" fmla="*/ 91 w 564"/>
                <a:gd name="T13" fmla="*/ 45 h 460"/>
                <a:gd name="T14" fmla="*/ 40 w 564"/>
                <a:gd name="T15" fmla="*/ 174 h 460"/>
                <a:gd name="T16" fmla="*/ 14 w 564"/>
                <a:gd name="T17" fmla="*/ 190 h 460"/>
                <a:gd name="T18" fmla="*/ 1 w 564"/>
                <a:gd name="T19" fmla="*/ 214 h 460"/>
                <a:gd name="T20" fmla="*/ 65 w 564"/>
                <a:gd name="T21" fmla="*/ 382 h 460"/>
                <a:gd name="T22" fmla="*/ 67 w 564"/>
                <a:gd name="T23" fmla="*/ 428 h 460"/>
                <a:gd name="T24" fmla="*/ 78 w 564"/>
                <a:gd name="T25" fmla="*/ 449 h 460"/>
                <a:gd name="T26" fmla="*/ 99 w 564"/>
                <a:gd name="T27" fmla="*/ 460 h 460"/>
                <a:gd name="T28" fmla="*/ 115 w 564"/>
                <a:gd name="T29" fmla="*/ 460 h 460"/>
                <a:gd name="T30" fmla="*/ 134 w 564"/>
                <a:gd name="T31" fmla="*/ 449 h 460"/>
                <a:gd name="T32" fmla="*/ 145 w 564"/>
                <a:gd name="T33" fmla="*/ 428 h 460"/>
                <a:gd name="T34" fmla="*/ 418 w 564"/>
                <a:gd name="T35" fmla="*/ 382 h 460"/>
                <a:gd name="T36" fmla="*/ 419 w 564"/>
                <a:gd name="T37" fmla="*/ 428 h 460"/>
                <a:gd name="T38" fmla="*/ 430 w 564"/>
                <a:gd name="T39" fmla="*/ 449 h 460"/>
                <a:gd name="T40" fmla="*/ 451 w 564"/>
                <a:gd name="T41" fmla="*/ 460 h 460"/>
                <a:gd name="T42" fmla="*/ 467 w 564"/>
                <a:gd name="T43" fmla="*/ 460 h 460"/>
                <a:gd name="T44" fmla="*/ 486 w 564"/>
                <a:gd name="T45" fmla="*/ 449 h 460"/>
                <a:gd name="T46" fmla="*/ 497 w 564"/>
                <a:gd name="T47" fmla="*/ 428 h 460"/>
                <a:gd name="T48" fmla="*/ 564 w 564"/>
                <a:gd name="T49" fmla="*/ 382 h 460"/>
                <a:gd name="T50" fmla="*/ 563 w 564"/>
                <a:gd name="T51" fmla="*/ 214 h 460"/>
                <a:gd name="T52" fmla="*/ 550 w 564"/>
                <a:gd name="T53" fmla="*/ 190 h 460"/>
                <a:gd name="T54" fmla="*/ 526 w 564"/>
                <a:gd name="T55" fmla="*/ 174 h 460"/>
                <a:gd name="T56" fmla="*/ 145 w 564"/>
                <a:gd name="T57" fmla="*/ 69 h 460"/>
                <a:gd name="T58" fmla="*/ 151 w 564"/>
                <a:gd name="T59" fmla="*/ 59 h 460"/>
                <a:gd name="T60" fmla="*/ 402 w 564"/>
                <a:gd name="T61" fmla="*/ 56 h 460"/>
                <a:gd name="T62" fmla="*/ 410 w 564"/>
                <a:gd name="T63" fmla="*/ 59 h 460"/>
                <a:gd name="T64" fmla="*/ 451 w 564"/>
                <a:gd name="T65" fmla="*/ 173 h 460"/>
                <a:gd name="T66" fmla="*/ 146 w 564"/>
                <a:gd name="T67" fmla="*/ 327 h 460"/>
                <a:gd name="T68" fmla="*/ 129 w 564"/>
                <a:gd name="T69" fmla="*/ 323 h 460"/>
                <a:gd name="T70" fmla="*/ 108 w 564"/>
                <a:gd name="T71" fmla="*/ 307 h 460"/>
                <a:gd name="T72" fmla="*/ 99 w 564"/>
                <a:gd name="T73" fmla="*/ 280 h 460"/>
                <a:gd name="T74" fmla="*/ 103 w 564"/>
                <a:gd name="T75" fmla="*/ 260 h 460"/>
                <a:gd name="T76" fmla="*/ 121 w 564"/>
                <a:gd name="T77" fmla="*/ 240 h 460"/>
                <a:gd name="T78" fmla="*/ 146 w 564"/>
                <a:gd name="T79" fmla="*/ 232 h 460"/>
                <a:gd name="T80" fmla="*/ 166 w 564"/>
                <a:gd name="T81" fmla="*/ 236 h 460"/>
                <a:gd name="T82" fmla="*/ 186 w 564"/>
                <a:gd name="T83" fmla="*/ 252 h 460"/>
                <a:gd name="T84" fmla="*/ 194 w 564"/>
                <a:gd name="T85" fmla="*/ 280 h 460"/>
                <a:gd name="T86" fmla="*/ 191 w 564"/>
                <a:gd name="T87" fmla="*/ 299 h 460"/>
                <a:gd name="T88" fmla="*/ 174 w 564"/>
                <a:gd name="T89" fmla="*/ 319 h 460"/>
                <a:gd name="T90" fmla="*/ 146 w 564"/>
                <a:gd name="T91" fmla="*/ 327 h 460"/>
                <a:gd name="T92" fmla="*/ 418 w 564"/>
                <a:gd name="T93" fmla="*/ 327 h 460"/>
                <a:gd name="T94" fmla="*/ 390 w 564"/>
                <a:gd name="T95" fmla="*/ 319 h 460"/>
                <a:gd name="T96" fmla="*/ 374 w 564"/>
                <a:gd name="T97" fmla="*/ 299 h 460"/>
                <a:gd name="T98" fmla="*/ 370 w 564"/>
                <a:gd name="T99" fmla="*/ 280 h 460"/>
                <a:gd name="T100" fmla="*/ 378 w 564"/>
                <a:gd name="T101" fmla="*/ 252 h 460"/>
                <a:gd name="T102" fmla="*/ 398 w 564"/>
                <a:gd name="T103" fmla="*/ 236 h 460"/>
                <a:gd name="T104" fmla="*/ 418 w 564"/>
                <a:gd name="T105" fmla="*/ 232 h 460"/>
                <a:gd name="T106" fmla="*/ 445 w 564"/>
                <a:gd name="T107" fmla="*/ 240 h 460"/>
                <a:gd name="T108" fmla="*/ 461 w 564"/>
                <a:gd name="T109" fmla="*/ 260 h 460"/>
                <a:gd name="T110" fmla="*/ 465 w 564"/>
                <a:gd name="T111" fmla="*/ 280 h 460"/>
                <a:gd name="T112" fmla="*/ 457 w 564"/>
                <a:gd name="T113" fmla="*/ 307 h 460"/>
                <a:gd name="T114" fmla="*/ 437 w 564"/>
                <a:gd name="T115" fmla="*/ 323 h 460"/>
                <a:gd name="T116" fmla="*/ 418 w 564"/>
                <a:gd name="T117" fmla="*/ 327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4" h="460">
                  <a:moveTo>
                    <a:pt x="516" y="173"/>
                  </a:moveTo>
                  <a:lnTo>
                    <a:pt x="473" y="45"/>
                  </a:lnTo>
                  <a:lnTo>
                    <a:pt x="473" y="45"/>
                  </a:lnTo>
                  <a:lnTo>
                    <a:pt x="470" y="36"/>
                  </a:lnTo>
                  <a:lnTo>
                    <a:pt x="464" y="28"/>
                  </a:lnTo>
                  <a:lnTo>
                    <a:pt x="457" y="20"/>
                  </a:lnTo>
                  <a:lnTo>
                    <a:pt x="451" y="13"/>
                  </a:lnTo>
                  <a:lnTo>
                    <a:pt x="443" y="8"/>
                  </a:lnTo>
                  <a:lnTo>
                    <a:pt x="433" y="4"/>
                  </a:lnTo>
                  <a:lnTo>
                    <a:pt x="424" y="0"/>
                  </a:lnTo>
                  <a:lnTo>
                    <a:pt x="414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40" y="0"/>
                  </a:lnTo>
                  <a:lnTo>
                    <a:pt x="131" y="4"/>
                  </a:lnTo>
                  <a:lnTo>
                    <a:pt x="123" y="8"/>
                  </a:lnTo>
                  <a:lnTo>
                    <a:pt x="113" y="13"/>
                  </a:lnTo>
                  <a:lnTo>
                    <a:pt x="107" y="20"/>
                  </a:lnTo>
                  <a:lnTo>
                    <a:pt x="100" y="28"/>
                  </a:lnTo>
                  <a:lnTo>
                    <a:pt x="94" y="36"/>
                  </a:lnTo>
                  <a:lnTo>
                    <a:pt x="91" y="45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0" y="174"/>
                  </a:lnTo>
                  <a:lnTo>
                    <a:pt x="30" y="177"/>
                  </a:lnTo>
                  <a:lnTo>
                    <a:pt x="22" y="184"/>
                  </a:lnTo>
                  <a:lnTo>
                    <a:pt x="14" y="190"/>
                  </a:lnTo>
                  <a:lnTo>
                    <a:pt x="9" y="197"/>
                  </a:lnTo>
                  <a:lnTo>
                    <a:pt x="5" y="206"/>
                  </a:lnTo>
                  <a:lnTo>
                    <a:pt x="1" y="214"/>
                  </a:lnTo>
                  <a:lnTo>
                    <a:pt x="0" y="225"/>
                  </a:lnTo>
                  <a:lnTo>
                    <a:pt x="0" y="382"/>
                  </a:lnTo>
                  <a:lnTo>
                    <a:pt x="65" y="382"/>
                  </a:lnTo>
                  <a:lnTo>
                    <a:pt x="65" y="420"/>
                  </a:lnTo>
                  <a:lnTo>
                    <a:pt x="65" y="420"/>
                  </a:lnTo>
                  <a:lnTo>
                    <a:pt x="67" y="428"/>
                  </a:lnTo>
                  <a:lnTo>
                    <a:pt x="68" y="436"/>
                  </a:lnTo>
                  <a:lnTo>
                    <a:pt x="73" y="442"/>
                  </a:lnTo>
                  <a:lnTo>
                    <a:pt x="78" y="449"/>
                  </a:lnTo>
                  <a:lnTo>
                    <a:pt x="83" y="453"/>
                  </a:lnTo>
                  <a:lnTo>
                    <a:pt x="91" y="456"/>
                  </a:lnTo>
                  <a:lnTo>
                    <a:pt x="99" y="460"/>
                  </a:lnTo>
                  <a:lnTo>
                    <a:pt x="107" y="460"/>
                  </a:lnTo>
                  <a:lnTo>
                    <a:pt x="107" y="460"/>
                  </a:lnTo>
                  <a:lnTo>
                    <a:pt x="115" y="460"/>
                  </a:lnTo>
                  <a:lnTo>
                    <a:pt x="121" y="456"/>
                  </a:lnTo>
                  <a:lnTo>
                    <a:pt x="129" y="453"/>
                  </a:lnTo>
                  <a:lnTo>
                    <a:pt x="134" y="449"/>
                  </a:lnTo>
                  <a:lnTo>
                    <a:pt x="138" y="442"/>
                  </a:lnTo>
                  <a:lnTo>
                    <a:pt x="143" y="436"/>
                  </a:lnTo>
                  <a:lnTo>
                    <a:pt x="145" y="428"/>
                  </a:lnTo>
                  <a:lnTo>
                    <a:pt x="146" y="420"/>
                  </a:lnTo>
                  <a:lnTo>
                    <a:pt x="146" y="382"/>
                  </a:lnTo>
                  <a:lnTo>
                    <a:pt x="418" y="382"/>
                  </a:lnTo>
                  <a:lnTo>
                    <a:pt x="418" y="420"/>
                  </a:lnTo>
                  <a:lnTo>
                    <a:pt x="418" y="420"/>
                  </a:lnTo>
                  <a:lnTo>
                    <a:pt x="419" y="428"/>
                  </a:lnTo>
                  <a:lnTo>
                    <a:pt x="421" y="436"/>
                  </a:lnTo>
                  <a:lnTo>
                    <a:pt x="426" y="442"/>
                  </a:lnTo>
                  <a:lnTo>
                    <a:pt x="430" y="449"/>
                  </a:lnTo>
                  <a:lnTo>
                    <a:pt x="437" y="453"/>
                  </a:lnTo>
                  <a:lnTo>
                    <a:pt x="443" y="456"/>
                  </a:lnTo>
                  <a:lnTo>
                    <a:pt x="451" y="460"/>
                  </a:lnTo>
                  <a:lnTo>
                    <a:pt x="459" y="460"/>
                  </a:lnTo>
                  <a:lnTo>
                    <a:pt x="459" y="460"/>
                  </a:lnTo>
                  <a:lnTo>
                    <a:pt x="467" y="460"/>
                  </a:lnTo>
                  <a:lnTo>
                    <a:pt x="473" y="456"/>
                  </a:lnTo>
                  <a:lnTo>
                    <a:pt x="481" y="453"/>
                  </a:lnTo>
                  <a:lnTo>
                    <a:pt x="486" y="449"/>
                  </a:lnTo>
                  <a:lnTo>
                    <a:pt x="492" y="442"/>
                  </a:lnTo>
                  <a:lnTo>
                    <a:pt x="496" y="436"/>
                  </a:lnTo>
                  <a:lnTo>
                    <a:pt x="497" y="428"/>
                  </a:lnTo>
                  <a:lnTo>
                    <a:pt x="499" y="420"/>
                  </a:lnTo>
                  <a:lnTo>
                    <a:pt x="499" y="382"/>
                  </a:lnTo>
                  <a:lnTo>
                    <a:pt x="564" y="382"/>
                  </a:lnTo>
                  <a:lnTo>
                    <a:pt x="564" y="225"/>
                  </a:lnTo>
                  <a:lnTo>
                    <a:pt x="564" y="225"/>
                  </a:lnTo>
                  <a:lnTo>
                    <a:pt x="563" y="214"/>
                  </a:lnTo>
                  <a:lnTo>
                    <a:pt x="559" y="206"/>
                  </a:lnTo>
                  <a:lnTo>
                    <a:pt x="556" y="197"/>
                  </a:lnTo>
                  <a:lnTo>
                    <a:pt x="550" y="190"/>
                  </a:lnTo>
                  <a:lnTo>
                    <a:pt x="542" y="184"/>
                  </a:lnTo>
                  <a:lnTo>
                    <a:pt x="534" y="177"/>
                  </a:lnTo>
                  <a:lnTo>
                    <a:pt x="526" y="174"/>
                  </a:lnTo>
                  <a:lnTo>
                    <a:pt x="516" y="173"/>
                  </a:lnTo>
                  <a:lnTo>
                    <a:pt x="516" y="173"/>
                  </a:lnTo>
                  <a:close/>
                  <a:moveTo>
                    <a:pt x="145" y="69"/>
                  </a:moveTo>
                  <a:lnTo>
                    <a:pt x="145" y="69"/>
                  </a:lnTo>
                  <a:lnTo>
                    <a:pt x="148" y="64"/>
                  </a:lnTo>
                  <a:lnTo>
                    <a:pt x="151" y="59"/>
                  </a:lnTo>
                  <a:lnTo>
                    <a:pt x="156" y="58"/>
                  </a:lnTo>
                  <a:lnTo>
                    <a:pt x="161" y="56"/>
                  </a:lnTo>
                  <a:lnTo>
                    <a:pt x="402" y="56"/>
                  </a:lnTo>
                  <a:lnTo>
                    <a:pt x="402" y="56"/>
                  </a:lnTo>
                  <a:lnTo>
                    <a:pt x="406" y="58"/>
                  </a:lnTo>
                  <a:lnTo>
                    <a:pt x="410" y="59"/>
                  </a:lnTo>
                  <a:lnTo>
                    <a:pt x="414" y="64"/>
                  </a:lnTo>
                  <a:lnTo>
                    <a:pt x="418" y="69"/>
                  </a:lnTo>
                  <a:lnTo>
                    <a:pt x="451" y="173"/>
                  </a:lnTo>
                  <a:lnTo>
                    <a:pt x="111" y="173"/>
                  </a:lnTo>
                  <a:lnTo>
                    <a:pt x="145" y="69"/>
                  </a:lnTo>
                  <a:close/>
                  <a:moveTo>
                    <a:pt x="146" y="327"/>
                  </a:moveTo>
                  <a:lnTo>
                    <a:pt x="146" y="327"/>
                  </a:lnTo>
                  <a:lnTo>
                    <a:pt x="137" y="326"/>
                  </a:lnTo>
                  <a:lnTo>
                    <a:pt x="129" y="323"/>
                  </a:lnTo>
                  <a:lnTo>
                    <a:pt x="121" y="319"/>
                  </a:lnTo>
                  <a:lnTo>
                    <a:pt x="113" y="313"/>
                  </a:lnTo>
                  <a:lnTo>
                    <a:pt x="108" y="307"/>
                  </a:lnTo>
                  <a:lnTo>
                    <a:pt x="103" y="299"/>
                  </a:lnTo>
                  <a:lnTo>
                    <a:pt x="100" y="289"/>
                  </a:lnTo>
                  <a:lnTo>
                    <a:pt x="99" y="280"/>
                  </a:lnTo>
                  <a:lnTo>
                    <a:pt x="99" y="280"/>
                  </a:lnTo>
                  <a:lnTo>
                    <a:pt x="100" y="270"/>
                  </a:lnTo>
                  <a:lnTo>
                    <a:pt x="103" y="260"/>
                  </a:lnTo>
                  <a:lnTo>
                    <a:pt x="108" y="252"/>
                  </a:lnTo>
                  <a:lnTo>
                    <a:pt x="113" y="246"/>
                  </a:lnTo>
                  <a:lnTo>
                    <a:pt x="121" y="240"/>
                  </a:lnTo>
                  <a:lnTo>
                    <a:pt x="129" y="236"/>
                  </a:lnTo>
                  <a:lnTo>
                    <a:pt x="137" y="233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56" y="233"/>
                  </a:lnTo>
                  <a:lnTo>
                    <a:pt x="166" y="236"/>
                  </a:lnTo>
                  <a:lnTo>
                    <a:pt x="174" y="240"/>
                  </a:lnTo>
                  <a:lnTo>
                    <a:pt x="180" y="246"/>
                  </a:lnTo>
                  <a:lnTo>
                    <a:pt x="186" y="252"/>
                  </a:lnTo>
                  <a:lnTo>
                    <a:pt x="191" y="260"/>
                  </a:lnTo>
                  <a:lnTo>
                    <a:pt x="193" y="270"/>
                  </a:lnTo>
                  <a:lnTo>
                    <a:pt x="194" y="280"/>
                  </a:lnTo>
                  <a:lnTo>
                    <a:pt x="194" y="280"/>
                  </a:lnTo>
                  <a:lnTo>
                    <a:pt x="193" y="289"/>
                  </a:lnTo>
                  <a:lnTo>
                    <a:pt x="191" y="299"/>
                  </a:lnTo>
                  <a:lnTo>
                    <a:pt x="186" y="307"/>
                  </a:lnTo>
                  <a:lnTo>
                    <a:pt x="180" y="313"/>
                  </a:lnTo>
                  <a:lnTo>
                    <a:pt x="174" y="319"/>
                  </a:lnTo>
                  <a:lnTo>
                    <a:pt x="166" y="323"/>
                  </a:lnTo>
                  <a:lnTo>
                    <a:pt x="156" y="326"/>
                  </a:lnTo>
                  <a:lnTo>
                    <a:pt x="146" y="327"/>
                  </a:lnTo>
                  <a:lnTo>
                    <a:pt x="146" y="327"/>
                  </a:lnTo>
                  <a:close/>
                  <a:moveTo>
                    <a:pt x="418" y="327"/>
                  </a:moveTo>
                  <a:lnTo>
                    <a:pt x="418" y="327"/>
                  </a:lnTo>
                  <a:lnTo>
                    <a:pt x="408" y="326"/>
                  </a:lnTo>
                  <a:lnTo>
                    <a:pt x="398" y="323"/>
                  </a:lnTo>
                  <a:lnTo>
                    <a:pt x="390" y="319"/>
                  </a:lnTo>
                  <a:lnTo>
                    <a:pt x="384" y="313"/>
                  </a:lnTo>
                  <a:lnTo>
                    <a:pt x="378" y="307"/>
                  </a:lnTo>
                  <a:lnTo>
                    <a:pt x="374" y="299"/>
                  </a:lnTo>
                  <a:lnTo>
                    <a:pt x="371" y="289"/>
                  </a:lnTo>
                  <a:lnTo>
                    <a:pt x="370" y="280"/>
                  </a:lnTo>
                  <a:lnTo>
                    <a:pt x="370" y="280"/>
                  </a:lnTo>
                  <a:lnTo>
                    <a:pt x="371" y="270"/>
                  </a:lnTo>
                  <a:lnTo>
                    <a:pt x="374" y="260"/>
                  </a:lnTo>
                  <a:lnTo>
                    <a:pt x="378" y="252"/>
                  </a:lnTo>
                  <a:lnTo>
                    <a:pt x="384" y="246"/>
                  </a:lnTo>
                  <a:lnTo>
                    <a:pt x="390" y="240"/>
                  </a:lnTo>
                  <a:lnTo>
                    <a:pt x="398" y="236"/>
                  </a:lnTo>
                  <a:lnTo>
                    <a:pt x="408" y="233"/>
                  </a:lnTo>
                  <a:lnTo>
                    <a:pt x="418" y="232"/>
                  </a:lnTo>
                  <a:lnTo>
                    <a:pt x="418" y="232"/>
                  </a:lnTo>
                  <a:lnTo>
                    <a:pt x="427" y="233"/>
                  </a:lnTo>
                  <a:lnTo>
                    <a:pt x="437" y="236"/>
                  </a:lnTo>
                  <a:lnTo>
                    <a:pt x="445" y="240"/>
                  </a:lnTo>
                  <a:lnTo>
                    <a:pt x="451" y="246"/>
                  </a:lnTo>
                  <a:lnTo>
                    <a:pt x="457" y="252"/>
                  </a:lnTo>
                  <a:lnTo>
                    <a:pt x="461" y="260"/>
                  </a:lnTo>
                  <a:lnTo>
                    <a:pt x="464" y="270"/>
                  </a:lnTo>
                  <a:lnTo>
                    <a:pt x="465" y="280"/>
                  </a:lnTo>
                  <a:lnTo>
                    <a:pt x="465" y="280"/>
                  </a:lnTo>
                  <a:lnTo>
                    <a:pt x="464" y="289"/>
                  </a:lnTo>
                  <a:lnTo>
                    <a:pt x="461" y="299"/>
                  </a:lnTo>
                  <a:lnTo>
                    <a:pt x="457" y="307"/>
                  </a:lnTo>
                  <a:lnTo>
                    <a:pt x="451" y="313"/>
                  </a:lnTo>
                  <a:lnTo>
                    <a:pt x="445" y="319"/>
                  </a:lnTo>
                  <a:lnTo>
                    <a:pt x="437" y="323"/>
                  </a:lnTo>
                  <a:lnTo>
                    <a:pt x="427" y="326"/>
                  </a:lnTo>
                  <a:lnTo>
                    <a:pt x="418" y="327"/>
                  </a:lnTo>
                  <a:lnTo>
                    <a:pt x="418" y="327"/>
                  </a:lnTo>
                  <a:close/>
                </a:path>
              </a:pathLst>
            </a:custGeom>
            <a:solidFill>
              <a:srgbClr val="00BC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US" sz="2400">
                <a:solidFill>
                  <a:srgbClr val="282828"/>
                </a:solidFill>
                <a:latin typeface="+mn-lt"/>
              </a:endParaRPr>
            </a:p>
          </p:txBody>
        </p:sp>
      </p:grpSp>
      <p:sp>
        <p:nvSpPr>
          <p:cNvPr id="21" name="Rectangle 20"/>
          <p:cNvSpPr/>
          <p:nvPr/>
        </p:nvSpPr>
        <p:spPr>
          <a:xfrm>
            <a:off x="3953159" y="3167064"/>
            <a:ext cx="513879" cy="41096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2"/>
                </a:solidFill>
              </a:rPr>
              <a:t>R</a:t>
            </a:r>
            <a:r>
              <a:rPr lang="en-US" sz="14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255896" y="2142965"/>
            <a:ext cx="264301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latin typeface="+mn-lt"/>
              </a:rPr>
              <a:t>SP Infrastructure</a:t>
            </a:r>
            <a:endParaRPr lang="en-US" sz="2000" dirty="0">
              <a:latin typeface="+mn-lt"/>
            </a:endParaRPr>
          </a:p>
        </p:txBody>
      </p:sp>
      <p:sp>
        <p:nvSpPr>
          <p:cNvPr id="25" name="Right Arrow 24"/>
          <p:cNvSpPr/>
          <p:nvPr/>
        </p:nvSpPr>
        <p:spPr>
          <a:xfrm rot="10800000" flipV="1">
            <a:off x="5659123" y="2868859"/>
            <a:ext cx="2218567" cy="151416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26" name="Group 25"/>
          <p:cNvGrpSpPr/>
          <p:nvPr/>
        </p:nvGrpSpPr>
        <p:grpSpPr>
          <a:xfrm>
            <a:off x="7285661" y="2505280"/>
            <a:ext cx="846993" cy="878573"/>
            <a:chOff x="3759728" y="1334910"/>
            <a:chExt cx="1624544" cy="1624539"/>
          </a:xfrm>
        </p:grpSpPr>
        <p:sp>
          <p:nvSpPr>
            <p:cNvPr id="27" name="Oval 26"/>
            <p:cNvSpPr/>
            <p:nvPr/>
          </p:nvSpPr>
          <p:spPr>
            <a:xfrm>
              <a:off x="3759728" y="1334910"/>
              <a:ext cx="1624544" cy="1624539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75000"/>
                    <a:alpha val="0"/>
                  </a:schemeClr>
                </a:gs>
                <a:gs pos="100000">
                  <a:schemeClr val="bg1">
                    <a:lumMod val="40000"/>
                    <a:lumOff val="60000"/>
                    <a:alpha val="3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 defTabSz="914362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3840134" y="1415315"/>
              <a:ext cx="1463733" cy="1463729"/>
            </a:xfrm>
            <a:prstGeom prst="ellipse">
              <a:avLst/>
            </a:prstGeom>
            <a:solidFill>
              <a:srgbClr val="FF0000"/>
            </a:solidFill>
            <a:ln w="25400" cap="flat" cmpd="sng" algn="ctr">
              <a:gradFill>
                <a:gsLst>
                  <a:gs pos="100000">
                    <a:schemeClr val="accent1">
                      <a:tint val="66000"/>
                      <a:satMod val="160000"/>
                      <a:alpha val="0"/>
                    </a:schemeClr>
                  </a:gs>
                  <a:gs pos="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32492" tIns="94392" rIns="132492" bIns="94392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00" dirty="0">
                <a:solidFill>
                  <a:srgbClr val="FF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" name="Freeform 22"/>
            <p:cNvSpPr>
              <a:spLocks noEditPoints="1"/>
            </p:cNvSpPr>
            <p:nvPr/>
          </p:nvSpPr>
          <p:spPr bwMode="auto">
            <a:xfrm>
              <a:off x="4204119" y="1674191"/>
              <a:ext cx="735763" cy="903007"/>
            </a:xfrm>
            <a:custGeom>
              <a:avLst/>
              <a:gdLst/>
              <a:ahLst/>
              <a:cxnLst>
                <a:cxn ang="0">
                  <a:pos x="195" y="167"/>
                </a:cxn>
                <a:cxn ang="0">
                  <a:pos x="191" y="167"/>
                </a:cxn>
                <a:cxn ang="0">
                  <a:pos x="100" y="180"/>
                </a:cxn>
                <a:cxn ang="0">
                  <a:pos x="110" y="237"/>
                </a:cxn>
                <a:cxn ang="0">
                  <a:pos x="145" y="257"/>
                </a:cxn>
                <a:cxn ang="0">
                  <a:pos x="243" y="297"/>
                </a:cxn>
                <a:cxn ang="0">
                  <a:pos x="263" y="237"/>
                </a:cxn>
                <a:cxn ang="0">
                  <a:pos x="287" y="216"/>
                </a:cxn>
                <a:cxn ang="0">
                  <a:pos x="283" y="163"/>
                </a:cxn>
                <a:cxn ang="0">
                  <a:pos x="76" y="160"/>
                </a:cxn>
                <a:cxn ang="0">
                  <a:pos x="89" y="104"/>
                </a:cxn>
                <a:cxn ang="0">
                  <a:pos x="128" y="0"/>
                </a:cxn>
                <a:cxn ang="0">
                  <a:pos x="270" y="8"/>
                </a:cxn>
                <a:cxn ang="0">
                  <a:pos x="387" y="137"/>
                </a:cxn>
                <a:cxn ang="0">
                  <a:pos x="319" y="199"/>
                </a:cxn>
                <a:cxn ang="0">
                  <a:pos x="317" y="237"/>
                </a:cxn>
                <a:cxn ang="0">
                  <a:pos x="337" y="279"/>
                </a:cxn>
                <a:cxn ang="0">
                  <a:pos x="365" y="439"/>
                </a:cxn>
                <a:cxn ang="0">
                  <a:pos x="201" y="475"/>
                </a:cxn>
                <a:cxn ang="0">
                  <a:pos x="187" y="315"/>
                </a:cxn>
                <a:cxn ang="0">
                  <a:pos x="55" y="475"/>
                </a:cxn>
                <a:cxn ang="0">
                  <a:pos x="22" y="315"/>
                </a:cxn>
                <a:cxn ang="0">
                  <a:pos x="51" y="257"/>
                </a:cxn>
                <a:cxn ang="0">
                  <a:pos x="76" y="237"/>
                </a:cxn>
                <a:cxn ang="0">
                  <a:pos x="76" y="160"/>
                </a:cxn>
                <a:cxn ang="0">
                  <a:pos x="168" y="179"/>
                </a:cxn>
                <a:cxn ang="0">
                  <a:pos x="181" y="210"/>
                </a:cxn>
                <a:cxn ang="0">
                  <a:pos x="143" y="227"/>
                </a:cxn>
                <a:cxn ang="0">
                  <a:pos x="126" y="182"/>
                </a:cxn>
                <a:cxn ang="0">
                  <a:pos x="131" y="179"/>
                </a:cxn>
                <a:cxn ang="0">
                  <a:pos x="224" y="179"/>
                </a:cxn>
                <a:cxn ang="0">
                  <a:pos x="262" y="179"/>
                </a:cxn>
                <a:cxn ang="0">
                  <a:pos x="269" y="182"/>
                </a:cxn>
                <a:cxn ang="0">
                  <a:pos x="252" y="227"/>
                </a:cxn>
                <a:cxn ang="0">
                  <a:pos x="213" y="210"/>
                </a:cxn>
                <a:cxn ang="0">
                  <a:pos x="224" y="179"/>
                </a:cxn>
              </a:cxnLst>
              <a:rect l="0" t="0" r="r" b="b"/>
              <a:pathLst>
                <a:path w="387" h="475">
                  <a:moveTo>
                    <a:pt x="196" y="167"/>
                  </a:moveTo>
                  <a:cubicBezTo>
                    <a:pt x="195" y="167"/>
                    <a:pt x="195" y="167"/>
                    <a:pt x="195" y="167"/>
                  </a:cubicBezTo>
                  <a:cubicBezTo>
                    <a:pt x="193" y="167"/>
                    <a:pt x="193" y="167"/>
                    <a:pt x="193" y="167"/>
                  </a:cubicBezTo>
                  <a:cubicBezTo>
                    <a:pt x="191" y="167"/>
                    <a:pt x="191" y="167"/>
                    <a:pt x="191" y="167"/>
                  </a:cubicBezTo>
                  <a:cubicBezTo>
                    <a:pt x="160" y="167"/>
                    <a:pt x="131" y="166"/>
                    <a:pt x="105" y="163"/>
                  </a:cubicBezTo>
                  <a:cubicBezTo>
                    <a:pt x="102" y="168"/>
                    <a:pt x="100" y="173"/>
                    <a:pt x="100" y="180"/>
                  </a:cubicBezTo>
                  <a:cubicBezTo>
                    <a:pt x="100" y="216"/>
                    <a:pt x="100" y="216"/>
                    <a:pt x="100" y="216"/>
                  </a:cubicBezTo>
                  <a:cubicBezTo>
                    <a:pt x="100" y="225"/>
                    <a:pt x="104" y="233"/>
                    <a:pt x="110" y="237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36" y="237"/>
                    <a:pt x="145" y="246"/>
                    <a:pt x="145" y="257"/>
                  </a:cubicBezTo>
                  <a:cubicBezTo>
                    <a:pt x="145" y="297"/>
                    <a:pt x="145" y="297"/>
                    <a:pt x="145" y="297"/>
                  </a:cubicBezTo>
                  <a:cubicBezTo>
                    <a:pt x="173" y="313"/>
                    <a:pt x="215" y="313"/>
                    <a:pt x="243" y="297"/>
                  </a:cubicBezTo>
                  <a:cubicBezTo>
                    <a:pt x="243" y="257"/>
                    <a:pt x="243" y="257"/>
                    <a:pt x="243" y="257"/>
                  </a:cubicBezTo>
                  <a:cubicBezTo>
                    <a:pt x="243" y="246"/>
                    <a:pt x="252" y="237"/>
                    <a:pt x="263" y="237"/>
                  </a:cubicBezTo>
                  <a:cubicBezTo>
                    <a:pt x="278" y="237"/>
                    <a:pt x="278" y="237"/>
                    <a:pt x="278" y="237"/>
                  </a:cubicBezTo>
                  <a:cubicBezTo>
                    <a:pt x="283" y="233"/>
                    <a:pt x="287" y="225"/>
                    <a:pt x="287" y="216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87" y="173"/>
                    <a:pt x="286" y="168"/>
                    <a:pt x="283" y="163"/>
                  </a:cubicBezTo>
                  <a:cubicBezTo>
                    <a:pt x="257" y="166"/>
                    <a:pt x="227" y="167"/>
                    <a:pt x="196" y="167"/>
                  </a:cubicBezTo>
                  <a:close/>
                  <a:moveTo>
                    <a:pt x="76" y="160"/>
                  </a:moveTo>
                  <a:cubicBezTo>
                    <a:pt x="30" y="154"/>
                    <a:pt x="0" y="145"/>
                    <a:pt x="0" y="137"/>
                  </a:cubicBezTo>
                  <a:cubicBezTo>
                    <a:pt x="1" y="124"/>
                    <a:pt x="36" y="110"/>
                    <a:pt x="89" y="104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9" y="4"/>
                    <a:pt x="122" y="0"/>
                    <a:pt x="128" y="0"/>
                  </a:cubicBezTo>
                  <a:cubicBezTo>
                    <a:pt x="172" y="0"/>
                    <a:pt x="216" y="0"/>
                    <a:pt x="260" y="0"/>
                  </a:cubicBezTo>
                  <a:cubicBezTo>
                    <a:pt x="266" y="0"/>
                    <a:pt x="269" y="4"/>
                    <a:pt x="270" y="8"/>
                  </a:cubicBezTo>
                  <a:cubicBezTo>
                    <a:pt x="299" y="104"/>
                    <a:pt x="299" y="104"/>
                    <a:pt x="299" y="104"/>
                  </a:cubicBezTo>
                  <a:cubicBezTo>
                    <a:pt x="352" y="110"/>
                    <a:pt x="387" y="124"/>
                    <a:pt x="387" y="137"/>
                  </a:cubicBezTo>
                  <a:cubicBezTo>
                    <a:pt x="387" y="145"/>
                    <a:pt x="358" y="154"/>
                    <a:pt x="312" y="160"/>
                  </a:cubicBezTo>
                  <a:cubicBezTo>
                    <a:pt x="316" y="172"/>
                    <a:pt x="319" y="185"/>
                    <a:pt x="319" y="199"/>
                  </a:cubicBezTo>
                  <a:cubicBezTo>
                    <a:pt x="319" y="212"/>
                    <a:pt x="316" y="225"/>
                    <a:pt x="312" y="237"/>
                  </a:cubicBezTo>
                  <a:cubicBezTo>
                    <a:pt x="317" y="237"/>
                    <a:pt x="317" y="237"/>
                    <a:pt x="317" y="237"/>
                  </a:cubicBezTo>
                  <a:cubicBezTo>
                    <a:pt x="328" y="237"/>
                    <a:pt x="337" y="246"/>
                    <a:pt x="337" y="257"/>
                  </a:cubicBezTo>
                  <a:cubicBezTo>
                    <a:pt x="337" y="279"/>
                    <a:pt x="337" y="279"/>
                    <a:pt x="337" y="279"/>
                  </a:cubicBezTo>
                  <a:cubicBezTo>
                    <a:pt x="353" y="281"/>
                    <a:pt x="365" y="296"/>
                    <a:pt x="365" y="315"/>
                  </a:cubicBezTo>
                  <a:cubicBezTo>
                    <a:pt x="365" y="439"/>
                    <a:pt x="365" y="439"/>
                    <a:pt x="365" y="439"/>
                  </a:cubicBezTo>
                  <a:cubicBezTo>
                    <a:pt x="365" y="459"/>
                    <a:pt x="351" y="475"/>
                    <a:pt x="333" y="475"/>
                  </a:cubicBezTo>
                  <a:cubicBezTo>
                    <a:pt x="201" y="475"/>
                    <a:pt x="201" y="475"/>
                    <a:pt x="201" y="475"/>
                  </a:cubicBezTo>
                  <a:cubicBezTo>
                    <a:pt x="201" y="315"/>
                    <a:pt x="201" y="315"/>
                    <a:pt x="201" y="315"/>
                  </a:cubicBezTo>
                  <a:cubicBezTo>
                    <a:pt x="196" y="315"/>
                    <a:pt x="191" y="315"/>
                    <a:pt x="187" y="315"/>
                  </a:cubicBezTo>
                  <a:cubicBezTo>
                    <a:pt x="187" y="475"/>
                    <a:pt x="187" y="475"/>
                    <a:pt x="187" y="475"/>
                  </a:cubicBezTo>
                  <a:cubicBezTo>
                    <a:pt x="55" y="475"/>
                    <a:pt x="55" y="475"/>
                    <a:pt x="55" y="475"/>
                  </a:cubicBezTo>
                  <a:cubicBezTo>
                    <a:pt x="37" y="475"/>
                    <a:pt x="22" y="459"/>
                    <a:pt x="22" y="439"/>
                  </a:cubicBezTo>
                  <a:cubicBezTo>
                    <a:pt x="22" y="315"/>
                    <a:pt x="22" y="315"/>
                    <a:pt x="22" y="315"/>
                  </a:cubicBezTo>
                  <a:cubicBezTo>
                    <a:pt x="22" y="296"/>
                    <a:pt x="35" y="281"/>
                    <a:pt x="51" y="279"/>
                  </a:cubicBezTo>
                  <a:cubicBezTo>
                    <a:pt x="51" y="257"/>
                    <a:pt x="51" y="257"/>
                    <a:pt x="51" y="257"/>
                  </a:cubicBezTo>
                  <a:cubicBezTo>
                    <a:pt x="51" y="246"/>
                    <a:pt x="60" y="237"/>
                    <a:pt x="71" y="237"/>
                  </a:cubicBezTo>
                  <a:cubicBezTo>
                    <a:pt x="76" y="237"/>
                    <a:pt x="76" y="237"/>
                    <a:pt x="76" y="237"/>
                  </a:cubicBezTo>
                  <a:cubicBezTo>
                    <a:pt x="71" y="225"/>
                    <a:pt x="69" y="212"/>
                    <a:pt x="69" y="199"/>
                  </a:cubicBezTo>
                  <a:cubicBezTo>
                    <a:pt x="69" y="185"/>
                    <a:pt x="71" y="172"/>
                    <a:pt x="76" y="160"/>
                  </a:cubicBezTo>
                  <a:close/>
                  <a:moveTo>
                    <a:pt x="132" y="179"/>
                  </a:moveTo>
                  <a:cubicBezTo>
                    <a:pt x="144" y="179"/>
                    <a:pt x="156" y="179"/>
                    <a:pt x="168" y="179"/>
                  </a:cubicBezTo>
                  <a:cubicBezTo>
                    <a:pt x="180" y="179"/>
                    <a:pt x="181" y="182"/>
                    <a:pt x="181" y="194"/>
                  </a:cubicBezTo>
                  <a:cubicBezTo>
                    <a:pt x="181" y="194"/>
                    <a:pt x="181" y="208"/>
                    <a:pt x="181" y="210"/>
                  </a:cubicBezTo>
                  <a:cubicBezTo>
                    <a:pt x="181" y="219"/>
                    <a:pt x="173" y="227"/>
                    <a:pt x="164" y="227"/>
                  </a:cubicBezTo>
                  <a:cubicBezTo>
                    <a:pt x="143" y="227"/>
                    <a:pt x="143" y="227"/>
                    <a:pt x="143" y="227"/>
                  </a:cubicBezTo>
                  <a:cubicBezTo>
                    <a:pt x="133" y="227"/>
                    <a:pt x="126" y="219"/>
                    <a:pt x="126" y="210"/>
                  </a:cubicBezTo>
                  <a:cubicBezTo>
                    <a:pt x="126" y="182"/>
                    <a:pt x="126" y="182"/>
                    <a:pt x="126" y="182"/>
                  </a:cubicBezTo>
                  <a:cubicBezTo>
                    <a:pt x="126" y="180"/>
                    <a:pt x="127" y="179"/>
                    <a:pt x="128" y="179"/>
                  </a:cubicBezTo>
                  <a:cubicBezTo>
                    <a:pt x="131" y="179"/>
                    <a:pt x="131" y="179"/>
                    <a:pt x="131" y="179"/>
                  </a:cubicBezTo>
                  <a:cubicBezTo>
                    <a:pt x="131" y="179"/>
                    <a:pt x="131" y="179"/>
                    <a:pt x="132" y="179"/>
                  </a:cubicBezTo>
                  <a:close/>
                  <a:moveTo>
                    <a:pt x="224" y="179"/>
                  </a:moveTo>
                  <a:cubicBezTo>
                    <a:pt x="262" y="179"/>
                    <a:pt x="262" y="179"/>
                    <a:pt x="262" y="179"/>
                  </a:cubicBezTo>
                  <a:cubicBezTo>
                    <a:pt x="262" y="179"/>
                    <a:pt x="262" y="179"/>
                    <a:pt x="262" y="179"/>
                  </a:cubicBezTo>
                  <a:cubicBezTo>
                    <a:pt x="266" y="179"/>
                    <a:pt x="266" y="179"/>
                    <a:pt x="266" y="179"/>
                  </a:cubicBezTo>
                  <a:cubicBezTo>
                    <a:pt x="268" y="179"/>
                    <a:pt x="269" y="180"/>
                    <a:pt x="269" y="182"/>
                  </a:cubicBezTo>
                  <a:cubicBezTo>
                    <a:pt x="269" y="210"/>
                    <a:pt x="269" y="210"/>
                    <a:pt x="269" y="210"/>
                  </a:cubicBezTo>
                  <a:cubicBezTo>
                    <a:pt x="269" y="219"/>
                    <a:pt x="261" y="227"/>
                    <a:pt x="252" y="227"/>
                  </a:cubicBezTo>
                  <a:cubicBezTo>
                    <a:pt x="230" y="227"/>
                    <a:pt x="230" y="227"/>
                    <a:pt x="230" y="227"/>
                  </a:cubicBezTo>
                  <a:cubicBezTo>
                    <a:pt x="221" y="227"/>
                    <a:pt x="214" y="219"/>
                    <a:pt x="213" y="210"/>
                  </a:cubicBezTo>
                  <a:cubicBezTo>
                    <a:pt x="213" y="193"/>
                    <a:pt x="213" y="193"/>
                    <a:pt x="213" y="193"/>
                  </a:cubicBezTo>
                  <a:cubicBezTo>
                    <a:pt x="213" y="182"/>
                    <a:pt x="211" y="179"/>
                    <a:pt x="224" y="179"/>
                  </a:cubicBezTo>
                  <a:close/>
                </a:path>
              </a:pathLst>
            </a:custGeom>
            <a:solidFill>
              <a:schemeClr val="bg1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68589" tIns="34295" rIns="68589" bIns="34295"/>
            <a:lstStyle/>
            <a:p>
              <a:pPr defTabSz="685891">
                <a:defRPr/>
              </a:pPr>
              <a:endParaRPr lang="en-US" sz="1400" kern="0" dirty="0">
                <a:solidFill>
                  <a:srgbClr val="FF0000"/>
                </a:solidFill>
                <a:latin typeface="+mn-lt"/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6282340" y="2720984"/>
            <a:ext cx="513879" cy="41096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Int. Peer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462084" y="2656152"/>
            <a:ext cx="513879" cy="41096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bg2"/>
                </a:solidFill>
              </a:rPr>
              <a:t>PE</a:t>
            </a:r>
          </a:p>
        </p:txBody>
      </p:sp>
      <p:sp>
        <p:nvSpPr>
          <p:cNvPr id="36" name="Rectangle 35"/>
          <p:cNvSpPr/>
          <p:nvPr/>
        </p:nvSpPr>
        <p:spPr>
          <a:xfrm>
            <a:off x="4888475" y="4164176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err="1" smtClean="0">
                <a:solidFill>
                  <a:srgbClr val="005073"/>
                </a:solidFill>
                <a:latin typeface="+mn-lt"/>
                <a:ea typeface="CiscoSansTT Thin" charset="0"/>
                <a:cs typeface="CiscoSansTT Thin" charset="0"/>
              </a:rPr>
              <a:t>iACL</a:t>
            </a:r>
            <a:r>
              <a:rPr lang="en-US" sz="1600" dirty="0" smtClean="0">
                <a:solidFill>
                  <a:srgbClr val="005073"/>
                </a:solidFill>
                <a:latin typeface="+mn-lt"/>
                <a:ea typeface="CiscoSansTT Thin" charset="0"/>
                <a:cs typeface="CiscoSansTT Thin" charset="0"/>
              </a:rPr>
              <a:t> Applied</a:t>
            </a:r>
          </a:p>
          <a:p>
            <a:r>
              <a:rPr lang="en-US" sz="1600" dirty="0" smtClean="0">
                <a:solidFill>
                  <a:srgbClr val="FF0000"/>
                </a:solidFill>
                <a:latin typeface="+mn-lt"/>
              </a:rPr>
              <a:t>Blocking Traffic</a:t>
            </a:r>
            <a:endParaRPr lang="en-US" sz="160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7" name="Right Arrow 6"/>
          <p:cNvSpPr/>
          <p:nvPr/>
        </p:nvSpPr>
        <p:spPr>
          <a:xfrm rot="9680214" flipV="1">
            <a:off x="4417343" y="3061977"/>
            <a:ext cx="1661749" cy="143307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1" name="Rectangle 30"/>
          <p:cNvSpPr/>
          <p:nvPr/>
        </p:nvSpPr>
        <p:spPr>
          <a:xfrm>
            <a:off x="5617449" y="2731868"/>
            <a:ext cx="513879" cy="41096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chemeClr val="bg2"/>
                </a:solidFill>
              </a:rPr>
              <a:t>Int.</a:t>
            </a:r>
          </a:p>
          <a:p>
            <a:pPr algn="ctr"/>
            <a:r>
              <a:rPr lang="en-US" sz="900" dirty="0" smtClean="0">
                <a:solidFill>
                  <a:schemeClr val="bg2"/>
                </a:solidFill>
              </a:rPr>
              <a:t>Peer</a:t>
            </a:r>
          </a:p>
        </p:txBody>
      </p:sp>
      <p:cxnSp>
        <p:nvCxnSpPr>
          <p:cNvPr id="33" name="Straight Arrow Connector 32"/>
          <p:cNvCxnSpPr>
            <a:stCxn id="36" idx="0"/>
            <a:endCxn id="31" idx="3"/>
          </p:cNvCxnSpPr>
          <p:nvPr/>
        </p:nvCxnSpPr>
        <p:spPr>
          <a:xfrm flipV="1">
            <a:off x="5686931" y="2937352"/>
            <a:ext cx="444397" cy="1226824"/>
          </a:xfrm>
          <a:prstGeom prst="straightConnector1">
            <a:avLst/>
          </a:prstGeom>
          <a:ln w="317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 Same Side Corner Rectangle 36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99" y="527048"/>
            <a:ext cx="519060" cy="519060"/>
          </a:xfrm>
          <a:prstGeom prst="rect">
            <a:avLst/>
          </a:prstGeom>
        </p:spPr>
      </p:pic>
      <p:sp>
        <p:nvSpPr>
          <p:cNvPr id="39" name="Title 1"/>
          <p:cNvSpPr txBox="1">
            <a:spLocks/>
          </p:cNvSpPr>
          <p:nvPr/>
        </p:nvSpPr>
        <p:spPr bwMode="auto">
          <a:xfrm>
            <a:off x="1197603" y="360377"/>
            <a:ext cx="7661917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mtClean="0">
                <a:solidFill>
                  <a:srgbClr val="005073"/>
                </a:solidFill>
                <a:latin typeface="+mn-lt"/>
              </a:rPr>
              <a:t>Build a secure foundation</a:t>
            </a:r>
            <a:br>
              <a:rPr lang="en-US" smtClean="0">
                <a:solidFill>
                  <a:srgbClr val="005073"/>
                </a:solidFill>
                <a:latin typeface="+mn-lt"/>
              </a:rPr>
            </a:br>
            <a:r>
              <a:rPr lang="en-US" sz="2000" smtClean="0">
                <a:solidFill>
                  <a:srgbClr val="005073"/>
                </a:solidFill>
                <a:latin typeface="+mn-lt"/>
              </a:rPr>
              <a:t>Infrastructure ACL (iACL)</a:t>
            </a: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123599" y="1941647"/>
            <a:ext cx="17108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2"/>
                </a:solidFill>
                <a:latin typeface="+mn-lt"/>
              </a:rPr>
              <a:t>Internet</a:t>
            </a:r>
            <a:endParaRPr lang="en-US" sz="20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058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/>
        </p:nvSpPr>
        <p:spPr>
          <a:xfrm>
            <a:off x="4591902" y="1316930"/>
            <a:ext cx="1259840" cy="3791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368" y="441780"/>
            <a:ext cx="2847332" cy="1579902"/>
          </a:xfrm>
        </p:spPr>
        <p:txBody>
          <a:bodyPr/>
          <a:lstStyle/>
          <a:p>
            <a:r>
              <a:rPr lang="en-US" sz="2800" dirty="0" smtClean="0"/>
              <a:t>Where are you in your Digital Transformation journey? </a:t>
            </a:r>
            <a:endParaRPr lang="en-US" sz="2800" dirty="0"/>
          </a:p>
        </p:txBody>
      </p:sp>
      <p:sp>
        <p:nvSpPr>
          <p:cNvPr id="32" name="Freeform 37"/>
          <p:cNvSpPr>
            <a:spLocks noEditPoints="1"/>
          </p:cNvSpPr>
          <p:nvPr/>
        </p:nvSpPr>
        <p:spPr bwMode="auto">
          <a:xfrm flipH="1">
            <a:off x="1565835" y="1231731"/>
            <a:ext cx="5633390" cy="3001291"/>
          </a:xfrm>
          <a:custGeom>
            <a:avLst/>
            <a:gdLst>
              <a:gd name="T0" fmla="*/ 3016 w 3891"/>
              <a:gd name="T1" fmla="*/ 1830 h 2073"/>
              <a:gd name="T2" fmla="*/ 3088 w 3891"/>
              <a:gd name="T3" fmla="*/ 1965 h 2073"/>
              <a:gd name="T4" fmla="*/ 3608 w 3891"/>
              <a:gd name="T5" fmla="*/ 1993 h 2073"/>
              <a:gd name="T6" fmla="*/ 3824 w 3891"/>
              <a:gd name="T7" fmla="*/ 1865 h 2073"/>
              <a:gd name="T8" fmla="*/ 3477 w 3891"/>
              <a:gd name="T9" fmla="*/ 1754 h 2073"/>
              <a:gd name="T10" fmla="*/ 139 w 3891"/>
              <a:gd name="T11" fmla="*/ 1456 h 2073"/>
              <a:gd name="T12" fmla="*/ 139 w 3891"/>
              <a:gd name="T13" fmla="*/ 1592 h 2073"/>
              <a:gd name="T14" fmla="*/ 636 w 3891"/>
              <a:gd name="T15" fmla="*/ 1645 h 2073"/>
              <a:gd name="T16" fmla="*/ 920 w 3891"/>
              <a:gd name="T17" fmla="*/ 1524 h 2073"/>
              <a:gd name="T18" fmla="*/ 636 w 3891"/>
              <a:gd name="T19" fmla="*/ 1403 h 2073"/>
              <a:gd name="T20" fmla="*/ 1058 w 3891"/>
              <a:gd name="T21" fmla="*/ 108 h 2073"/>
              <a:gd name="T22" fmla="*/ 985 w 3891"/>
              <a:gd name="T23" fmla="*/ 243 h 2073"/>
              <a:gd name="T24" fmla="*/ 1445 w 3891"/>
              <a:gd name="T25" fmla="*/ 319 h 2073"/>
              <a:gd name="T26" fmla="*/ 1792 w 3891"/>
              <a:gd name="T27" fmla="*/ 208 h 2073"/>
              <a:gd name="T28" fmla="*/ 1577 w 3891"/>
              <a:gd name="T29" fmla="*/ 80 h 2073"/>
              <a:gd name="T30" fmla="*/ 1586 w 3891"/>
              <a:gd name="T31" fmla="*/ 19 h 2073"/>
              <a:gd name="T32" fmla="*/ 1855 w 3891"/>
              <a:gd name="T33" fmla="*/ 164 h 2073"/>
              <a:gd name="T34" fmla="*/ 1963 w 3891"/>
              <a:gd name="T35" fmla="*/ 205 h 2073"/>
              <a:gd name="T36" fmla="*/ 2332 w 3891"/>
              <a:gd name="T37" fmla="*/ 250 h 2073"/>
              <a:gd name="T38" fmla="*/ 2691 w 3891"/>
              <a:gd name="T39" fmla="*/ 371 h 2073"/>
              <a:gd name="T40" fmla="*/ 2716 w 3891"/>
              <a:gd name="T41" fmla="*/ 582 h 2073"/>
              <a:gd name="T42" fmla="*/ 2434 w 3891"/>
              <a:gd name="T43" fmla="*/ 789 h 2073"/>
              <a:gd name="T44" fmla="*/ 2073 w 3891"/>
              <a:gd name="T45" fmla="*/ 913 h 2073"/>
              <a:gd name="T46" fmla="*/ 1531 w 3891"/>
              <a:gd name="T47" fmla="*/ 1065 h 2073"/>
              <a:gd name="T48" fmla="*/ 1075 w 3891"/>
              <a:gd name="T49" fmla="*/ 1195 h 2073"/>
              <a:gd name="T50" fmla="*/ 688 w 3891"/>
              <a:gd name="T51" fmla="*/ 1348 h 2073"/>
              <a:gd name="T52" fmla="*/ 966 w 3891"/>
              <a:gd name="T53" fmla="*/ 1473 h 2073"/>
              <a:gd name="T54" fmla="*/ 857 w 3891"/>
              <a:gd name="T55" fmla="*/ 1654 h 2073"/>
              <a:gd name="T56" fmla="*/ 799 w 3891"/>
              <a:gd name="T57" fmla="*/ 1776 h 2073"/>
              <a:gd name="T58" fmla="*/ 1471 w 3891"/>
              <a:gd name="T59" fmla="*/ 1885 h 2073"/>
              <a:gd name="T60" fmla="*/ 2414 w 3891"/>
              <a:gd name="T61" fmla="*/ 1897 h 2073"/>
              <a:gd name="T62" fmla="*/ 2908 w 3891"/>
              <a:gd name="T63" fmla="*/ 1865 h 2073"/>
              <a:gd name="T64" fmla="*/ 3043 w 3891"/>
              <a:gd name="T65" fmla="*/ 1748 h 2073"/>
              <a:gd name="T66" fmla="*/ 3455 w 3891"/>
              <a:gd name="T67" fmla="*/ 1691 h 2073"/>
              <a:gd name="T68" fmla="*/ 3827 w 3891"/>
              <a:gd name="T69" fmla="*/ 1783 h 2073"/>
              <a:gd name="T70" fmla="*/ 3827 w 3891"/>
              <a:gd name="T71" fmla="*/ 1980 h 2073"/>
              <a:gd name="T72" fmla="*/ 3455 w 3891"/>
              <a:gd name="T73" fmla="*/ 2071 h 2073"/>
              <a:gd name="T74" fmla="*/ 3039 w 3891"/>
              <a:gd name="T75" fmla="*/ 2013 h 2073"/>
              <a:gd name="T76" fmla="*/ 2914 w 3891"/>
              <a:gd name="T77" fmla="*/ 1921 h 2073"/>
              <a:gd name="T78" fmla="*/ 2310 w 3891"/>
              <a:gd name="T79" fmla="*/ 1984 h 2073"/>
              <a:gd name="T80" fmla="*/ 1360 w 3891"/>
              <a:gd name="T81" fmla="*/ 1996 h 2073"/>
              <a:gd name="T82" fmla="*/ 553 w 3891"/>
              <a:gd name="T83" fmla="*/ 1837 h 2073"/>
              <a:gd name="T84" fmla="*/ 165 w 3891"/>
              <a:gd name="T85" fmla="*/ 1662 h 2073"/>
              <a:gd name="T86" fmla="*/ 2 w 3891"/>
              <a:gd name="T87" fmla="*/ 1511 h 2073"/>
              <a:gd name="T88" fmla="*/ 168 w 3891"/>
              <a:gd name="T89" fmla="*/ 1378 h 2073"/>
              <a:gd name="T90" fmla="*/ 606 w 3891"/>
              <a:gd name="T91" fmla="*/ 1188 h 2073"/>
              <a:gd name="T92" fmla="*/ 1084 w 3891"/>
              <a:gd name="T93" fmla="*/ 1032 h 2073"/>
              <a:gd name="T94" fmla="*/ 1615 w 3891"/>
              <a:gd name="T95" fmla="*/ 905 h 2073"/>
              <a:gd name="T96" fmla="*/ 2120 w 3891"/>
              <a:gd name="T97" fmla="*/ 782 h 2073"/>
              <a:gd name="T98" fmla="*/ 2523 w 3891"/>
              <a:gd name="T99" fmla="*/ 617 h 2073"/>
              <a:gd name="T100" fmla="*/ 2546 w 3891"/>
              <a:gd name="T101" fmla="*/ 419 h 2073"/>
              <a:gd name="T102" fmla="*/ 2155 w 3891"/>
              <a:gd name="T103" fmla="*/ 278 h 2073"/>
              <a:gd name="T104" fmla="*/ 1845 w 3891"/>
              <a:gd name="T105" fmla="*/ 243 h 2073"/>
              <a:gd name="T106" fmla="*/ 1550 w 3891"/>
              <a:gd name="T107" fmla="*/ 370 h 2073"/>
              <a:gd name="T108" fmla="*/ 1104 w 3891"/>
              <a:gd name="T109" fmla="*/ 354 h 2073"/>
              <a:gd name="T110" fmla="*/ 879 w 3891"/>
              <a:gd name="T111" fmla="*/ 191 h 2073"/>
              <a:gd name="T112" fmla="*/ 1104 w 3891"/>
              <a:gd name="T113" fmla="*/ 29 h 2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891" h="2073">
                <a:moveTo>
                  <a:pt x="3401" y="1753"/>
                </a:moveTo>
                <a:lnTo>
                  <a:pt x="3326" y="1754"/>
                </a:lnTo>
                <a:lnTo>
                  <a:pt x="3256" y="1761"/>
                </a:lnTo>
                <a:lnTo>
                  <a:pt x="3193" y="1770"/>
                </a:lnTo>
                <a:lnTo>
                  <a:pt x="3138" y="1783"/>
                </a:lnTo>
                <a:lnTo>
                  <a:pt x="3088" y="1798"/>
                </a:lnTo>
                <a:lnTo>
                  <a:pt x="3048" y="1814"/>
                </a:lnTo>
                <a:lnTo>
                  <a:pt x="3016" y="1830"/>
                </a:lnTo>
                <a:lnTo>
                  <a:pt x="2992" y="1847"/>
                </a:lnTo>
                <a:lnTo>
                  <a:pt x="2978" y="1865"/>
                </a:lnTo>
                <a:lnTo>
                  <a:pt x="2972" y="1881"/>
                </a:lnTo>
                <a:lnTo>
                  <a:pt x="2978" y="1898"/>
                </a:lnTo>
                <a:lnTo>
                  <a:pt x="2992" y="1914"/>
                </a:lnTo>
                <a:lnTo>
                  <a:pt x="3016" y="1932"/>
                </a:lnTo>
                <a:lnTo>
                  <a:pt x="3048" y="1949"/>
                </a:lnTo>
                <a:lnTo>
                  <a:pt x="3088" y="1965"/>
                </a:lnTo>
                <a:lnTo>
                  <a:pt x="3138" y="1980"/>
                </a:lnTo>
                <a:lnTo>
                  <a:pt x="3193" y="1993"/>
                </a:lnTo>
                <a:lnTo>
                  <a:pt x="3256" y="2001"/>
                </a:lnTo>
                <a:lnTo>
                  <a:pt x="3326" y="2007"/>
                </a:lnTo>
                <a:lnTo>
                  <a:pt x="3401" y="2010"/>
                </a:lnTo>
                <a:lnTo>
                  <a:pt x="3477" y="2007"/>
                </a:lnTo>
                <a:lnTo>
                  <a:pt x="3545" y="2001"/>
                </a:lnTo>
                <a:lnTo>
                  <a:pt x="3608" y="1993"/>
                </a:lnTo>
                <a:lnTo>
                  <a:pt x="3664" y="1980"/>
                </a:lnTo>
                <a:lnTo>
                  <a:pt x="3712" y="1965"/>
                </a:lnTo>
                <a:lnTo>
                  <a:pt x="3753" y="1949"/>
                </a:lnTo>
                <a:lnTo>
                  <a:pt x="3785" y="1932"/>
                </a:lnTo>
                <a:lnTo>
                  <a:pt x="3810" y="1914"/>
                </a:lnTo>
                <a:lnTo>
                  <a:pt x="3824" y="1898"/>
                </a:lnTo>
                <a:lnTo>
                  <a:pt x="3829" y="1881"/>
                </a:lnTo>
                <a:lnTo>
                  <a:pt x="3824" y="1865"/>
                </a:lnTo>
                <a:lnTo>
                  <a:pt x="3810" y="1847"/>
                </a:lnTo>
                <a:lnTo>
                  <a:pt x="3785" y="1830"/>
                </a:lnTo>
                <a:lnTo>
                  <a:pt x="3753" y="1814"/>
                </a:lnTo>
                <a:lnTo>
                  <a:pt x="3712" y="1798"/>
                </a:lnTo>
                <a:lnTo>
                  <a:pt x="3664" y="1783"/>
                </a:lnTo>
                <a:lnTo>
                  <a:pt x="3608" y="1770"/>
                </a:lnTo>
                <a:lnTo>
                  <a:pt x="3545" y="1761"/>
                </a:lnTo>
                <a:lnTo>
                  <a:pt x="3477" y="1754"/>
                </a:lnTo>
                <a:lnTo>
                  <a:pt x="3401" y="1753"/>
                </a:lnTo>
                <a:close/>
                <a:moveTo>
                  <a:pt x="491" y="1394"/>
                </a:moveTo>
                <a:lnTo>
                  <a:pt x="416" y="1397"/>
                </a:lnTo>
                <a:lnTo>
                  <a:pt x="347" y="1403"/>
                </a:lnTo>
                <a:lnTo>
                  <a:pt x="284" y="1413"/>
                </a:lnTo>
                <a:lnTo>
                  <a:pt x="227" y="1425"/>
                </a:lnTo>
                <a:lnTo>
                  <a:pt x="179" y="1440"/>
                </a:lnTo>
                <a:lnTo>
                  <a:pt x="139" y="1456"/>
                </a:lnTo>
                <a:lnTo>
                  <a:pt x="107" y="1473"/>
                </a:lnTo>
                <a:lnTo>
                  <a:pt x="83" y="1491"/>
                </a:lnTo>
                <a:lnTo>
                  <a:pt x="69" y="1508"/>
                </a:lnTo>
                <a:lnTo>
                  <a:pt x="63" y="1524"/>
                </a:lnTo>
                <a:lnTo>
                  <a:pt x="69" y="1540"/>
                </a:lnTo>
                <a:lnTo>
                  <a:pt x="83" y="1558"/>
                </a:lnTo>
                <a:lnTo>
                  <a:pt x="107" y="1575"/>
                </a:lnTo>
                <a:lnTo>
                  <a:pt x="139" y="1592"/>
                </a:lnTo>
                <a:lnTo>
                  <a:pt x="179" y="1608"/>
                </a:lnTo>
                <a:lnTo>
                  <a:pt x="227" y="1623"/>
                </a:lnTo>
                <a:lnTo>
                  <a:pt x="284" y="1635"/>
                </a:lnTo>
                <a:lnTo>
                  <a:pt x="347" y="1645"/>
                </a:lnTo>
                <a:lnTo>
                  <a:pt x="416" y="1651"/>
                </a:lnTo>
                <a:lnTo>
                  <a:pt x="491" y="1652"/>
                </a:lnTo>
                <a:lnTo>
                  <a:pt x="566" y="1651"/>
                </a:lnTo>
                <a:lnTo>
                  <a:pt x="636" y="1645"/>
                </a:lnTo>
                <a:lnTo>
                  <a:pt x="699" y="1635"/>
                </a:lnTo>
                <a:lnTo>
                  <a:pt x="755" y="1623"/>
                </a:lnTo>
                <a:lnTo>
                  <a:pt x="803" y="1608"/>
                </a:lnTo>
                <a:lnTo>
                  <a:pt x="844" y="1592"/>
                </a:lnTo>
                <a:lnTo>
                  <a:pt x="876" y="1575"/>
                </a:lnTo>
                <a:lnTo>
                  <a:pt x="899" y="1558"/>
                </a:lnTo>
                <a:lnTo>
                  <a:pt x="914" y="1540"/>
                </a:lnTo>
                <a:lnTo>
                  <a:pt x="920" y="1524"/>
                </a:lnTo>
                <a:lnTo>
                  <a:pt x="914" y="1508"/>
                </a:lnTo>
                <a:lnTo>
                  <a:pt x="899" y="1491"/>
                </a:lnTo>
                <a:lnTo>
                  <a:pt x="876" y="1473"/>
                </a:lnTo>
                <a:lnTo>
                  <a:pt x="844" y="1456"/>
                </a:lnTo>
                <a:lnTo>
                  <a:pt x="803" y="1440"/>
                </a:lnTo>
                <a:lnTo>
                  <a:pt x="755" y="1425"/>
                </a:lnTo>
                <a:lnTo>
                  <a:pt x="699" y="1413"/>
                </a:lnTo>
                <a:lnTo>
                  <a:pt x="636" y="1403"/>
                </a:lnTo>
                <a:lnTo>
                  <a:pt x="566" y="1397"/>
                </a:lnTo>
                <a:lnTo>
                  <a:pt x="491" y="1394"/>
                </a:lnTo>
                <a:close/>
                <a:moveTo>
                  <a:pt x="1369" y="63"/>
                </a:moveTo>
                <a:lnTo>
                  <a:pt x="1295" y="64"/>
                </a:lnTo>
                <a:lnTo>
                  <a:pt x="1225" y="71"/>
                </a:lnTo>
                <a:lnTo>
                  <a:pt x="1163" y="80"/>
                </a:lnTo>
                <a:lnTo>
                  <a:pt x="1106" y="93"/>
                </a:lnTo>
                <a:lnTo>
                  <a:pt x="1058" y="108"/>
                </a:lnTo>
                <a:lnTo>
                  <a:pt x="1017" y="124"/>
                </a:lnTo>
                <a:lnTo>
                  <a:pt x="985" y="140"/>
                </a:lnTo>
                <a:lnTo>
                  <a:pt x="962" y="157"/>
                </a:lnTo>
                <a:lnTo>
                  <a:pt x="947" y="175"/>
                </a:lnTo>
                <a:lnTo>
                  <a:pt x="942" y="191"/>
                </a:lnTo>
                <a:lnTo>
                  <a:pt x="947" y="208"/>
                </a:lnTo>
                <a:lnTo>
                  <a:pt x="962" y="226"/>
                </a:lnTo>
                <a:lnTo>
                  <a:pt x="985" y="243"/>
                </a:lnTo>
                <a:lnTo>
                  <a:pt x="1017" y="259"/>
                </a:lnTo>
                <a:lnTo>
                  <a:pt x="1058" y="275"/>
                </a:lnTo>
                <a:lnTo>
                  <a:pt x="1106" y="290"/>
                </a:lnTo>
                <a:lnTo>
                  <a:pt x="1163" y="303"/>
                </a:lnTo>
                <a:lnTo>
                  <a:pt x="1225" y="311"/>
                </a:lnTo>
                <a:lnTo>
                  <a:pt x="1295" y="319"/>
                </a:lnTo>
                <a:lnTo>
                  <a:pt x="1369" y="320"/>
                </a:lnTo>
                <a:lnTo>
                  <a:pt x="1445" y="319"/>
                </a:lnTo>
                <a:lnTo>
                  <a:pt x="1515" y="311"/>
                </a:lnTo>
                <a:lnTo>
                  <a:pt x="1577" y="303"/>
                </a:lnTo>
                <a:lnTo>
                  <a:pt x="1634" y="290"/>
                </a:lnTo>
                <a:lnTo>
                  <a:pt x="1682" y="275"/>
                </a:lnTo>
                <a:lnTo>
                  <a:pt x="1723" y="259"/>
                </a:lnTo>
                <a:lnTo>
                  <a:pt x="1755" y="243"/>
                </a:lnTo>
                <a:lnTo>
                  <a:pt x="1778" y="226"/>
                </a:lnTo>
                <a:lnTo>
                  <a:pt x="1792" y="208"/>
                </a:lnTo>
                <a:lnTo>
                  <a:pt x="1798" y="191"/>
                </a:lnTo>
                <a:lnTo>
                  <a:pt x="1792" y="175"/>
                </a:lnTo>
                <a:lnTo>
                  <a:pt x="1778" y="157"/>
                </a:lnTo>
                <a:lnTo>
                  <a:pt x="1755" y="140"/>
                </a:lnTo>
                <a:lnTo>
                  <a:pt x="1723" y="124"/>
                </a:lnTo>
                <a:lnTo>
                  <a:pt x="1682" y="108"/>
                </a:lnTo>
                <a:lnTo>
                  <a:pt x="1634" y="93"/>
                </a:lnTo>
                <a:lnTo>
                  <a:pt x="1577" y="80"/>
                </a:lnTo>
                <a:lnTo>
                  <a:pt x="1515" y="71"/>
                </a:lnTo>
                <a:lnTo>
                  <a:pt x="1445" y="64"/>
                </a:lnTo>
                <a:lnTo>
                  <a:pt x="1369" y="63"/>
                </a:lnTo>
                <a:close/>
                <a:moveTo>
                  <a:pt x="1369" y="0"/>
                </a:moveTo>
                <a:lnTo>
                  <a:pt x="1424" y="1"/>
                </a:lnTo>
                <a:lnTo>
                  <a:pt x="1480" y="4"/>
                </a:lnTo>
                <a:lnTo>
                  <a:pt x="1534" y="10"/>
                </a:lnTo>
                <a:lnTo>
                  <a:pt x="1586" y="19"/>
                </a:lnTo>
                <a:lnTo>
                  <a:pt x="1635" y="29"/>
                </a:lnTo>
                <a:lnTo>
                  <a:pt x="1682" y="42"/>
                </a:lnTo>
                <a:lnTo>
                  <a:pt x="1726" y="57"/>
                </a:lnTo>
                <a:lnTo>
                  <a:pt x="1763" y="74"/>
                </a:lnTo>
                <a:lnTo>
                  <a:pt x="1797" y="93"/>
                </a:lnTo>
                <a:lnTo>
                  <a:pt x="1823" y="115"/>
                </a:lnTo>
                <a:lnTo>
                  <a:pt x="1843" y="138"/>
                </a:lnTo>
                <a:lnTo>
                  <a:pt x="1855" y="164"/>
                </a:lnTo>
                <a:lnTo>
                  <a:pt x="1859" y="191"/>
                </a:lnTo>
                <a:lnTo>
                  <a:pt x="1861" y="194"/>
                </a:lnTo>
                <a:lnTo>
                  <a:pt x="1862" y="196"/>
                </a:lnTo>
                <a:lnTo>
                  <a:pt x="1864" y="198"/>
                </a:lnTo>
                <a:lnTo>
                  <a:pt x="1867" y="199"/>
                </a:lnTo>
                <a:lnTo>
                  <a:pt x="1891" y="199"/>
                </a:lnTo>
                <a:lnTo>
                  <a:pt x="1925" y="202"/>
                </a:lnTo>
                <a:lnTo>
                  <a:pt x="1963" y="205"/>
                </a:lnTo>
                <a:lnTo>
                  <a:pt x="2008" y="210"/>
                </a:lnTo>
                <a:lnTo>
                  <a:pt x="2056" y="215"/>
                </a:lnTo>
                <a:lnTo>
                  <a:pt x="2105" y="221"/>
                </a:lnTo>
                <a:lnTo>
                  <a:pt x="2155" y="227"/>
                </a:lnTo>
                <a:lnTo>
                  <a:pt x="2204" y="233"/>
                </a:lnTo>
                <a:lnTo>
                  <a:pt x="2251" y="240"/>
                </a:lnTo>
                <a:lnTo>
                  <a:pt x="2294" y="246"/>
                </a:lnTo>
                <a:lnTo>
                  <a:pt x="2332" y="250"/>
                </a:lnTo>
                <a:lnTo>
                  <a:pt x="2361" y="256"/>
                </a:lnTo>
                <a:lnTo>
                  <a:pt x="2384" y="259"/>
                </a:lnTo>
                <a:lnTo>
                  <a:pt x="2456" y="274"/>
                </a:lnTo>
                <a:lnTo>
                  <a:pt x="2518" y="290"/>
                </a:lnTo>
                <a:lnTo>
                  <a:pt x="2574" y="309"/>
                </a:lnTo>
                <a:lnTo>
                  <a:pt x="2620" y="327"/>
                </a:lnTo>
                <a:lnTo>
                  <a:pt x="2659" y="349"/>
                </a:lnTo>
                <a:lnTo>
                  <a:pt x="2691" y="371"/>
                </a:lnTo>
                <a:lnTo>
                  <a:pt x="2718" y="396"/>
                </a:lnTo>
                <a:lnTo>
                  <a:pt x="2735" y="421"/>
                </a:lnTo>
                <a:lnTo>
                  <a:pt x="2747" y="445"/>
                </a:lnTo>
                <a:lnTo>
                  <a:pt x="2751" y="473"/>
                </a:lnTo>
                <a:lnTo>
                  <a:pt x="2751" y="499"/>
                </a:lnTo>
                <a:lnTo>
                  <a:pt x="2745" y="527"/>
                </a:lnTo>
                <a:lnTo>
                  <a:pt x="2734" y="555"/>
                </a:lnTo>
                <a:lnTo>
                  <a:pt x="2716" y="582"/>
                </a:lnTo>
                <a:lnTo>
                  <a:pt x="2694" y="610"/>
                </a:lnTo>
                <a:lnTo>
                  <a:pt x="2670" y="638"/>
                </a:lnTo>
                <a:lnTo>
                  <a:pt x="2639" y="664"/>
                </a:lnTo>
                <a:lnTo>
                  <a:pt x="2604" y="691"/>
                </a:lnTo>
                <a:lnTo>
                  <a:pt x="2566" y="716"/>
                </a:lnTo>
                <a:lnTo>
                  <a:pt x="2526" y="742"/>
                </a:lnTo>
                <a:lnTo>
                  <a:pt x="2482" y="766"/>
                </a:lnTo>
                <a:lnTo>
                  <a:pt x="2434" y="789"/>
                </a:lnTo>
                <a:lnTo>
                  <a:pt x="2386" y="811"/>
                </a:lnTo>
                <a:lnTo>
                  <a:pt x="2334" y="831"/>
                </a:lnTo>
                <a:lnTo>
                  <a:pt x="2280" y="850"/>
                </a:lnTo>
                <a:lnTo>
                  <a:pt x="2254" y="859"/>
                </a:lnTo>
                <a:lnTo>
                  <a:pt x="2219" y="869"/>
                </a:lnTo>
                <a:lnTo>
                  <a:pt x="2176" y="882"/>
                </a:lnTo>
                <a:lnTo>
                  <a:pt x="2128" y="897"/>
                </a:lnTo>
                <a:lnTo>
                  <a:pt x="2073" y="913"/>
                </a:lnTo>
                <a:lnTo>
                  <a:pt x="2015" y="929"/>
                </a:lnTo>
                <a:lnTo>
                  <a:pt x="1952" y="948"/>
                </a:lnTo>
                <a:lnTo>
                  <a:pt x="1886" y="966"/>
                </a:lnTo>
                <a:lnTo>
                  <a:pt x="1817" y="985"/>
                </a:lnTo>
                <a:lnTo>
                  <a:pt x="1746" y="1006"/>
                </a:lnTo>
                <a:lnTo>
                  <a:pt x="1675" y="1026"/>
                </a:lnTo>
                <a:lnTo>
                  <a:pt x="1602" y="1047"/>
                </a:lnTo>
                <a:lnTo>
                  <a:pt x="1531" y="1065"/>
                </a:lnTo>
                <a:lnTo>
                  <a:pt x="1461" y="1086"/>
                </a:lnTo>
                <a:lnTo>
                  <a:pt x="1394" y="1105"/>
                </a:lnTo>
                <a:lnTo>
                  <a:pt x="1328" y="1122"/>
                </a:lnTo>
                <a:lnTo>
                  <a:pt x="1267" y="1140"/>
                </a:lnTo>
                <a:lnTo>
                  <a:pt x="1211" y="1156"/>
                </a:lnTo>
                <a:lnTo>
                  <a:pt x="1160" y="1170"/>
                </a:lnTo>
                <a:lnTo>
                  <a:pt x="1113" y="1183"/>
                </a:lnTo>
                <a:lnTo>
                  <a:pt x="1075" y="1195"/>
                </a:lnTo>
                <a:lnTo>
                  <a:pt x="1043" y="1204"/>
                </a:lnTo>
                <a:lnTo>
                  <a:pt x="1020" y="1211"/>
                </a:lnTo>
                <a:lnTo>
                  <a:pt x="971" y="1227"/>
                </a:lnTo>
                <a:lnTo>
                  <a:pt x="917" y="1245"/>
                </a:lnTo>
                <a:lnTo>
                  <a:pt x="860" y="1266"/>
                </a:lnTo>
                <a:lnTo>
                  <a:pt x="802" y="1291"/>
                </a:lnTo>
                <a:lnTo>
                  <a:pt x="744" y="1319"/>
                </a:lnTo>
                <a:lnTo>
                  <a:pt x="688" y="1348"/>
                </a:lnTo>
                <a:lnTo>
                  <a:pt x="736" y="1357"/>
                </a:lnTo>
                <a:lnTo>
                  <a:pt x="782" y="1368"/>
                </a:lnTo>
                <a:lnTo>
                  <a:pt x="824" y="1381"/>
                </a:lnTo>
                <a:lnTo>
                  <a:pt x="862" y="1396"/>
                </a:lnTo>
                <a:lnTo>
                  <a:pt x="896" y="1412"/>
                </a:lnTo>
                <a:lnTo>
                  <a:pt x="926" y="1431"/>
                </a:lnTo>
                <a:lnTo>
                  <a:pt x="949" y="1451"/>
                </a:lnTo>
                <a:lnTo>
                  <a:pt x="966" y="1473"/>
                </a:lnTo>
                <a:lnTo>
                  <a:pt x="978" y="1498"/>
                </a:lnTo>
                <a:lnTo>
                  <a:pt x="981" y="1524"/>
                </a:lnTo>
                <a:lnTo>
                  <a:pt x="978" y="1550"/>
                </a:lnTo>
                <a:lnTo>
                  <a:pt x="966" y="1575"/>
                </a:lnTo>
                <a:lnTo>
                  <a:pt x="947" y="1597"/>
                </a:lnTo>
                <a:lnTo>
                  <a:pt x="923" y="1619"/>
                </a:lnTo>
                <a:lnTo>
                  <a:pt x="894" y="1636"/>
                </a:lnTo>
                <a:lnTo>
                  <a:pt x="857" y="1654"/>
                </a:lnTo>
                <a:lnTo>
                  <a:pt x="818" y="1668"/>
                </a:lnTo>
                <a:lnTo>
                  <a:pt x="776" y="1681"/>
                </a:lnTo>
                <a:lnTo>
                  <a:pt x="729" y="1691"/>
                </a:lnTo>
                <a:lnTo>
                  <a:pt x="680" y="1700"/>
                </a:lnTo>
                <a:lnTo>
                  <a:pt x="629" y="1707"/>
                </a:lnTo>
                <a:lnTo>
                  <a:pt x="677" y="1731"/>
                </a:lnTo>
                <a:lnTo>
                  <a:pt x="732" y="1751"/>
                </a:lnTo>
                <a:lnTo>
                  <a:pt x="799" y="1776"/>
                </a:lnTo>
                <a:lnTo>
                  <a:pt x="870" y="1796"/>
                </a:lnTo>
                <a:lnTo>
                  <a:pt x="946" y="1814"/>
                </a:lnTo>
                <a:lnTo>
                  <a:pt x="1024" y="1830"/>
                </a:lnTo>
                <a:lnTo>
                  <a:pt x="1103" y="1843"/>
                </a:lnTo>
                <a:lnTo>
                  <a:pt x="1183" y="1854"/>
                </a:lnTo>
                <a:lnTo>
                  <a:pt x="1263" y="1865"/>
                </a:lnTo>
                <a:lnTo>
                  <a:pt x="1340" y="1873"/>
                </a:lnTo>
                <a:lnTo>
                  <a:pt x="1471" y="1885"/>
                </a:lnTo>
                <a:lnTo>
                  <a:pt x="1599" y="1892"/>
                </a:lnTo>
                <a:lnTo>
                  <a:pt x="1726" y="1898"/>
                </a:lnTo>
                <a:lnTo>
                  <a:pt x="1845" y="1902"/>
                </a:lnTo>
                <a:lnTo>
                  <a:pt x="1960" y="1905"/>
                </a:lnTo>
                <a:lnTo>
                  <a:pt x="2046" y="1907"/>
                </a:lnTo>
                <a:lnTo>
                  <a:pt x="2169" y="1905"/>
                </a:lnTo>
                <a:lnTo>
                  <a:pt x="2293" y="1901"/>
                </a:lnTo>
                <a:lnTo>
                  <a:pt x="2414" y="1897"/>
                </a:lnTo>
                <a:lnTo>
                  <a:pt x="2531" y="1891"/>
                </a:lnTo>
                <a:lnTo>
                  <a:pt x="2643" y="1884"/>
                </a:lnTo>
                <a:lnTo>
                  <a:pt x="2750" y="1878"/>
                </a:lnTo>
                <a:lnTo>
                  <a:pt x="2827" y="1873"/>
                </a:lnTo>
                <a:lnTo>
                  <a:pt x="2899" y="1869"/>
                </a:lnTo>
                <a:lnTo>
                  <a:pt x="2902" y="1868"/>
                </a:lnTo>
                <a:lnTo>
                  <a:pt x="2905" y="1866"/>
                </a:lnTo>
                <a:lnTo>
                  <a:pt x="2908" y="1865"/>
                </a:lnTo>
                <a:lnTo>
                  <a:pt x="2911" y="1862"/>
                </a:lnTo>
                <a:lnTo>
                  <a:pt x="2914" y="1859"/>
                </a:lnTo>
                <a:lnTo>
                  <a:pt x="2914" y="1857"/>
                </a:lnTo>
                <a:lnTo>
                  <a:pt x="2926" y="1831"/>
                </a:lnTo>
                <a:lnTo>
                  <a:pt x="2946" y="1806"/>
                </a:lnTo>
                <a:lnTo>
                  <a:pt x="2972" y="1785"/>
                </a:lnTo>
                <a:lnTo>
                  <a:pt x="3004" y="1766"/>
                </a:lnTo>
                <a:lnTo>
                  <a:pt x="3043" y="1748"/>
                </a:lnTo>
                <a:lnTo>
                  <a:pt x="3086" y="1732"/>
                </a:lnTo>
                <a:lnTo>
                  <a:pt x="3132" y="1721"/>
                </a:lnTo>
                <a:lnTo>
                  <a:pt x="3183" y="1709"/>
                </a:lnTo>
                <a:lnTo>
                  <a:pt x="3235" y="1700"/>
                </a:lnTo>
                <a:lnTo>
                  <a:pt x="3289" y="1694"/>
                </a:lnTo>
                <a:lnTo>
                  <a:pt x="3344" y="1691"/>
                </a:lnTo>
                <a:lnTo>
                  <a:pt x="3401" y="1690"/>
                </a:lnTo>
                <a:lnTo>
                  <a:pt x="3455" y="1691"/>
                </a:lnTo>
                <a:lnTo>
                  <a:pt x="3510" y="1694"/>
                </a:lnTo>
                <a:lnTo>
                  <a:pt x="3564" y="1700"/>
                </a:lnTo>
                <a:lnTo>
                  <a:pt x="3616" y="1709"/>
                </a:lnTo>
                <a:lnTo>
                  <a:pt x="3666" y="1719"/>
                </a:lnTo>
                <a:lnTo>
                  <a:pt x="3712" y="1732"/>
                </a:lnTo>
                <a:lnTo>
                  <a:pt x="3756" y="1747"/>
                </a:lnTo>
                <a:lnTo>
                  <a:pt x="3794" y="1764"/>
                </a:lnTo>
                <a:lnTo>
                  <a:pt x="3827" y="1783"/>
                </a:lnTo>
                <a:lnTo>
                  <a:pt x="3854" y="1805"/>
                </a:lnTo>
                <a:lnTo>
                  <a:pt x="3874" y="1828"/>
                </a:lnTo>
                <a:lnTo>
                  <a:pt x="3887" y="1853"/>
                </a:lnTo>
                <a:lnTo>
                  <a:pt x="3891" y="1881"/>
                </a:lnTo>
                <a:lnTo>
                  <a:pt x="3887" y="1908"/>
                </a:lnTo>
                <a:lnTo>
                  <a:pt x="3874" y="1935"/>
                </a:lnTo>
                <a:lnTo>
                  <a:pt x="3854" y="1958"/>
                </a:lnTo>
                <a:lnTo>
                  <a:pt x="3827" y="1980"/>
                </a:lnTo>
                <a:lnTo>
                  <a:pt x="3794" y="1999"/>
                </a:lnTo>
                <a:lnTo>
                  <a:pt x="3756" y="2016"/>
                </a:lnTo>
                <a:lnTo>
                  <a:pt x="3712" y="2031"/>
                </a:lnTo>
                <a:lnTo>
                  <a:pt x="3666" y="2044"/>
                </a:lnTo>
                <a:lnTo>
                  <a:pt x="3616" y="2054"/>
                </a:lnTo>
                <a:lnTo>
                  <a:pt x="3564" y="2061"/>
                </a:lnTo>
                <a:lnTo>
                  <a:pt x="3510" y="2067"/>
                </a:lnTo>
                <a:lnTo>
                  <a:pt x="3455" y="2071"/>
                </a:lnTo>
                <a:lnTo>
                  <a:pt x="3401" y="2073"/>
                </a:lnTo>
                <a:lnTo>
                  <a:pt x="3344" y="2071"/>
                </a:lnTo>
                <a:lnTo>
                  <a:pt x="3289" y="2067"/>
                </a:lnTo>
                <a:lnTo>
                  <a:pt x="3234" y="2061"/>
                </a:lnTo>
                <a:lnTo>
                  <a:pt x="3180" y="2052"/>
                </a:lnTo>
                <a:lnTo>
                  <a:pt x="3131" y="2042"/>
                </a:lnTo>
                <a:lnTo>
                  <a:pt x="3083" y="2029"/>
                </a:lnTo>
                <a:lnTo>
                  <a:pt x="3039" y="2013"/>
                </a:lnTo>
                <a:lnTo>
                  <a:pt x="3001" y="1996"/>
                </a:lnTo>
                <a:lnTo>
                  <a:pt x="2969" y="1975"/>
                </a:lnTo>
                <a:lnTo>
                  <a:pt x="2943" y="1952"/>
                </a:lnTo>
                <a:lnTo>
                  <a:pt x="2924" y="1929"/>
                </a:lnTo>
                <a:lnTo>
                  <a:pt x="2923" y="1926"/>
                </a:lnTo>
                <a:lnTo>
                  <a:pt x="2920" y="1924"/>
                </a:lnTo>
                <a:lnTo>
                  <a:pt x="2917" y="1923"/>
                </a:lnTo>
                <a:lnTo>
                  <a:pt x="2914" y="1921"/>
                </a:lnTo>
                <a:lnTo>
                  <a:pt x="2911" y="1920"/>
                </a:lnTo>
                <a:lnTo>
                  <a:pt x="2908" y="1920"/>
                </a:lnTo>
                <a:lnTo>
                  <a:pt x="2834" y="1930"/>
                </a:lnTo>
                <a:lnTo>
                  <a:pt x="2748" y="1940"/>
                </a:lnTo>
                <a:lnTo>
                  <a:pt x="2654" y="1952"/>
                </a:lnTo>
                <a:lnTo>
                  <a:pt x="2547" y="1964"/>
                </a:lnTo>
                <a:lnTo>
                  <a:pt x="2434" y="1974"/>
                </a:lnTo>
                <a:lnTo>
                  <a:pt x="2310" y="1984"/>
                </a:lnTo>
                <a:lnTo>
                  <a:pt x="2178" y="1993"/>
                </a:lnTo>
                <a:lnTo>
                  <a:pt x="2038" y="2001"/>
                </a:lnTo>
                <a:lnTo>
                  <a:pt x="1931" y="2004"/>
                </a:lnTo>
                <a:lnTo>
                  <a:pt x="1830" y="2007"/>
                </a:lnTo>
                <a:lnTo>
                  <a:pt x="1736" y="2007"/>
                </a:lnTo>
                <a:lnTo>
                  <a:pt x="1606" y="2006"/>
                </a:lnTo>
                <a:lnTo>
                  <a:pt x="1483" y="2001"/>
                </a:lnTo>
                <a:lnTo>
                  <a:pt x="1360" y="1996"/>
                </a:lnTo>
                <a:lnTo>
                  <a:pt x="1232" y="1985"/>
                </a:lnTo>
                <a:lnTo>
                  <a:pt x="1112" y="1971"/>
                </a:lnTo>
                <a:lnTo>
                  <a:pt x="997" y="1955"/>
                </a:lnTo>
                <a:lnTo>
                  <a:pt x="889" y="1935"/>
                </a:lnTo>
                <a:lnTo>
                  <a:pt x="787" y="1911"/>
                </a:lnTo>
                <a:lnTo>
                  <a:pt x="690" y="1885"/>
                </a:lnTo>
                <a:lnTo>
                  <a:pt x="595" y="1853"/>
                </a:lnTo>
                <a:lnTo>
                  <a:pt x="553" y="1837"/>
                </a:lnTo>
                <a:lnTo>
                  <a:pt x="508" y="1817"/>
                </a:lnTo>
                <a:lnTo>
                  <a:pt x="463" y="1793"/>
                </a:lnTo>
                <a:lnTo>
                  <a:pt x="418" y="1767"/>
                </a:lnTo>
                <a:lnTo>
                  <a:pt x="376" y="1737"/>
                </a:lnTo>
                <a:lnTo>
                  <a:pt x="336" y="1703"/>
                </a:lnTo>
                <a:lnTo>
                  <a:pt x="275" y="1693"/>
                </a:lnTo>
                <a:lnTo>
                  <a:pt x="219" y="1678"/>
                </a:lnTo>
                <a:lnTo>
                  <a:pt x="165" y="1662"/>
                </a:lnTo>
                <a:lnTo>
                  <a:pt x="117" y="1642"/>
                </a:lnTo>
                <a:lnTo>
                  <a:pt x="76" y="1620"/>
                </a:lnTo>
                <a:lnTo>
                  <a:pt x="41" y="1597"/>
                </a:lnTo>
                <a:lnTo>
                  <a:pt x="15" y="1571"/>
                </a:lnTo>
                <a:lnTo>
                  <a:pt x="5" y="1555"/>
                </a:lnTo>
                <a:lnTo>
                  <a:pt x="0" y="1539"/>
                </a:lnTo>
                <a:lnTo>
                  <a:pt x="0" y="1524"/>
                </a:lnTo>
                <a:lnTo>
                  <a:pt x="2" y="1511"/>
                </a:lnTo>
                <a:lnTo>
                  <a:pt x="3" y="1504"/>
                </a:lnTo>
                <a:lnTo>
                  <a:pt x="5" y="1499"/>
                </a:lnTo>
                <a:lnTo>
                  <a:pt x="16" y="1475"/>
                </a:lnTo>
                <a:lnTo>
                  <a:pt x="35" y="1451"/>
                </a:lnTo>
                <a:lnTo>
                  <a:pt x="60" y="1429"/>
                </a:lnTo>
                <a:lnTo>
                  <a:pt x="91" y="1410"/>
                </a:lnTo>
                <a:lnTo>
                  <a:pt x="127" y="1393"/>
                </a:lnTo>
                <a:lnTo>
                  <a:pt x="168" y="1378"/>
                </a:lnTo>
                <a:lnTo>
                  <a:pt x="213" y="1365"/>
                </a:lnTo>
                <a:lnTo>
                  <a:pt x="261" y="1354"/>
                </a:lnTo>
                <a:lnTo>
                  <a:pt x="310" y="1345"/>
                </a:lnTo>
                <a:lnTo>
                  <a:pt x="363" y="1339"/>
                </a:lnTo>
                <a:lnTo>
                  <a:pt x="415" y="1295"/>
                </a:lnTo>
                <a:lnTo>
                  <a:pt x="475" y="1256"/>
                </a:lnTo>
                <a:lnTo>
                  <a:pt x="539" y="1220"/>
                </a:lnTo>
                <a:lnTo>
                  <a:pt x="606" y="1188"/>
                </a:lnTo>
                <a:lnTo>
                  <a:pt x="675" y="1157"/>
                </a:lnTo>
                <a:lnTo>
                  <a:pt x="748" y="1131"/>
                </a:lnTo>
                <a:lnTo>
                  <a:pt x="821" y="1106"/>
                </a:lnTo>
                <a:lnTo>
                  <a:pt x="894" y="1084"/>
                </a:lnTo>
                <a:lnTo>
                  <a:pt x="965" y="1064"/>
                </a:lnTo>
                <a:lnTo>
                  <a:pt x="997" y="1054"/>
                </a:lnTo>
                <a:lnTo>
                  <a:pt x="1038" y="1044"/>
                </a:lnTo>
                <a:lnTo>
                  <a:pt x="1084" y="1032"/>
                </a:lnTo>
                <a:lnTo>
                  <a:pt x="1138" y="1019"/>
                </a:lnTo>
                <a:lnTo>
                  <a:pt x="1198" y="1004"/>
                </a:lnTo>
                <a:lnTo>
                  <a:pt x="1260" y="990"/>
                </a:lnTo>
                <a:lnTo>
                  <a:pt x="1327" y="974"/>
                </a:lnTo>
                <a:lnTo>
                  <a:pt x="1397" y="958"/>
                </a:lnTo>
                <a:lnTo>
                  <a:pt x="1468" y="940"/>
                </a:lnTo>
                <a:lnTo>
                  <a:pt x="1541" y="923"/>
                </a:lnTo>
                <a:lnTo>
                  <a:pt x="1615" y="905"/>
                </a:lnTo>
                <a:lnTo>
                  <a:pt x="1688" y="888"/>
                </a:lnTo>
                <a:lnTo>
                  <a:pt x="1759" y="872"/>
                </a:lnTo>
                <a:lnTo>
                  <a:pt x="1829" y="854"/>
                </a:lnTo>
                <a:lnTo>
                  <a:pt x="1896" y="838"/>
                </a:lnTo>
                <a:lnTo>
                  <a:pt x="1960" y="822"/>
                </a:lnTo>
                <a:lnTo>
                  <a:pt x="2019" y="808"/>
                </a:lnTo>
                <a:lnTo>
                  <a:pt x="2073" y="795"/>
                </a:lnTo>
                <a:lnTo>
                  <a:pt x="2120" y="782"/>
                </a:lnTo>
                <a:lnTo>
                  <a:pt x="2160" y="771"/>
                </a:lnTo>
                <a:lnTo>
                  <a:pt x="2194" y="761"/>
                </a:lnTo>
                <a:lnTo>
                  <a:pt x="2219" y="753"/>
                </a:lnTo>
                <a:lnTo>
                  <a:pt x="2300" y="725"/>
                </a:lnTo>
                <a:lnTo>
                  <a:pt x="2371" y="699"/>
                </a:lnTo>
                <a:lnTo>
                  <a:pt x="2431" y="671"/>
                </a:lnTo>
                <a:lnTo>
                  <a:pt x="2482" y="643"/>
                </a:lnTo>
                <a:lnTo>
                  <a:pt x="2523" y="617"/>
                </a:lnTo>
                <a:lnTo>
                  <a:pt x="2555" y="591"/>
                </a:lnTo>
                <a:lnTo>
                  <a:pt x="2576" y="565"/>
                </a:lnTo>
                <a:lnTo>
                  <a:pt x="2591" y="539"/>
                </a:lnTo>
                <a:lnTo>
                  <a:pt x="2597" y="514"/>
                </a:lnTo>
                <a:lnTo>
                  <a:pt x="2595" y="489"/>
                </a:lnTo>
                <a:lnTo>
                  <a:pt x="2587" y="466"/>
                </a:lnTo>
                <a:lnTo>
                  <a:pt x="2569" y="442"/>
                </a:lnTo>
                <a:lnTo>
                  <a:pt x="2546" y="419"/>
                </a:lnTo>
                <a:lnTo>
                  <a:pt x="2517" y="399"/>
                </a:lnTo>
                <a:lnTo>
                  <a:pt x="2480" y="378"/>
                </a:lnTo>
                <a:lnTo>
                  <a:pt x="2438" y="358"/>
                </a:lnTo>
                <a:lnTo>
                  <a:pt x="2392" y="339"/>
                </a:lnTo>
                <a:lnTo>
                  <a:pt x="2339" y="322"/>
                </a:lnTo>
                <a:lnTo>
                  <a:pt x="2281" y="306"/>
                </a:lnTo>
                <a:lnTo>
                  <a:pt x="2220" y="291"/>
                </a:lnTo>
                <a:lnTo>
                  <a:pt x="2155" y="278"/>
                </a:lnTo>
                <a:lnTo>
                  <a:pt x="2085" y="265"/>
                </a:lnTo>
                <a:lnTo>
                  <a:pt x="2012" y="255"/>
                </a:lnTo>
                <a:lnTo>
                  <a:pt x="1936" y="244"/>
                </a:lnTo>
                <a:lnTo>
                  <a:pt x="1858" y="237"/>
                </a:lnTo>
                <a:lnTo>
                  <a:pt x="1855" y="237"/>
                </a:lnTo>
                <a:lnTo>
                  <a:pt x="1852" y="239"/>
                </a:lnTo>
                <a:lnTo>
                  <a:pt x="1848" y="240"/>
                </a:lnTo>
                <a:lnTo>
                  <a:pt x="1845" y="243"/>
                </a:lnTo>
                <a:lnTo>
                  <a:pt x="1843" y="244"/>
                </a:lnTo>
                <a:lnTo>
                  <a:pt x="1820" y="271"/>
                </a:lnTo>
                <a:lnTo>
                  <a:pt x="1790" y="294"/>
                </a:lnTo>
                <a:lnTo>
                  <a:pt x="1752" y="314"/>
                </a:lnTo>
                <a:lnTo>
                  <a:pt x="1708" y="332"/>
                </a:lnTo>
                <a:lnTo>
                  <a:pt x="1659" y="348"/>
                </a:lnTo>
                <a:lnTo>
                  <a:pt x="1606" y="359"/>
                </a:lnTo>
                <a:lnTo>
                  <a:pt x="1550" y="370"/>
                </a:lnTo>
                <a:lnTo>
                  <a:pt x="1490" y="377"/>
                </a:lnTo>
                <a:lnTo>
                  <a:pt x="1430" y="381"/>
                </a:lnTo>
                <a:lnTo>
                  <a:pt x="1369" y="383"/>
                </a:lnTo>
                <a:lnTo>
                  <a:pt x="1315" y="381"/>
                </a:lnTo>
                <a:lnTo>
                  <a:pt x="1260" y="378"/>
                </a:lnTo>
                <a:lnTo>
                  <a:pt x="1206" y="373"/>
                </a:lnTo>
                <a:lnTo>
                  <a:pt x="1154" y="364"/>
                </a:lnTo>
                <a:lnTo>
                  <a:pt x="1104" y="354"/>
                </a:lnTo>
                <a:lnTo>
                  <a:pt x="1058" y="341"/>
                </a:lnTo>
                <a:lnTo>
                  <a:pt x="1014" y="326"/>
                </a:lnTo>
                <a:lnTo>
                  <a:pt x="976" y="309"/>
                </a:lnTo>
                <a:lnTo>
                  <a:pt x="943" y="290"/>
                </a:lnTo>
                <a:lnTo>
                  <a:pt x="917" y="268"/>
                </a:lnTo>
                <a:lnTo>
                  <a:pt x="896" y="244"/>
                </a:lnTo>
                <a:lnTo>
                  <a:pt x="883" y="218"/>
                </a:lnTo>
                <a:lnTo>
                  <a:pt x="879" y="191"/>
                </a:lnTo>
                <a:lnTo>
                  <a:pt x="883" y="164"/>
                </a:lnTo>
                <a:lnTo>
                  <a:pt x="896" y="138"/>
                </a:lnTo>
                <a:lnTo>
                  <a:pt x="917" y="115"/>
                </a:lnTo>
                <a:lnTo>
                  <a:pt x="943" y="93"/>
                </a:lnTo>
                <a:lnTo>
                  <a:pt x="976" y="74"/>
                </a:lnTo>
                <a:lnTo>
                  <a:pt x="1014" y="57"/>
                </a:lnTo>
                <a:lnTo>
                  <a:pt x="1058" y="42"/>
                </a:lnTo>
                <a:lnTo>
                  <a:pt x="1104" y="29"/>
                </a:lnTo>
                <a:lnTo>
                  <a:pt x="1154" y="19"/>
                </a:lnTo>
                <a:lnTo>
                  <a:pt x="1206" y="10"/>
                </a:lnTo>
                <a:lnTo>
                  <a:pt x="1260" y="4"/>
                </a:lnTo>
                <a:lnTo>
                  <a:pt x="1315" y="1"/>
                </a:lnTo>
                <a:lnTo>
                  <a:pt x="1369" y="0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1891034" y="2865816"/>
            <a:ext cx="775096" cy="1099799"/>
            <a:chOff x="1891034" y="2889803"/>
            <a:chExt cx="775096" cy="1099799"/>
          </a:xfrm>
        </p:grpSpPr>
        <p:grpSp>
          <p:nvGrpSpPr>
            <p:cNvPr id="38" name="Group 37"/>
            <p:cNvGrpSpPr>
              <a:grpSpLocks noChangeAspect="1"/>
            </p:cNvGrpSpPr>
            <p:nvPr/>
          </p:nvGrpSpPr>
          <p:grpSpPr>
            <a:xfrm>
              <a:off x="1891034" y="2889803"/>
              <a:ext cx="775096" cy="1099799"/>
              <a:chOff x="3574665" y="4349496"/>
              <a:chExt cx="295991" cy="419987"/>
            </a:xfrm>
            <a:solidFill>
              <a:schemeClr val="accent1"/>
            </a:solidFill>
          </p:grpSpPr>
          <p:sp>
            <p:nvSpPr>
              <p:cNvPr id="40" name="Freeform 609"/>
              <p:cNvSpPr>
                <a:spLocks/>
              </p:cNvSpPr>
              <p:nvPr/>
            </p:nvSpPr>
            <p:spPr bwMode="auto">
              <a:xfrm>
                <a:off x="3574665" y="4349496"/>
                <a:ext cx="295991" cy="419987"/>
              </a:xfrm>
              <a:custGeom>
                <a:avLst/>
                <a:gdLst>
                  <a:gd name="T0" fmla="*/ 63 w 125"/>
                  <a:gd name="T1" fmla="*/ 178 h 178"/>
                  <a:gd name="T2" fmla="*/ 0 w 125"/>
                  <a:gd name="T3" fmla="*/ 62 h 178"/>
                  <a:gd name="T4" fmla="*/ 63 w 125"/>
                  <a:gd name="T5" fmla="*/ 0 h 178"/>
                  <a:gd name="T6" fmla="*/ 125 w 125"/>
                  <a:gd name="T7" fmla="*/ 62 h 178"/>
                  <a:gd name="T8" fmla="*/ 63 w 12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78">
                    <a:moveTo>
                      <a:pt x="63" y="178"/>
                    </a:moveTo>
                    <a:cubicBezTo>
                      <a:pt x="63" y="178"/>
                      <a:pt x="0" y="96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97" y="0"/>
                      <a:pt x="125" y="28"/>
                      <a:pt x="125" y="62"/>
                    </a:cubicBezTo>
                    <a:cubicBezTo>
                      <a:pt x="125" y="96"/>
                      <a:pt x="63" y="178"/>
                      <a:pt x="63" y="17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610"/>
              <p:cNvSpPr>
                <a:spLocks noChangeArrowheads="1"/>
              </p:cNvSpPr>
              <p:nvPr/>
            </p:nvSpPr>
            <p:spPr bwMode="auto">
              <a:xfrm>
                <a:off x="3648662" y="4410494"/>
                <a:ext cx="150995" cy="1489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9052" y="2991906"/>
              <a:ext cx="519060" cy="519060"/>
            </a:xfrm>
            <a:prstGeom prst="rect">
              <a:avLst/>
            </a:prstGeom>
          </p:spPr>
        </p:pic>
      </p:grpSp>
      <p:sp>
        <p:nvSpPr>
          <p:cNvPr id="30" name="Rectangle 29"/>
          <p:cNvSpPr/>
          <p:nvPr/>
        </p:nvSpPr>
        <p:spPr>
          <a:xfrm>
            <a:off x="408898" y="2811633"/>
            <a:ext cx="13523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CiscoSansTT ExtraLight"/>
              </a:rPr>
              <a:t>Evaluating</a:t>
            </a:r>
            <a:r>
              <a:rPr lang="en-US" dirty="0">
                <a:solidFill>
                  <a:srgbClr val="282828"/>
                </a:solidFill>
                <a:latin typeface="CiscoSansTT ExtraLight"/>
              </a:rPr>
              <a:t> </a:t>
            </a:r>
            <a:r>
              <a:rPr lang="en-US" dirty="0">
                <a:solidFill>
                  <a:schemeClr val="bg1"/>
                </a:solidFill>
                <a:latin typeface="CiscoSansTT ExtraLight"/>
              </a:rPr>
              <a:t>if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 are </a:t>
            </a:r>
            <a:r>
              <a:rPr lang="en-US" dirty="0">
                <a:solidFill>
                  <a:schemeClr val="bg1"/>
                </a:solidFill>
                <a:latin typeface="CiscoSansTT ExtraLight"/>
              </a:rPr>
              <a:t>ready?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258231" y="2343991"/>
            <a:ext cx="1658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  <a:latin typeface="CiscoSansTT ExtraLight"/>
              </a:rPr>
              <a:t>Building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 &amp; </a:t>
            </a:r>
            <a:r>
              <a:rPr lang="en-US" dirty="0" smtClean="0">
                <a:solidFill>
                  <a:schemeClr val="accent2"/>
                </a:solidFill>
                <a:latin typeface="CiscoSansTT ExtraLight"/>
              </a:rPr>
              <a:t>Assessing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r secure foundation?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926824" y="361909"/>
            <a:ext cx="2257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Maintaining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r</a:t>
            </a:r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digital solution?  </a:t>
            </a:r>
            <a:endParaRPr lang="en-US" dirty="0">
              <a:solidFill>
                <a:schemeClr val="bg1"/>
              </a:solidFill>
              <a:latin typeface="CiscoSansTT Extra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834274" y="441780"/>
            <a:ext cx="775096" cy="1099799"/>
            <a:chOff x="4834274" y="441780"/>
            <a:chExt cx="775096" cy="1099799"/>
          </a:xfrm>
        </p:grpSpPr>
        <p:grpSp>
          <p:nvGrpSpPr>
            <p:cNvPr id="48" name="Group 47"/>
            <p:cNvGrpSpPr>
              <a:grpSpLocks noChangeAspect="1"/>
            </p:cNvGrpSpPr>
            <p:nvPr/>
          </p:nvGrpSpPr>
          <p:grpSpPr>
            <a:xfrm>
              <a:off x="4834274" y="441780"/>
              <a:ext cx="775096" cy="1099799"/>
              <a:chOff x="3574665" y="4349496"/>
              <a:chExt cx="295991" cy="419987"/>
            </a:xfrm>
            <a:solidFill>
              <a:schemeClr val="accent1"/>
            </a:solidFill>
          </p:grpSpPr>
          <p:sp>
            <p:nvSpPr>
              <p:cNvPr id="49" name="Freeform 609"/>
              <p:cNvSpPr>
                <a:spLocks/>
              </p:cNvSpPr>
              <p:nvPr/>
            </p:nvSpPr>
            <p:spPr bwMode="auto">
              <a:xfrm>
                <a:off x="3574665" y="4349496"/>
                <a:ext cx="295991" cy="419987"/>
              </a:xfrm>
              <a:custGeom>
                <a:avLst/>
                <a:gdLst>
                  <a:gd name="T0" fmla="*/ 63 w 125"/>
                  <a:gd name="T1" fmla="*/ 178 h 178"/>
                  <a:gd name="T2" fmla="*/ 0 w 125"/>
                  <a:gd name="T3" fmla="*/ 62 h 178"/>
                  <a:gd name="T4" fmla="*/ 63 w 125"/>
                  <a:gd name="T5" fmla="*/ 0 h 178"/>
                  <a:gd name="T6" fmla="*/ 125 w 125"/>
                  <a:gd name="T7" fmla="*/ 62 h 178"/>
                  <a:gd name="T8" fmla="*/ 63 w 12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78">
                    <a:moveTo>
                      <a:pt x="63" y="178"/>
                    </a:moveTo>
                    <a:cubicBezTo>
                      <a:pt x="63" y="178"/>
                      <a:pt x="0" y="96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97" y="0"/>
                      <a:pt x="125" y="28"/>
                      <a:pt x="125" y="62"/>
                    </a:cubicBezTo>
                    <a:cubicBezTo>
                      <a:pt x="125" y="96"/>
                      <a:pt x="63" y="178"/>
                      <a:pt x="63" y="178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Oval 610"/>
              <p:cNvSpPr>
                <a:spLocks noChangeArrowheads="1"/>
              </p:cNvSpPr>
              <p:nvPr/>
            </p:nvSpPr>
            <p:spPr bwMode="auto">
              <a:xfrm>
                <a:off x="3648662" y="4410494"/>
                <a:ext cx="150995" cy="1489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7141" y="539432"/>
              <a:ext cx="541250" cy="574327"/>
            </a:xfrm>
            <a:prstGeom prst="rect">
              <a:avLst/>
            </a:prstGeom>
            <a:solidFill>
              <a:schemeClr val="accent5"/>
            </a:solidFill>
          </p:spPr>
        </p:pic>
      </p:grpSp>
      <p:grpSp>
        <p:nvGrpSpPr>
          <p:cNvPr id="23" name="Group 22"/>
          <p:cNvGrpSpPr/>
          <p:nvPr/>
        </p:nvGrpSpPr>
        <p:grpSpPr>
          <a:xfrm>
            <a:off x="6100590" y="2336609"/>
            <a:ext cx="775096" cy="1099799"/>
            <a:chOff x="6100590" y="2343991"/>
            <a:chExt cx="775096" cy="1099799"/>
          </a:xfrm>
        </p:grpSpPr>
        <p:grpSp>
          <p:nvGrpSpPr>
            <p:cNvPr id="25" name="Group 24"/>
            <p:cNvGrpSpPr/>
            <p:nvPr/>
          </p:nvGrpSpPr>
          <p:grpSpPr>
            <a:xfrm>
              <a:off x="6100590" y="2343991"/>
              <a:ext cx="775096" cy="1099799"/>
              <a:chOff x="6123791" y="2343991"/>
              <a:chExt cx="775096" cy="1099799"/>
            </a:xfrm>
          </p:grpSpPr>
          <p:grpSp>
            <p:nvGrpSpPr>
              <p:cNvPr id="70" name="Group 69"/>
              <p:cNvGrpSpPr>
                <a:grpSpLocks noChangeAspect="1"/>
              </p:cNvGrpSpPr>
              <p:nvPr/>
            </p:nvGrpSpPr>
            <p:grpSpPr>
              <a:xfrm>
                <a:off x="6123791" y="2343991"/>
                <a:ext cx="775096" cy="1099799"/>
                <a:chOff x="3574665" y="4349496"/>
                <a:chExt cx="295991" cy="419987"/>
              </a:xfrm>
              <a:solidFill>
                <a:schemeClr val="accent1"/>
              </a:solidFill>
            </p:grpSpPr>
            <p:sp>
              <p:nvSpPr>
                <p:cNvPr id="72" name="Freeform 609"/>
                <p:cNvSpPr>
                  <a:spLocks/>
                </p:cNvSpPr>
                <p:nvPr/>
              </p:nvSpPr>
              <p:spPr bwMode="auto">
                <a:xfrm>
                  <a:off x="3574665" y="4349496"/>
                  <a:ext cx="295991" cy="419987"/>
                </a:xfrm>
                <a:custGeom>
                  <a:avLst/>
                  <a:gdLst>
                    <a:gd name="T0" fmla="*/ 63 w 125"/>
                    <a:gd name="T1" fmla="*/ 178 h 178"/>
                    <a:gd name="T2" fmla="*/ 0 w 125"/>
                    <a:gd name="T3" fmla="*/ 62 h 178"/>
                    <a:gd name="T4" fmla="*/ 63 w 125"/>
                    <a:gd name="T5" fmla="*/ 0 h 178"/>
                    <a:gd name="T6" fmla="*/ 125 w 125"/>
                    <a:gd name="T7" fmla="*/ 62 h 178"/>
                    <a:gd name="T8" fmla="*/ 63 w 125"/>
                    <a:gd name="T9" fmla="*/ 178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5" h="178">
                      <a:moveTo>
                        <a:pt x="63" y="178"/>
                      </a:moveTo>
                      <a:cubicBezTo>
                        <a:pt x="63" y="178"/>
                        <a:pt x="0" y="96"/>
                        <a:pt x="0" y="62"/>
                      </a:cubicBezTo>
                      <a:cubicBezTo>
                        <a:pt x="0" y="28"/>
                        <a:pt x="28" y="0"/>
                        <a:pt x="63" y="0"/>
                      </a:cubicBezTo>
                      <a:cubicBezTo>
                        <a:pt x="97" y="0"/>
                        <a:pt x="125" y="28"/>
                        <a:pt x="125" y="62"/>
                      </a:cubicBezTo>
                      <a:cubicBezTo>
                        <a:pt x="125" y="96"/>
                        <a:pt x="63" y="178"/>
                        <a:pt x="63" y="178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Oval 610"/>
                <p:cNvSpPr>
                  <a:spLocks noChangeArrowheads="1"/>
                </p:cNvSpPr>
                <p:nvPr/>
              </p:nvSpPr>
              <p:spPr bwMode="auto">
                <a:xfrm>
                  <a:off x="3648662" y="4410494"/>
                  <a:ext cx="150995" cy="148995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pic>
            <p:nvPicPr>
              <p:cNvPr id="71" name="Picture 7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2417" y="2472846"/>
                <a:ext cx="519060" cy="519060"/>
              </a:xfrm>
              <a:prstGeom prst="rect">
                <a:avLst/>
              </a:prstGeom>
            </p:spPr>
          </p:pic>
        </p:grpSp>
        <p:grpSp>
          <p:nvGrpSpPr>
            <p:cNvPr id="26" name="Group 10"/>
            <p:cNvGrpSpPr>
              <a:grpSpLocks noChangeAspect="1"/>
            </p:cNvGrpSpPr>
            <p:nvPr/>
          </p:nvGrpSpPr>
          <p:grpSpPr bwMode="auto">
            <a:xfrm>
              <a:off x="6229491" y="2472495"/>
              <a:ext cx="519040" cy="519765"/>
              <a:chOff x="2546" y="1891"/>
              <a:chExt cx="717" cy="718"/>
            </a:xfrm>
            <a:solidFill>
              <a:schemeClr val="bg2"/>
            </a:solidFill>
          </p:grpSpPr>
          <p:sp>
            <p:nvSpPr>
              <p:cNvPr id="27" name="Freeform 13"/>
              <p:cNvSpPr>
                <a:spLocks/>
              </p:cNvSpPr>
              <p:nvPr/>
            </p:nvSpPr>
            <p:spPr bwMode="auto">
              <a:xfrm>
                <a:off x="2546" y="1891"/>
                <a:ext cx="717" cy="71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3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4"/>
              <p:cNvSpPr>
                <a:spLocks/>
              </p:cNvSpPr>
              <p:nvPr/>
            </p:nvSpPr>
            <p:spPr bwMode="auto">
              <a:xfrm>
                <a:off x="2806" y="2122"/>
                <a:ext cx="70" cy="71"/>
              </a:xfrm>
              <a:custGeom>
                <a:avLst/>
                <a:gdLst>
                  <a:gd name="T0" fmla="*/ 105 w 140"/>
                  <a:gd name="T1" fmla="*/ 9 h 140"/>
                  <a:gd name="T2" fmla="*/ 105 w 140"/>
                  <a:gd name="T3" fmla="*/ 9 h 140"/>
                  <a:gd name="T4" fmla="*/ 118 w 140"/>
                  <a:gd name="T5" fmla="*/ 17 h 140"/>
                  <a:gd name="T6" fmla="*/ 127 w 140"/>
                  <a:gd name="T7" fmla="*/ 27 h 140"/>
                  <a:gd name="T8" fmla="*/ 134 w 140"/>
                  <a:gd name="T9" fmla="*/ 40 h 140"/>
                  <a:gd name="T10" fmla="*/ 139 w 140"/>
                  <a:gd name="T11" fmla="*/ 53 h 140"/>
                  <a:gd name="T12" fmla="*/ 140 w 140"/>
                  <a:gd name="T13" fmla="*/ 65 h 140"/>
                  <a:gd name="T14" fmla="*/ 140 w 140"/>
                  <a:gd name="T15" fmla="*/ 80 h 140"/>
                  <a:gd name="T16" fmla="*/ 137 w 140"/>
                  <a:gd name="T17" fmla="*/ 92 h 140"/>
                  <a:gd name="T18" fmla="*/ 132 w 140"/>
                  <a:gd name="T19" fmla="*/ 105 h 140"/>
                  <a:gd name="T20" fmla="*/ 132 w 140"/>
                  <a:gd name="T21" fmla="*/ 105 h 140"/>
                  <a:gd name="T22" fmla="*/ 123 w 140"/>
                  <a:gd name="T23" fmla="*/ 116 h 140"/>
                  <a:gd name="T24" fmla="*/ 113 w 140"/>
                  <a:gd name="T25" fmla="*/ 126 h 140"/>
                  <a:gd name="T26" fmla="*/ 102 w 140"/>
                  <a:gd name="T27" fmla="*/ 134 h 140"/>
                  <a:gd name="T28" fmla="*/ 89 w 140"/>
                  <a:gd name="T29" fmla="*/ 139 h 140"/>
                  <a:gd name="T30" fmla="*/ 75 w 140"/>
                  <a:gd name="T31" fmla="*/ 140 h 140"/>
                  <a:gd name="T32" fmla="*/ 62 w 140"/>
                  <a:gd name="T33" fmla="*/ 140 h 140"/>
                  <a:gd name="T34" fmla="*/ 48 w 140"/>
                  <a:gd name="T35" fmla="*/ 137 h 140"/>
                  <a:gd name="T36" fmla="*/ 35 w 140"/>
                  <a:gd name="T37" fmla="*/ 131 h 140"/>
                  <a:gd name="T38" fmla="*/ 35 w 140"/>
                  <a:gd name="T39" fmla="*/ 131 h 140"/>
                  <a:gd name="T40" fmla="*/ 24 w 140"/>
                  <a:gd name="T41" fmla="*/ 123 h 140"/>
                  <a:gd name="T42" fmla="*/ 14 w 140"/>
                  <a:gd name="T43" fmla="*/ 113 h 140"/>
                  <a:gd name="T44" fmla="*/ 8 w 140"/>
                  <a:gd name="T45" fmla="*/ 100 h 140"/>
                  <a:gd name="T46" fmla="*/ 3 w 140"/>
                  <a:gd name="T47" fmla="*/ 88 h 140"/>
                  <a:gd name="T48" fmla="*/ 0 w 140"/>
                  <a:gd name="T49" fmla="*/ 75 h 140"/>
                  <a:gd name="T50" fmla="*/ 0 w 140"/>
                  <a:gd name="T51" fmla="*/ 62 h 140"/>
                  <a:gd name="T52" fmla="*/ 3 w 140"/>
                  <a:gd name="T53" fmla="*/ 48 h 140"/>
                  <a:gd name="T54" fmla="*/ 9 w 140"/>
                  <a:gd name="T55" fmla="*/ 35 h 140"/>
                  <a:gd name="T56" fmla="*/ 9 w 140"/>
                  <a:gd name="T57" fmla="*/ 35 h 140"/>
                  <a:gd name="T58" fmla="*/ 17 w 140"/>
                  <a:gd name="T59" fmla="*/ 24 h 140"/>
                  <a:gd name="T60" fmla="*/ 29 w 140"/>
                  <a:gd name="T61" fmla="*/ 14 h 140"/>
                  <a:gd name="T62" fmla="*/ 40 w 140"/>
                  <a:gd name="T63" fmla="*/ 6 h 140"/>
                  <a:gd name="T64" fmla="*/ 53 w 140"/>
                  <a:gd name="T65" fmla="*/ 1 h 140"/>
                  <a:gd name="T66" fmla="*/ 65 w 140"/>
                  <a:gd name="T67" fmla="*/ 0 h 140"/>
                  <a:gd name="T68" fmla="*/ 80 w 140"/>
                  <a:gd name="T69" fmla="*/ 0 h 140"/>
                  <a:gd name="T70" fmla="*/ 92 w 140"/>
                  <a:gd name="T71" fmla="*/ 3 h 140"/>
                  <a:gd name="T72" fmla="*/ 105 w 140"/>
                  <a:gd name="T73" fmla="*/ 9 h 140"/>
                  <a:gd name="T74" fmla="*/ 105 w 140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0">
                    <a:moveTo>
                      <a:pt x="105" y="9"/>
                    </a:moveTo>
                    <a:lnTo>
                      <a:pt x="105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40"/>
                    </a:lnTo>
                    <a:lnTo>
                      <a:pt x="139" y="53"/>
                    </a:lnTo>
                    <a:lnTo>
                      <a:pt x="140" y="65"/>
                    </a:lnTo>
                    <a:lnTo>
                      <a:pt x="140" y="80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3" y="116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8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3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5"/>
              <p:cNvSpPr>
                <a:spLocks/>
              </p:cNvSpPr>
              <p:nvPr/>
            </p:nvSpPr>
            <p:spPr bwMode="auto">
              <a:xfrm>
                <a:off x="2834" y="2391"/>
                <a:ext cx="70" cy="70"/>
              </a:xfrm>
              <a:custGeom>
                <a:avLst/>
                <a:gdLst>
                  <a:gd name="T0" fmla="*/ 105 w 140"/>
                  <a:gd name="T1" fmla="*/ 10 h 141"/>
                  <a:gd name="T2" fmla="*/ 105 w 140"/>
                  <a:gd name="T3" fmla="*/ 10 h 141"/>
                  <a:gd name="T4" fmla="*/ 118 w 140"/>
                  <a:gd name="T5" fmla="*/ 18 h 141"/>
                  <a:gd name="T6" fmla="*/ 126 w 140"/>
                  <a:gd name="T7" fmla="*/ 27 h 141"/>
                  <a:gd name="T8" fmla="*/ 134 w 140"/>
                  <a:gd name="T9" fmla="*/ 40 h 141"/>
                  <a:gd name="T10" fmla="*/ 138 w 140"/>
                  <a:gd name="T11" fmla="*/ 51 h 141"/>
                  <a:gd name="T12" fmla="*/ 140 w 140"/>
                  <a:gd name="T13" fmla="*/ 66 h 141"/>
                  <a:gd name="T14" fmla="*/ 140 w 140"/>
                  <a:gd name="T15" fmla="*/ 78 h 141"/>
                  <a:gd name="T16" fmla="*/ 137 w 140"/>
                  <a:gd name="T17" fmla="*/ 93 h 141"/>
                  <a:gd name="T18" fmla="*/ 130 w 140"/>
                  <a:gd name="T19" fmla="*/ 105 h 141"/>
                  <a:gd name="T20" fmla="*/ 130 w 140"/>
                  <a:gd name="T21" fmla="*/ 105 h 141"/>
                  <a:gd name="T22" fmla="*/ 122 w 140"/>
                  <a:gd name="T23" fmla="*/ 117 h 141"/>
                  <a:gd name="T24" fmla="*/ 113 w 140"/>
                  <a:gd name="T25" fmla="*/ 126 h 141"/>
                  <a:gd name="T26" fmla="*/ 102 w 140"/>
                  <a:gd name="T27" fmla="*/ 134 h 141"/>
                  <a:gd name="T28" fmla="*/ 89 w 140"/>
                  <a:gd name="T29" fmla="*/ 139 h 141"/>
                  <a:gd name="T30" fmla="*/ 75 w 140"/>
                  <a:gd name="T31" fmla="*/ 141 h 141"/>
                  <a:gd name="T32" fmla="*/ 62 w 140"/>
                  <a:gd name="T33" fmla="*/ 141 h 141"/>
                  <a:gd name="T34" fmla="*/ 48 w 140"/>
                  <a:gd name="T35" fmla="*/ 137 h 141"/>
                  <a:gd name="T36" fmla="*/ 35 w 140"/>
                  <a:gd name="T37" fmla="*/ 131 h 141"/>
                  <a:gd name="T38" fmla="*/ 35 w 140"/>
                  <a:gd name="T39" fmla="*/ 131 h 141"/>
                  <a:gd name="T40" fmla="*/ 24 w 140"/>
                  <a:gd name="T41" fmla="*/ 123 h 141"/>
                  <a:gd name="T42" fmla="*/ 14 w 140"/>
                  <a:gd name="T43" fmla="*/ 113 h 141"/>
                  <a:gd name="T44" fmla="*/ 6 w 140"/>
                  <a:gd name="T45" fmla="*/ 101 h 141"/>
                  <a:gd name="T46" fmla="*/ 1 w 140"/>
                  <a:gd name="T47" fmla="*/ 88 h 141"/>
                  <a:gd name="T48" fmla="*/ 0 w 140"/>
                  <a:gd name="T49" fmla="*/ 75 h 141"/>
                  <a:gd name="T50" fmla="*/ 0 w 140"/>
                  <a:gd name="T51" fmla="*/ 61 h 141"/>
                  <a:gd name="T52" fmla="*/ 3 w 140"/>
                  <a:gd name="T53" fmla="*/ 48 h 141"/>
                  <a:gd name="T54" fmla="*/ 9 w 140"/>
                  <a:gd name="T55" fmla="*/ 35 h 141"/>
                  <a:gd name="T56" fmla="*/ 9 w 140"/>
                  <a:gd name="T57" fmla="*/ 35 h 141"/>
                  <a:gd name="T58" fmla="*/ 17 w 140"/>
                  <a:gd name="T59" fmla="*/ 24 h 141"/>
                  <a:gd name="T60" fmla="*/ 27 w 140"/>
                  <a:gd name="T61" fmla="*/ 15 h 141"/>
                  <a:gd name="T62" fmla="*/ 40 w 140"/>
                  <a:gd name="T63" fmla="*/ 7 h 141"/>
                  <a:gd name="T64" fmla="*/ 52 w 140"/>
                  <a:gd name="T65" fmla="*/ 2 h 141"/>
                  <a:gd name="T66" fmla="*/ 65 w 140"/>
                  <a:gd name="T67" fmla="*/ 0 h 141"/>
                  <a:gd name="T68" fmla="*/ 79 w 140"/>
                  <a:gd name="T69" fmla="*/ 0 h 141"/>
                  <a:gd name="T70" fmla="*/ 92 w 140"/>
                  <a:gd name="T71" fmla="*/ 3 h 141"/>
                  <a:gd name="T72" fmla="*/ 105 w 140"/>
                  <a:gd name="T73" fmla="*/ 10 h 141"/>
                  <a:gd name="T74" fmla="*/ 105 w 140"/>
                  <a:gd name="T75" fmla="*/ 1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1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6" y="27"/>
                    </a:lnTo>
                    <a:lnTo>
                      <a:pt x="134" y="40"/>
                    </a:lnTo>
                    <a:lnTo>
                      <a:pt x="138" y="51"/>
                    </a:lnTo>
                    <a:lnTo>
                      <a:pt x="140" y="66"/>
                    </a:lnTo>
                    <a:lnTo>
                      <a:pt x="140" y="78"/>
                    </a:lnTo>
                    <a:lnTo>
                      <a:pt x="137" y="93"/>
                    </a:lnTo>
                    <a:lnTo>
                      <a:pt x="130" y="105"/>
                    </a:lnTo>
                    <a:lnTo>
                      <a:pt x="130" y="105"/>
                    </a:lnTo>
                    <a:lnTo>
                      <a:pt x="122" y="117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1"/>
                    </a:lnTo>
                    <a:lnTo>
                      <a:pt x="62" y="141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1"/>
                    </a:lnTo>
                    <a:lnTo>
                      <a:pt x="1" y="88"/>
                    </a:lnTo>
                    <a:lnTo>
                      <a:pt x="0" y="75"/>
                    </a:lnTo>
                    <a:lnTo>
                      <a:pt x="0" y="61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7" y="15"/>
                    </a:lnTo>
                    <a:lnTo>
                      <a:pt x="40" y="7"/>
                    </a:lnTo>
                    <a:lnTo>
                      <a:pt x="52" y="2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16"/>
              <p:cNvSpPr>
                <a:spLocks/>
              </p:cNvSpPr>
              <p:nvPr/>
            </p:nvSpPr>
            <p:spPr bwMode="auto">
              <a:xfrm>
                <a:off x="2674" y="2282"/>
                <a:ext cx="70" cy="71"/>
              </a:xfrm>
              <a:custGeom>
                <a:avLst/>
                <a:gdLst>
                  <a:gd name="T0" fmla="*/ 105 w 141"/>
                  <a:gd name="T1" fmla="*/ 9 h 142"/>
                  <a:gd name="T2" fmla="*/ 105 w 141"/>
                  <a:gd name="T3" fmla="*/ 9 h 142"/>
                  <a:gd name="T4" fmla="*/ 117 w 141"/>
                  <a:gd name="T5" fmla="*/ 17 h 142"/>
                  <a:gd name="T6" fmla="*/ 126 w 141"/>
                  <a:gd name="T7" fmla="*/ 28 h 142"/>
                  <a:gd name="T8" fmla="*/ 134 w 141"/>
                  <a:gd name="T9" fmla="*/ 40 h 142"/>
                  <a:gd name="T10" fmla="*/ 139 w 141"/>
                  <a:gd name="T11" fmla="*/ 52 h 142"/>
                  <a:gd name="T12" fmla="*/ 141 w 141"/>
                  <a:gd name="T13" fmla="*/ 65 h 142"/>
                  <a:gd name="T14" fmla="*/ 141 w 141"/>
                  <a:gd name="T15" fmla="*/ 80 h 142"/>
                  <a:gd name="T16" fmla="*/ 137 w 141"/>
                  <a:gd name="T17" fmla="*/ 92 h 142"/>
                  <a:gd name="T18" fmla="*/ 131 w 141"/>
                  <a:gd name="T19" fmla="*/ 107 h 142"/>
                  <a:gd name="T20" fmla="*/ 131 w 141"/>
                  <a:gd name="T21" fmla="*/ 107 h 142"/>
                  <a:gd name="T22" fmla="*/ 123 w 141"/>
                  <a:gd name="T23" fmla="*/ 118 h 142"/>
                  <a:gd name="T24" fmla="*/ 113 w 141"/>
                  <a:gd name="T25" fmla="*/ 127 h 142"/>
                  <a:gd name="T26" fmla="*/ 101 w 141"/>
                  <a:gd name="T27" fmla="*/ 134 h 142"/>
                  <a:gd name="T28" fmla="*/ 88 w 141"/>
                  <a:gd name="T29" fmla="*/ 139 h 142"/>
                  <a:gd name="T30" fmla="*/ 75 w 141"/>
                  <a:gd name="T31" fmla="*/ 142 h 142"/>
                  <a:gd name="T32" fmla="*/ 62 w 141"/>
                  <a:gd name="T33" fmla="*/ 140 h 142"/>
                  <a:gd name="T34" fmla="*/ 48 w 141"/>
                  <a:gd name="T35" fmla="*/ 139 h 142"/>
                  <a:gd name="T36" fmla="*/ 35 w 141"/>
                  <a:gd name="T37" fmla="*/ 132 h 142"/>
                  <a:gd name="T38" fmla="*/ 35 w 141"/>
                  <a:gd name="T39" fmla="*/ 132 h 142"/>
                  <a:gd name="T40" fmla="*/ 24 w 141"/>
                  <a:gd name="T41" fmla="*/ 124 h 142"/>
                  <a:gd name="T42" fmla="*/ 15 w 141"/>
                  <a:gd name="T43" fmla="*/ 113 h 142"/>
                  <a:gd name="T44" fmla="*/ 7 w 141"/>
                  <a:gd name="T45" fmla="*/ 102 h 142"/>
                  <a:gd name="T46" fmla="*/ 2 w 141"/>
                  <a:gd name="T47" fmla="*/ 89 h 142"/>
                  <a:gd name="T48" fmla="*/ 0 w 141"/>
                  <a:gd name="T49" fmla="*/ 76 h 142"/>
                  <a:gd name="T50" fmla="*/ 0 w 141"/>
                  <a:gd name="T51" fmla="*/ 62 h 142"/>
                  <a:gd name="T52" fmla="*/ 3 w 141"/>
                  <a:gd name="T53" fmla="*/ 49 h 142"/>
                  <a:gd name="T54" fmla="*/ 10 w 141"/>
                  <a:gd name="T55" fmla="*/ 35 h 142"/>
                  <a:gd name="T56" fmla="*/ 10 w 141"/>
                  <a:gd name="T57" fmla="*/ 35 h 142"/>
                  <a:gd name="T58" fmla="*/ 18 w 141"/>
                  <a:gd name="T59" fmla="*/ 24 h 142"/>
                  <a:gd name="T60" fmla="*/ 27 w 141"/>
                  <a:gd name="T61" fmla="*/ 14 h 142"/>
                  <a:gd name="T62" fmla="*/ 40 w 141"/>
                  <a:gd name="T63" fmla="*/ 8 h 142"/>
                  <a:gd name="T64" fmla="*/ 53 w 141"/>
                  <a:gd name="T65" fmla="*/ 3 h 142"/>
                  <a:gd name="T66" fmla="*/ 66 w 141"/>
                  <a:gd name="T67" fmla="*/ 0 h 142"/>
                  <a:gd name="T68" fmla="*/ 78 w 141"/>
                  <a:gd name="T69" fmla="*/ 1 h 142"/>
                  <a:gd name="T70" fmla="*/ 93 w 141"/>
                  <a:gd name="T71" fmla="*/ 5 h 142"/>
                  <a:gd name="T72" fmla="*/ 105 w 141"/>
                  <a:gd name="T73" fmla="*/ 9 h 142"/>
                  <a:gd name="T74" fmla="*/ 105 w 141"/>
                  <a:gd name="T7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1" h="142">
                    <a:moveTo>
                      <a:pt x="105" y="9"/>
                    </a:moveTo>
                    <a:lnTo>
                      <a:pt x="105" y="9"/>
                    </a:lnTo>
                    <a:lnTo>
                      <a:pt x="117" y="17"/>
                    </a:lnTo>
                    <a:lnTo>
                      <a:pt x="126" y="28"/>
                    </a:lnTo>
                    <a:lnTo>
                      <a:pt x="134" y="40"/>
                    </a:lnTo>
                    <a:lnTo>
                      <a:pt x="139" y="52"/>
                    </a:lnTo>
                    <a:lnTo>
                      <a:pt x="141" y="65"/>
                    </a:lnTo>
                    <a:lnTo>
                      <a:pt x="141" y="80"/>
                    </a:lnTo>
                    <a:lnTo>
                      <a:pt x="137" y="92"/>
                    </a:lnTo>
                    <a:lnTo>
                      <a:pt x="131" y="107"/>
                    </a:lnTo>
                    <a:lnTo>
                      <a:pt x="131" y="107"/>
                    </a:lnTo>
                    <a:lnTo>
                      <a:pt x="123" y="118"/>
                    </a:lnTo>
                    <a:lnTo>
                      <a:pt x="113" y="127"/>
                    </a:lnTo>
                    <a:lnTo>
                      <a:pt x="101" y="134"/>
                    </a:lnTo>
                    <a:lnTo>
                      <a:pt x="88" y="139"/>
                    </a:lnTo>
                    <a:lnTo>
                      <a:pt x="75" y="142"/>
                    </a:lnTo>
                    <a:lnTo>
                      <a:pt x="62" y="140"/>
                    </a:lnTo>
                    <a:lnTo>
                      <a:pt x="48" y="139"/>
                    </a:lnTo>
                    <a:lnTo>
                      <a:pt x="35" y="132"/>
                    </a:lnTo>
                    <a:lnTo>
                      <a:pt x="35" y="132"/>
                    </a:lnTo>
                    <a:lnTo>
                      <a:pt x="24" y="124"/>
                    </a:lnTo>
                    <a:lnTo>
                      <a:pt x="15" y="113"/>
                    </a:lnTo>
                    <a:lnTo>
                      <a:pt x="7" y="102"/>
                    </a:lnTo>
                    <a:lnTo>
                      <a:pt x="2" y="89"/>
                    </a:lnTo>
                    <a:lnTo>
                      <a:pt x="0" y="76"/>
                    </a:lnTo>
                    <a:lnTo>
                      <a:pt x="0" y="62"/>
                    </a:lnTo>
                    <a:lnTo>
                      <a:pt x="3" y="49"/>
                    </a:lnTo>
                    <a:lnTo>
                      <a:pt x="10" y="35"/>
                    </a:lnTo>
                    <a:lnTo>
                      <a:pt x="10" y="35"/>
                    </a:lnTo>
                    <a:lnTo>
                      <a:pt x="18" y="24"/>
                    </a:lnTo>
                    <a:lnTo>
                      <a:pt x="27" y="14"/>
                    </a:lnTo>
                    <a:lnTo>
                      <a:pt x="40" y="8"/>
                    </a:lnTo>
                    <a:lnTo>
                      <a:pt x="53" y="3"/>
                    </a:lnTo>
                    <a:lnTo>
                      <a:pt x="66" y="0"/>
                    </a:lnTo>
                    <a:lnTo>
                      <a:pt x="78" y="1"/>
                    </a:lnTo>
                    <a:lnTo>
                      <a:pt x="93" y="5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7"/>
              <p:cNvSpPr>
                <a:spLocks/>
              </p:cNvSpPr>
              <p:nvPr/>
            </p:nvSpPr>
            <p:spPr bwMode="auto">
              <a:xfrm>
                <a:off x="2869" y="1968"/>
                <a:ext cx="71" cy="70"/>
              </a:xfrm>
              <a:custGeom>
                <a:avLst/>
                <a:gdLst>
                  <a:gd name="T0" fmla="*/ 107 w 142"/>
                  <a:gd name="T1" fmla="*/ 9 h 140"/>
                  <a:gd name="T2" fmla="*/ 107 w 142"/>
                  <a:gd name="T3" fmla="*/ 9 h 140"/>
                  <a:gd name="T4" fmla="*/ 118 w 142"/>
                  <a:gd name="T5" fmla="*/ 17 h 140"/>
                  <a:gd name="T6" fmla="*/ 127 w 142"/>
                  <a:gd name="T7" fmla="*/ 27 h 140"/>
                  <a:gd name="T8" fmla="*/ 134 w 142"/>
                  <a:gd name="T9" fmla="*/ 38 h 140"/>
                  <a:gd name="T10" fmla="*/ 139 w 142"/>
                  <a:gd name="T11" fmla="*/ 51 h 140"/>
                  <a:gd name="T12" fmla="*/ 142 w 142"/>
                  <a:gd name="T13" fmla="*/ 65 h 140"/>
                  <a:gd name="T14" fmla="*/ 140 w 142"/>
                  <a:gd name="T15" fmla="*/ 78 h 140"/>
                  <a:gd name="T16" fmla="*/ 137 w 142"/>
                  <a:gd name="T17" fmla="*/ 92 h 140"/>
                  <a:gd name="T18" fmla="*/ 132 w 142"/>
                  <a:gd name="T19" fmla="*/ 105 h 140"/>
                  <a:gd name="T20" fmla="*/ 132 w 142"/>
                  <a:gd name="T21" fmla="*/ 105 h 140"/>
                  <a:gd name="T22" fmla="*/ 124 w 142"/>
                  <a:gd name="T23" fmla="*/ 116 h 140"/>
                  <a:gd name="T24" fmla="*/ 113 w 142"/>
                  <a:gd name="T25" fmla="*/ 126 h 140"/>
                  <a:gd name="T26" fmla="*/ 102 w 142"/>
                  <a:gd name="T27" fmla="*/ 133 h 140"/>
                  <a:gd name="T28" fmla="*/ 89 w 142"/>
                  <a:gd name="T29" fmla="*/ 138 h 140"/>
                  <a:gd name="T30" fmla="*/ 76 w 142"/>
                  <a:gd name="T31" fmla="*/ 140 h 140"/>
                  <a:gd name="T32" fmla="*/ 62 w 142"/>
                  <a:gd name="T33" fmla="*/ 140 h 140"/>
                  <a:gd name="T34" fmla="*/ 48 w 142"/>
                  <a:gd name="T35" fmla="*/ 137 h 140"/>
                  <a:gd name="T36" fmla="*/ 35 w 142"/>
                  <a:gd name="T37" fmla="*/ 130 h 140"/>
                  <a:gd name="T38" fmla="*/ 35 w 142"/>
                  <a:gd name="T39" fmla="*/ 130 h 140"/>
                  <a:gd name="T40" fmla="*/ 24 w 142"/>
                  <a:gd name="T41" fmla="*/ 122 h 140"/>
                  <a:gd name="T42" fmla="*/ 14 w 142"/>
                  <a:gd name="T43" fmla="*/ 113 h 140"/>
                  <a:gd name="T44" fmla="*/ 8 w 142"/>
                  <a:gd name="T45" fmla="*/ 100 h 140"/>
                  <a:gd name="T46" fmla="*/ 3 w 142"/>
                  <a:gd name="T47" fmla="*/ 87 h 140"/>
                  <a:gd name="T48" fmla="*/ 0 w 142"/>
                  <a:gd name="T49" fmla="*/ 74 h 140"/>
                  <a:gd name="T50" fmla="*/ 0 w 142"/>
                  <a:gd name="T51" fmla="*/ 60 h 140"/>
                  <a:gd name="T52" fmla="*/ 3 w 142"/>
                  <a:gd name="T53" fmla="*/ 47 h 140"/>
                  <a:gd name="T54" fmla="*/ 9 w 142"/>
                  <a:gd name="T55" fmla="*/ 35 h 140"/>
                  <a:gd name="T56" fmla="*/ 9 w 142"/>
                  <a:gd name="T57" fmla="*/ 35 h 140"/>
                  <a:gd name="T58" fmla="*/ 17 w 142"/>
                  <a:gd name="T59" fmla="*/ 22 h 140"/>
                  <a:gd name="T60" fmla="*/ 29 w 142"/>
                  <a:gd name="T61" fmla="*/ 14 h 140"/>
                  <a:gd name="T62" fmla="*/ 40 w 142"/>
                  <a:gd name="T63" fmla="*/ 6 h 140"/>
                  <a:gd name="T64" fmla="*/ 52 w 142"/>
                  <a:gd name="T65" fmla="*/ 1 h 140"/>
                  <a:gd name="T66" fmla="*/ 65 w 142"/>
                  <a:gd name="T67" fmla="*/ 0 h 140"/>
                  <a:gd name="T68" fmla="*/ 80 w 142"/>
                  <a:gd name="T69" fmla="*/ 0 h 140"/>
                  <a:gd name="T70" fmla="*/ 92 w 142"/>
                  <a:gd name="T71" fmla="*/ 3 h 140"/>
                  <a:gd name="T72" fmla="*/ 107 w 142"/>
                  <a:gd name="T73" fmla="*/ 9 h 140"/>
                  <a:gd name="T74" fmla="*/ 107 w 142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2" h="140">
                    <a:moveTo>
                      <a:pt x="107" y="9"/>
                    </a:moveTo>
                    <a:lnTo>
                      <a:pt x="107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38"/>
                    </a:lnTo>
                    <a:lnTo>
                      <a:pt x="139" y="51"/>
                    </a:lnTo>
                    <a:lnTo>
                      <a:pt x="142" y="65"/>
                    </a:lnTo>
                    <a:lnTo>
                      <a:pt x="140" y="78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4" y="116"/>
                    </a:lnTo>
                    <a:lnTo>
                      <a:pt x="113" y="126"/>
                    </a:lnTo>
                    <a:lnTo>
                      <a:pt x="102" y="133"/>
                    </a:lnTo>
                    <a:lnTo>
                      <a:pt x="89" y="138"/>
                    </a:lnTo>
                    <a:lnTo>
                      <a:pt x="76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0"/>
                    </a:lnTo>
                    <a:lnTo>
                      <a:pt x="35" y="130"/>
                    </a:lnTo>
                    <a:lnTo>
                      <a:pt x="24" y="122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7"/>
                    </a:lnTo>
                    <a:lnTo>
                      <a:pt x="0" y="74"/>
                    </a:lnTo>
                    <a:lnTo>
                      <a:pt x="0" y="60"/>
                    </a:lnTo>
                    <a:lnTo>
                      <a:pt x="3" y="47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2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2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7" y="9"/>
                    </a:lnTo>
                    <a:lnTo>
                      <a:pt x="10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8"/>
              <p:cNvSpPr>
                <a:spLocks/>
              </p:cNvSpPr>
              <p:nvPr/>
            </p:nvSpPr>
            <p:spPr bwMode="auto">
              <a:xfrm>
                <a:off x="3015" y="2045"/>
                <a:ext cx="70" cy="71"/>
              </a:xfrm>
              <a:custGeom>
                <a:avLst/>
                <a:gdLst>
                  <a:gd name="T0" fmla="*/ 105 w 140"/>
                  <a:gd name="T1" fmla="*/ 10 h 142"/>
                  <a:gd name="T2" fmla="*/ 105 w 140"/>
                  <a:gd name="T3" fmla="*/ 10 h 142"/>
                  <a:gd name="T4" fmla="*/ 118 w 140"/>
                  <a:gd name="T5" fmla="*/ 18 h 142"/>
                  <a:gd name="T6" fmla="*/ 127 w 140"/>
                  <a:gd name="T7" fmla="*/ 29 h 142"/>
                  <a:gd name="T8" fmla="*/ 134 w 140"/>
                  <a:gd name="T9" fmla="*/ 40 h 142"/>
                  <a:gd name="T10" fmla="*/ 138 w 140"/>
                  <a:gd name="T11" fmla="*/ 53 h 142"/>
                  <a:gd name="T12" fmla="*/ 140 w 140"/>
                  <a:gd name="T13" fmla="*/ 66 h 142"/>
                  <a:gd name="T14" fmla="*/ 140 w 140"/>
                  <a:gd name="T15" fmla="*/ 80 h 142"/>
                  <a:gd name="T16" fmla="*/ 137 w 140"/>
                  <a:gd name="T17" fmla="*/ 93 h 142"/>
                  <a:gd name="T18" fmla="*/ 132 w 140"/>
                  <a:gd name="T19" fmla="*/ 107 h 142"/>
                  <a:gd name="T20" fmla="*/ 132 w 140"/>
                  <a:gd name="T21" fmla="*/ 107 h 142"/>
                  <a:gd name="T22" fmla="*/ 122 w 140"/>
                  <a:gd name="T23" fmla="*/ 118 h 142"/>
                  <a:gd name="T24" fmla="*/ 113 w 140"/>
                  <a:gd name="T25" fmla="*/ 128 h 142"/>
                  <a:gd name="T26" fmla="*/ 102 w 140"/>
                  <a:gd name="T27" fmla="*/ 134 h 142"/>
                  <a:gd name="T28" fmla="*/ 89 w 140"/>
                  <a:gd name="T29" fmla="*/ 139 h 142"/>
                  <a:gd name="T30" fmla="*/ 75 w 140"/>
                  <a:gd name="T31" fmla="*/ 142 h 142"/>
                  <a:gd name="T32" fmla="*/ 62 w 140"/>
                  <a:gd name="T33" fmla="*/ 141 h 142"/>
                  <a:gd name="T34" fmla="*/ 47 w 140"/>
                  <a:gd name="T35" fmla="*/ 137 h 142"/>
                  <a:gd name="T36" fmla="*/ 35 w 140"/>
                  <a:gd name="T37" fmla="*/ 133 h 142"/>
                  <a:gd name="T38" fmla="*/ 35 w 140"/>
                  <a:gd name="T39" fmla="*/ 133 h 142"/>
                  <a:gd name="T40" fmla="*/ 24 w 140"/>
                  <a:gd name="T41" fmla="*/ 123 h 142"/>
                  <a:gd name="T42" fmla="*/ 14 w 140"/>
                  <a:gd name="T43" fmla="*/ 113 h 142"/>
                  <a:gd name="T44" fmla="*/ 6 w 140"/>
                  <a:gd name="T45" fmla="*/ 102 h 142"/>
                  <a:gd name="T46" fmla="*/ 1 w 140"/>
                  <a:gd name="T47" fmla="*/ 90 h 142"/>
                  <a:gd name="T48" fmla="*/ 0 w 140"/>
                  <a:gd name="T49" fmla="*/ 75 h 142"/>
                  <a:gd name="T50" fmla="*/ 0 w 140"/>
                  <a:gd name="T51" fmla="*/ 62 h 142"/>
                  <a:gd name="T52" fmla="*/ 3 w 140"/>
                  <a:gd name="T53" fmla="*/ 48 h 142"/>
                  <a:gd name="T54" fmla="*/ 9 w 140"/>
                  <a:gd name="T55" fmla="*/ 35 h 142"/>
                  <a:gd name="T56" fmla="*/ 9 w 140"/>
                  <a:gd name="T57" fmla="*/ 35 h 142"/>
                  <a:gd name="T58" fmla="*/ 17 w 140"/>
                  <a:gd name="T59" fmla="*/ 24 h 142"/>
                  <a:gd name="T60" fmla="*/ 28 w 140"/>
                  <a:gd name="T61" fmla="*/ 15 h 142"/>
                  <a:gd name="T62" fmla="*/ 40 w 140"/>
                  <a:gd name="T63" fmla="*/ 8 h 142"/>
                  <a:gd name="T64" fmla="*/ 52 w 140"/>
                  <a:gd name="T65" fmla="*/ 3 h 142"/>
                  <a:gd name="T66" fmla="*/ 65 w 140"/>
                  <a:gd name="T67" fmla="*/ 0 h 142"/>
                  <a:gd name="T68" fmla="*/ 79 w 140"/>
                  <a:gd name="T69" fmla="*/ 0 h 142"/>
                  <a:gd name="T70" fmla="*/ 92 w 140"/>
                  <a:gd name="T71" fmla="*/ 3 h 142"/>
                  <a:gd name="T72" fmla="*/ 105 w 140"/>
                  <a:gd name="T73" fmla="*/ 10 h 142"/>
                  <a:gd name="T74" fmla="*/ 105 w 140"/>
                  <a:gd name="T75" fmla="*/ 1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2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7" y="29"/>
                    </a:lnTo>
                    <a:lnTo>
                      <a:pt x="134" y="40"/>
                    </a:lnTo>
                    <a:lnTo>
                      <a:pt x="138" y="53"/>
                    </a:lnTo>
                    <a:lnTo>
                      <a:pt x="140" y="66"/>
                    </a:lnTo>
                    <a:lnTo>
                      <a:pt x="140" y="80"/>
                    </a:lnTo>
                    <a:lnTo>
                      <a:pt x="137" y="93"/>
                    </a:lnTo>
                    <a:lnTo>
                      <a:pt x="132" y="107"/>
                    </a:lnTo>
                    <a:lnTo>
                      <a:pt x="132" y="107"/>
                    </a:lnTo>
                    <a:lnTo>
                      <a:pt x="122" y="118"/>
                    </a:lnTo>
                    <a:lnTo>
                      <a:pt x="113" y="128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2"/>
                    </a:lnTo>
                    <a:lnTo>
                      <a:pt x="62" y="141"/>
                    </a:lnTo>
                    <a:lnTo>
                      <a:pt x="47" y="137"/>
                    </a:lnTo>
                    <a:lnTo>
                      <a:pt x="35" y="133"/>
                    </a:lnTo>
                    <a:lnTo>
                      <a:pt x="35" y="133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2"/>
                    </a:lnTo>
                    <a:lnTo>
                      <a:pt x="1" y="90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8" y="15"/>
                    </a:lnTo>
                    <a:lnTo>
                      <a:pt x="40" y="8"/>
                    </a:lnTo>
                    <a:lnTo>
                      <a:pt x="52" y="3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9"/>
              <p:cNvSpPr>
                <a:spLocks/>
              </p:cNvSpPr>
              <p:nvPr/>
            </p:nvSpPr>
            <p:spPr bwMode="auto">
              <a:xfrm>
                <a:off x="2708" y="2153"/>
                <a:ext cx="120" cy="162"/>
              </a:xfrm>
              <a:custGeom>
                <a:avLst/>
                <a:gdLst>
                  <a:gd name="T0" fmla="*/ 225 w 241"/>
                  <a:gd name="T1" fmla="*/ 74 h 326"/>
                  <a:gd name="T2" fmla="*/ 225 w 241"/>
                  <a:gd name="T3" fmla="*/ 74 h 326"/>
                  <a:gd name="T4" fmla="*/ 233 w 241"/>
                  <a:gd name="T5" fmla="*/ 37 h 326"/>
                  <a:gd name="T6" fmla="*/ 241 w 241"/>
                  <a:gd name="T7" fmla="*/ 0 h 326"/>
                  <a:gd name="T8" fmla="*/ 241 w 241"/>
                  <a:gd name="T9" fmla="*/ 0 h 326"/>
                  <a:gd name="T10" fmla="*/ 201 w 241"/>
                  <a:gd name="T11" fmla="*/ 32 h 326"/>
                  <a:gd name="T12" fmla="*/ 164 w 241"/>
                  <a:gd name="T13" fmla="*/ 66 h 326"/>
                  <a:gd name="T14" fmla="*/ 131 w 241"/>
                  <a:gd name="T15" fmla="*/ 101 h 326"/>
                  <a:gd name="T16" fmla="*/ 100 w 241"/>
                  <a:gd name="T17" fmla="*/ 138 h 326"/>
                  <a:gd name="T18" fmla="*/ 72 w 241"/>
                  <a:gd name="T19" fmla="*/ 174 h 326"/>
                  <a:gd name="T20" fmla="*/ 44 w 241"/>
                  <a:gd name="T21" fmla="*/ 213 h 326"/>
                  <a:gd name="T22" fmla="*/ 21 w 241"/>
                  <a:gd name="T23" fmla="*/ 251 h 326"/>
                  <a:gd name="T24" fmla="*/ 0 w 241"/>
                  <a:gd name="T25" fmla="*/ 287 h 326"/>
                  <a:gd name="T26" fmla="*/ 0 w 241"/>
                  <a:gd name="T27" fmla="*/ 287 h 326"/>
                  <a:gd name="T28" fmla="*/ 33 w 241"/>
                  <a:gd name="T29" fmla="*/ 326 h 326"/>
                  <a:gd name="T30" fmla="*/ 33 w 241"/>
                  <a:gd name="T31" fmla="*/ 326 h 326"/>
                  <a:gd name="T32" fmla="*/ 51 w 241"/>
                  <a:gd name="T33" fmla="*/ 294 h 326"/>
                  <a:gd name="T34" fmla="*/ 70 w 241"/>
                  <a:gd name="T35" fmla="*/ 260 h 326"/>
                  <a:gd name="T36" fmla="*/ 92 w 241"/>
                  <a:gd name="T37" fmla="*/ 228 h 326"/>
                  <a:gd name="T38" fmla="*/ 115 w 241"/>
                  <a:gd name="T39" fmla="*/ 197 h 326"/>
                  <a:gd name="T40" fmla="*/ 140 w 241"/>
                  <a:gd name="T41" fmla="*/ 165 h 326"/>
                  <a:gd name="T42" fmla="*/ 166 w 241"/>
                  <a:gd name="T43" fmla="*/ 133 h 326"/>
                  <a:gd name="T44" fmla="*/ 194 w 241"/>
                  <a:gd name="T45" fmla="*/ 103 h 326"/>
                  <a:gd name="T46" fmla="*/ 225 w 241"/>
                  <a:gd name="T47" fmla="*/ 74 h 326"/>
                  <a:gd name="T48" fmla="*/ 225 w 241"/>
                  <a:gd name="T49" fmla="*/ 7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1" h="326">
                    <a:moveTo>
                      <a:pt x="225" y="74"/>
                    </a:moveTo>
                    <a:lnTo>
                      <a:pt x="225" y="74"/>
                    </a:lnTo>
                    <a:lnTo>
                      <a:pt x="233" y="37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01" y="32"/>
                    </a:lnTo>
                    <a:lnTo>
                      <a:pt x="164" y="66"/>
                    </a:lnTo>
                    <a:lnTo>
                      <a:pt x="131" y="101"/>
                    </a:lnTo>
                    <a:lnTo>
                      <a:pt x="100" y="138"/>
                    </a:lnTo>
                    <a:lnTo>
                      <a:pt x="72" y="174"/>
                    </a:lnTo>
                    <a:lnTo>
                      <a:pt x="44" y="213"/>
                    </a:lnTo>
                    <a:lnTo>
                      <a:pt x="21" y="251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33" y="326"/>
                    </a:lnTo>
                    <a:lnTo>
                      <a:pt x="33" y="326"/>
                    </a:lnTo>
                    <a:lnTo>
                      <a:pt x="51" y="294"/>
                    </a:lnTo>
                    <a:lnTo>
                      <a:pt x="70" y="260"/>
                    </a:lnTo>
                    <a:lnTo>
                      <a:pt x="92" y="228"/>
                    </a:lnTo>
                    <a:lnTo>
                      <a:pt x="115" y="197"/>
                    </a:lnTo>
                    <a:lnTo>
                      <a:pt x="140" y="165"/>
                    </a:lnTo>
                    <a:lnTo>
                      <a:pt x="166" y="133"/>
                    </a:lnTo>
                    <a:lnTo>
                      <a:pt x="194" y="103"/>
                    </a:lnTo>
                    <a:lnTo>
                      <a:pt x="225" y="74"/>
                    </a:lnTo>
                    <a:lnTo>
                      <a:pt x="225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0"/>
              <p:cNvSpPr>
                <a:spLocks/>
              </p:cNvSpPr>
              <p:nvPr/>
            </p:nvSpPr>
            <p:spPr bwMode="auto">
              <a:xfrm>
                <a:off x="2849" y="2072"/>
                <a:ext cx="195" cy="94"/>
              </a:xfrm>
              <a:custGeom>
                <a:avLst/>
                <a:gdLst>
                  <a:gd name="T0" fmla="*/ 19 w 391"/>
                  <a:gd name="T1" fmla="*/ 120 h 189"/>
                  <a:gd name="T2" fmla="*/ 19 w 391"/>
                  <a:gd name="T3" fmla="*/ 120 h 189"/>
                  <a:gd name="T4" fmla="*/ 10 w 391"/>
                  <a:gd name="T5" fmla="*/ 154 h 189"/>
                  <a:gd name="T6" fmla="*/ 0 w 391"/>
                  <a:gd name="T7" fmla="*/ 189 h 189"/>
                  <a:gd name="T8" fmla="*/ 0 w 391"/>
                  <a:gd name="T9" fmla="*/ 189 h 189"/>
                  <a:gd name="T10" fmla="*/ 24 w 391"/>
                  <a:gd name="T11" fmla="*/ 173 h 189"/>
                  <a:gd name="T12" fmla="*/ 48 w 391"/>
                  <a:gd name="T13" fmla="*/ 158 h 189"/>
                  <a:gd name="T14" fmla="*/ 72 w 391"/>
                  <a:gd name="T15" fmla="*/ 144 h 189"/>
                  <a:gd name="T16" fmla="*/ 96 w 391"/>
                  <a:gd name="T17" fmla="*/ 131 h 189"/>
                  <a:gd name="T18" fmla="*/ 145 w 391"/>
                  <a:gd name="T19" fmla="*/ 107 h 189"/>
                  <a:gd name="T20" fmla="*/ 196 w 391"/>
                  <a:gd name="T21" fmla="*/ 88 h 189"/>
                  <a:gd name="T22" fmla="*/ 246 w 391"/>
                  <a:gd name="T23" fmla="*/ 72 h 189"/>
                  <a:gd name="T24" fmla="*/ 295 w 391"/>
                  <a:gd name="T25" fmla="*/ 58 h 189"/>
                  <a:gd name="T26" fmla="*/ 344 w 391"/>
                  <a:gd name="T27" fmla="*/ 48 h 189"/>
                  <a:gd name="T28" fmla="*/ 391 w 391"/>
                  <a:gd name="T29" fmla="*/ 40 h 189"/>
                  <a:gd name="T30" fmla="*/ 391 w 391"/>
                  <a:gd name="T31" fmla="*/ 40 h 189"/>
                  <a:gd name="T32" fmla="*/ 365 w 391"/>
                  <a:gd name="T33" fmla="*/ 20 h 189"/>
                  <a:gd name="T34" fmla="*/ 340 w 391"/>
                  <a:gd name="T35" fmla="*/ 0 h 189"/>
                  <a:gd name="T36" fmla="*/ 340 w 391"/>
                  <a:gd name="T37" fmla="*/ 0 h 189"/>
                  <a:gd name="T38" fmla="*/ 301 w 391"/>
                  <a:gd name="T39" fmla="*/ 8 h 189"/>
                  <a:gd name="T40" fmla="*/ 262 w 391"/>
                  <a:gd name="T41" fmla="*/ 18 h 189"/>
                  <a:gd name="T42" fmla="*/ 220 w 391"/>
                  <a:gd name="T43" fmla="*/ 29 h 189"/>
                  <a:gd name="T44" fmla="*/ 180 w 391"/>
                  <a:gd name="T45" fmla="*/ 43 h 189"/>
                  <a:gd name="T46" fmla="*/ 139 w 391"/>
                  <a:gd name="T47" fmla="*/ 59 h 189"/>
                  <a:gd name="T48" fmla="*/ 99 w 391"/>
                  <a:gd name="T49" fmla="*/ 77 h 189"/>
                  <a:gd name="T50" fmla="*/ 59 w 391"/>
                  <a:gd name="T51" fmla="*/ 98 h 189"/>
                  <a:gd name="T52" fmla="*/ 19 w 391"/>
                  <a:gd name="T53" fmla="*/ 120 h 189"/>
                  <a:gd name="T54" fmla="*/ 19 w 391"/>
                  <a:gd name="T55" fmla="*/ 12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1" h="189">
                    <a:moveTo>
                      <a:pt x="19" y="120"/>
                    </a:moveTo>
                    <a:lnTo>
                      <a:pt x="19" y="120"/>
                    </a:lnTo>
                    <a:lnTo>
                      <a:pt x="10" y="154"/>
                    </a:lnTo>
                    <a:lnTo>
                      <a:pt x="0" y="189"/>
                    </a:lnTo>
                    <a:lnTo>
                      <a:pt x="0" y="189"/>
                    </a:lnTo>
                    <a:lnTo>
                      <a:pt x="24" y="173"/>
                    </a:lnTo>
                    <a:lnTo>
                      <a:pt x="48" y="158"/>
                    </a:lnTo>
                    <a:lnTo>
                      <a:pt x="72" y="144"/>
                    </a:lnTo>
                    <a:lnTo>
                      <a:pt x="96" y="131"/>
                    </a:lnTo>
                    <a:lnTo>
                      <a:pt x="145" y="107"/>
                    </a:lnTo>
                    <a:lnTo>
                      <a:pt x="196" y="88"/>
                    </a:lnTo>
                    <a:lnTo>
                      <a:pt x="246" y="72"/>
                    </a:lnTo>
                    <a:lnTo>
                      <a:pt x="295" y="58"/>
                    </a:lnTo>
                    <a:lnTo>
                      <a:pt x="344" y="48"/>
                    </a:lnTo>
                    <a:lnTo>
                      <a:pt x="391" y="40"/>
                    </a:lnTo>
                    <a:lnTo>
                      <a:pt x="391" y="40"/>
                    </a:lnTo>
                    <a:lnTo>
                      <a:pt x="365" y="20"/>
                    </a:lnTo>
                    <a:lnTo>
                      <a:pt x="340" y="0"/>
                    </a:lnTo>
                    <a:lnTo>
                      <a:pt x="340" y="0"/>
                    </a:lnTo>
                    <a:lnTo>
                      <a:pt x="301" y="8"/>
                    </a:lnTo>
                    <a:lnTo>
                      <a:pt x="262" y="18"/>
                    </a:lnTo>
                    <a:lnTo>
                      <a:pt x="220" y="29"/>
                    </a:lnTo>
                    <a:lnTo>
                      <a:pt x="180" y="43"/>
                    </a:lnTo>
                    <a:lnTo>
                      <a:pt x="139" y="59"/>
                    </a:lnTo>
                    <a:lnTo>
                      <a:pt x="99" y="77"/>
                    </a:lnTo>
                    <a:lnTo>
                      <a:pt x="59" y="98"/>
                    </a:lnTo>
                    <a:lnTo>
                      <a:pt x="19" y="120"/>
                    </a:lnTo>
                    <a:lnTo>
                      <a:pt x="19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"/>
              <p:cNvSpPr>
                <a:spLocks/>
              </p:cNvSpPr>
              <p:nvPr/>
            </p:nvSpPr>
            <p:spPr bwMode="auto">
              <a:xfrm>
                <a:off x="3051" y="2061"/>
                <a:ext cx="125" cy="27"/>
              </a:xfrm>
              <a:custGeom>
                <a:avLst/>
                <a:gdLst>
                  <a:gd name="T0" fmla="*/ 0 w 251"/>
                  <a:gd name="T1" fmla="*/ 11 h 54"/>
                  <a:gd name="T2" fmla="*/ 0 w 251"/>
                  <a:gd name="T3" fmla="*/ 11 h 54"/>
                  <a:gd name="T4" fmla="*/ 34 w 251"/>
                  <a:gd name="T5" fmla="*/ 40 h 54"/>
                  <a:gd name="T6" fmla="*/ 34 w 251"/>
                  <a:gd name="T7" fmla="*/ 40 h 54"/>
                  <a:gd name="T8" fmla="*/ 48 w 251"/>
                  <a:gd name="T9" fmla="*/ 54 h 54"/>
                  <a:gd name="T10" fmla="*/ 48 w 251"/>
                  <a:gd name="T11" fmla="*/ 54 h 54"/>
                  <a:gd name="T12" fmla="*/ 83 w 251"/>
                  <a:gd name="T13" fmla="*/ 51 h 54"/>
                  <a:gd name="T14" fmla="*/ 117 w 251"/>
                  <a:gd name="T15" fmla="*/ 50 h 54"/>
                  <a:gd name="T16" fmla="*/ 174 w 251"/>
                  <a:gd name="T17" fmla="*/ 48 h 54"/>
                  <a:gd name="T18" fmla="*/ 220 w 251"/>
                  <a:gd name="T19" fmla="*/ 48 h 54"/>
                  <a:gd name="T20" fmla="*/ 251 w 251"/>
                  <a:gd name="T21" fmla="*/ 51 h 54"/>
                  <a:gd name="T22" fmla="*/ 251 w 251"/>
                  <a:gd name="T23" fmla="*/ 51 h 54"/>
                  <a:gd name="T24" fmla="*/ 235 w 251"/>
                  <a:gd name="T25" fmla="*/ 26 h 54"/>
                  <a:gd name="T26" fmla="*/ 217 w 251"/>
                  <a:gd name="T27" fmla="*/ 2 h 54"/>
                  <a:gd name="T28" fmla="*/ 217 w 251"/>
                  <a:gd name="T29" fmla="*/ 2 h 54"/>
                  <a:gd name="T30" fmla="*/ 176 w 251"/>
                  <a:gd name="T31" fmla="*/ 0 h 54"/>
                  <a:gd name="T32" fmla="*/ 125 w 251"/>
                  <a:gd name="T33" fmla="*/ 2 h 54"/>
                  <a:gd name="T34" fmla="*/ 66 w 251"/>
                  <a:gd name="T35" fmla="*/ 5 h 54"/>
                  <a:gd name="T36" fmla="*/ 0 w 251"/>
                  <a:gd name="T37" fmla="*/ 11 h 54"/>
                  <a:gd name="T38" fmla="*/ 0 w 251"/>
                  <a:gd name="T39" fmla="*/ 1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1" h="54">
                    <a:moveTo>
                      <a:pt x="0" y="11"/>
                    </a:moveTo>
                    <a:lnTo>
                      <a:pt x="0" y="11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83" y="51"/>
                    </a:lnTo>
                    <a:lnTo>
                      <a:pt x="117" y="50"/>
                    </a:lnTo>
                    <a:lnTo>
                      <a:pt x="174" y="48"/>
                    </a:lnTo>
                    <a:lnTo>
                      <a:pt x="220" y="48"/>
                    </a:lnTo>
                    <a:lnTo>
                      <a:pt x="251" y="51"/>
                    </a:lnTo>
                    <a:lnTo>
                      <a:pt x="251" y="51"/>
                    </a:lnTo>
                    <a:lnTo>
                      <a:pt x="235" y="26"/>
                    </a:lnTo>
                    <a:lnTo>
                      <a:pt x="217" y="2"/>
                    </a:lnTo>
                    <a:lnTo>
                      <a:pt x="217" y="2"/>
                    </a:lnTo>
                    <a:lnTo>
                      <a:pt x="176" y="0"/>
                    </a:lnTo>
                    <a:lnTo>
                      <a:pt x="125" y="2"/>
                    </a:lnTo>
                    <a:lnTo>
                      <a:pt x="66" y="5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2"/>
              <p:cNvSpPr>
                <a:spLocks/>
              </p:cNvSpPr>
              <p:nvPr/>
            </p:nvSpPr>
            <p:spPr bwMode="auto">
              <a:xfrm>
                <a:off x="2653" y="2319"/>
                <a:ext cx="60" cy="138"/>
              </a:xfrm>
              <a:custGeom>
                <a:avLst/>
                <a:gdLst>
                  <a:gd name="T0" fmla="*/ 86 w 121"/>
                  <a:gd name="T1" fmla="*/ 0 h 276"/>
                  <a:gd name="T2" fmla="*/ 86 w 121"/>
                  <a:gd name="T3" fmla="*/ 0 h 276"/>
                  <a:gd name="T4" fmla="*/ 70 w 121"/>
                  <a:gd name="T5" fmla="*/ 33 h 276"/>
                  <a:gd name="T6" fmla="*/ 56 w 121"/>
                  <a:gd name="T7" fmla="*/ 67 h 276"/>
                  <a:gd name="T8" fmla="*/ 32 w 121"/>
                  <a:gd name="T9" fmla="*/ 127 h 276"/>
                  <a:gd name="T10" fmla="*/ 13 w 121"/>
                  <a:gd name="T11" fmla="*/ 183 h 276"/>
                  <a:gd name="T12" fmla="*/ 0 w 121"/>
                  <a:gd name="T13" fmla="*/ 228 h 276"/>
                  <a:gd name="T14" fmla="*/ 0 w 121"/>
                  <a:gd name="T15" fmla="*/ 228 h 276"/>
                  <a:gd name="T16" fmla="*/ 17 w 121"/>
                  <a:gd name="T17" fmla="*/ 252 h 276"/>
                  <a:gd name="T18" fmla="*/ 36 w 121"/>
                  <a:gd name="T19" fmla="*/ 276 h 276"/>
                  <a:gd name="T20" fmla="*/ 36 w 121"/>
                  <a:gd name="T21" fmla="*/ 276 h 276"/>
                  <a:gd name="T22" fmla="*/ 48 w 121"/>
                  <a:gd name="T23" fmla="*/ 234 h 276"/>
                  <a:gd name="T24" fmla="*/ 64 w 121"/>
                  <a:gd name="T25" fmla="*/ 180 h 276"/>
                  <a:gd name="T26" fmla="*/ 75 w 121"/>
                  <a:gd name="T27" fmla="*/ 146 h 276"/>
                  <a:gd name="T28" fmla="*/ 87 w 121"/>
                  <a:gd name="T29" fmla="*/ 113 h 276"/>
                  <a:gd name="T30" fmla="*/ 103 w 121"/>
                  <a:gd name="T31" fmla="*/ 76 h 276"/>
                  <a:gd name="T32" fmla="*/ 121 w 121"/>
                  <a:gd name="T33" fmla="*/ 38 h 276"/>
                  <a:gd name="T34" fmla="*/ 121 w 121"/>
                  <a:gd name="T35" fmla="*/ 38 h 276"/>
                  <a:gd name="T36" fmla="*/ 86 w 121"/>
                  <a:gd name="T37" fmla="*/ 0 h 276"/>
                  <a:gd name="T38" fmla="*/ 86 w 121"/>
                  <a:gd name="T39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1" h="276">
                    <a:moveTo>
                      <a:pt x="86" y="0"/>
                    </a:moveTo>
                    <a:lnTo>
                      <a:pt x="86" y="0"/>
                    </a:lnTo>
                    <a:lnTo>
                      <a:pt x="70" y="33"/>
                    </a:lnTo>
                    <a:lnTo>
                      <a:pt x="56" y="67"/>
                    </a:lnTo>
                    <a:lnTo>
                      <a:pt x="32" y="127"/>
                    </a:lnTo>
                    <a:lnTo>
                      <a:pt x="13" y="183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17" y="252"/>
                    </a:lnTo>
                    <a:lnTo>
                      <a:pt x="36" y="276"/>
                    </a:lnTo>
                    <a:lnTo>
                      <a:pt x="36" y="276"/>
                    </a:lnTo>
                    <a:lnTo>
                      <a:pt x="48" y="234"/>
                    </a:lnTo>
                    <a:lnTo>
                      <a:pt x="64" y="180"/>
                    </a:lnTo>
                    <a:lnTo>
                      <a:pt x="75" y="146"/>
                    </a:lnTo>
                    <a:lnTo>
                      <a:pt x="87" y="113"/>
                    </a:lnTo>
                    <a:lnTo>
                      <a:pt x="103" y="76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86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3"/>
              <p:cNvSpPr>
                <a:spLocks/>
              </p:cNvSpPr>
              <p:nvPr/>
            </p:nvSpPr>
            <p:spPr bwMode="auto">
              <a:xfrm>
                <a:off x="2828" y="2009"/>
                <a:ext cx="83" cy="144"/>
              </a:xfrm>
              <a:custGeom>
                <a:avLst/>
                <a:gdLst>
                  <a:gd name="T0" fmla="*/ 60 w 165"/>
                  <a:gd name="T1" fmla="*/ 246 h 287"/>
                  <a:gd name="T2" fmla="*/ 60 w 165"/>
                  <a:gd name="T3" fmla="*/ 246 h 287"/>
                  <a:gd name="T4" fmla="*/ 71 w 165"/>
                  <a:gd name="T5" fmla="*/ 214 h 287"/>
                  <a:gd name="T6" fmla="*/ 82 w 165"/>
                  <a:gd name="T7" fmla="*/ 182 h 287"/>
                  <a:gd name="T8" fmla="*/ 95 w 165"/>
                  <a:gd name="T9" fmla="*/ 152 h 287"/>
                  <a:gd name="T10" fmla="*/ 108 w 165"/>
                  <a:gd name="T11" fmla="*/ 122 h 287"/>
                  <a:gd name="T12" fmla="*/ 137 w 165"/>
                  <a:gd name="T13" fmla="*/ 66 h 287"/>
                  <a:gd name="T14" fmla="*/ 165 w 165"/>
                  <a:gd name="T15" fmla="*/ 16 h 287"/>
                  <a:gd name="T16" fmla="*/ 165 w 165"/>
                  <a:gd name="T17" fmla="*/ 16 h 287"/>
                  <a:gd name="T18" fmla="*/ 118 w 165"/>
                  <a:gd name="T19" fmla="*/ 0 h 287"/>
                  <a:gd name="T20" fmla="*/ 118 w 165"/>
                  <a:gd name="T21" fmla="*/ 0 h 287"/>
                  <a:gd name="T22" fmla="*/ 102 w 165"/>
                  <a:gd name="T23" fmla="*/ 31 h 287"/>
                  <a:gd name="T24" fmla="*/ 84 w 165"/>
                  <a:gd name="T25" fmla="*/ 63 h 287"/>
                  <a:gd name="T26" fmla="*/ 67 w 165"/>
                  <a:gd name="T27" fmla="*/ 96 h 287"/>
                  <a:gd name="T28" fmla="*/ 51 w 165"/>
                  <a:gd name="T29" fmla="*/ 133 h 287"/>
                  <a:gd name="T30" fmla="*/ 36 w 165"/>
                  <a:gd name="T31" fmla="*/ 169 h 287"/>
                  <a:gd name="T32" fmla="*/ 22 w 165"/>
                  <a:gd name="T33" fmla="*/ 208 h 287"/>
                  <a:gd name="T34" fmla="*/ 9 w 165"/>
                  <a:gd name="T35" fmla="*/ 248 h 287"/>
                  <a:gd name="T36" fmla="*/ 0 w 165"/>
                  <a:gd name="T37" fmla="*/ 287 h 287"/>
                  <a:gd name="T38" fmla="*/ 0 w 165"/>
                  <a:gd name="T39" fmla="*/ 287 h 287"/>
                  <a:gd name="T40" fmla="*/ 4 w 165"/>
                  <a:gd name="T41" fmla="*/ 283 h 287"/>
                  <a:gd name="T42" fmla="*/ 4 w 165"/>
                  <a:gd name="T43" fmla="*/ 283 h 287"/>
                  <a:gd name="T44" fmla="*/ 31 w 165"/>
                  <a:gd name="T45" fmla="*/ 264 h 287"/>
                  <a:gd name="T46" fmla="*/ 60 w 165"/>
                  <a:gd name="T47" fmla="*/ 246 h 287"/>
                  <a:gd name="T48" fmla="*/ 60 w 165"/>
                  <a:gd name="T49" fmla="*/ 246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5" h="287">
                    <a:moveTo>
                      <a:pt x="60" y="246"/>
                    </a:moveTo>
                    <a:lnTo>
                      <a:pt x="60" y="246"/>
                    </a:lnTo>
                    <a:lnTo>
                      <a:pt x="71" y="214"/>
                    </a:lnTo>
                    <a:lnTo>
                      <a:pt x="82" y="182"/>
                    </a:lnTo>
                    <a:lnTo>
                      <a:pt x="95" y="152"/>
                    </a:lnTo>
                    <a:lnTo>
                      <a:pt x="108" y="122"/>
                    </a:lnTo>
                    <a:lnTo>
                      <a:pt x="137" y="66"/>
                    </a:lnTo>
                    <a:lnTo>
                      <a:pt x="165" y="16"/>
                    </a:lnTo>
                    <a:lnTo>
                      <a:pt x="165" y="16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2" y="31"/>
                    </a:lnTo>
                    <a:lnTo>
                      <a:pt x="84" y="63"/>
                    </a:lnTo>
                    <a:lnTo>
                      <a:pt x="67" y="96"/>
                    </a:lnTo>
                    <a:lnTo>
                      <a:pt x="51" y="133"/>
                    </a:lnTo>
                    <a:lnTo>
                      <a:pt x="36" y="169"/>
                    </a:lnTo>
                    <a:lnTo>
                      <a:pt x="22" y="208"/>
                    </a:lnTo>
                    <a:lnTo>
                      <a:pt x="9" y="248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4" y="283"/>
                    </a:lnTo>
                    <a:lnTo>
                      <a:pt x="4" y="283"/>
                    </a:lnTo>
                    <a:lnTo>
                      <a:pt x="31" y="264"/>
                    </a:lnTo>
                    <a:lnTo>
                      <a:pt x="60" y="246"/>
                    </a:lnTo>
                    <a:lnTo>
                      <a:pt x="6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4"/>
              <p:cNvSpPr>
                <a:spLocks/>
              </p:cNvSpPr>
              <p:nvPr/>
            </p:nvSpPr>
            <p:spPr bwMode="auto">
              <a:xfrm>
                <a:off x="2901" y="1937"/>
                <a:ext cx="64" cy="59"/>
              </a:xfrm>
              <a:custGeom>
                <a:avLst/>
                <a:gdLst>
                  <a:gd name="T0" fmla="*/ 46 w 127"/>
                  <a:gd name="T1" fmla="*/ 118 h 118"/>
                  <a:gd name="T2" fmla="*/ 46 w 127"/>
                  <a:gd name="T3" fmla="*/ 118 h 118"/>
                  <a:gd name="T4" fmla="*/ 70 w 127"/>
                  <a:gd name="T5" fmla="*/ 83 h 118"/>
                  <a:gd name="T6" fmla="*/ 92 w 127"/>
                  <a:gd name="T7" fmla="*/ 53 h 118"/>
                  <a:gd name="T8" fmla="*/ 127 w 127"/>
                  <a:gd name="T9" fmla="*/ 6 h 118"/>
                  <a:gd name="T10" fmla="*/ 127 w 127"/>
                  <a:gd name="T11" fmla="*/ 6 h 118"/>
                  <a:gd name="T12" fmla="*/ 100 w 127"/>
                  <a:gd name="T13" fmla="*/ 3 h 118"/>
                  <a:gd name="T14" fmla="*/ 73 w 127"/>
                  <a:gd name="T15" fmla="*/ 0 h 118"/>
                  <a:gd name="T16" fmla="*/ 73 w 127"/>
                  <a:gd name="T17" fmla="*/ 0 h 118"/>
                  <a:gd name="T18" fmla="*/ 38 w 127"/>
                  <a:gd name="T19" fmla="*/ 45 h 118"/>
                  <a:gd name="T20" fmla="*/ 19 w 127"/>
                  <a:gd name="T21" fmla="*/ 72 h 118"/>
                  <a:gd name="T22" fmla="*/ 0 w 127"/>
                  <a:gd name="T23" fmla="*/ 102 h 118"/>
                  <a:gd name="T24" fmla="*/ 0 w 127"/>
                  <a:gd name="T25" fmla="*/ 102 h 118"/>
                  <a:gd name="T26" fmla="*/ 46 w 127"/>
                  <a:gd name="T27" fmla="*/ 118 h 118"/>
                  <a:gd name="T28" fmla="*/ 46 w 127"/>
                  <a:gd name="T2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7" h="118">
                    <a:moveTo>
                      <a:pt x="46" y="118"/>
                    </a:moveTo>
                    <a:lnTo>
                      <a:pt x="46" y="118"/>
                    </a:lnTo>
                    <a:lnTo>
                      <a:pt x="70" y="83"/>
                    </a:lnTo>
                    <a:lnTo>
                      <a:pt x="92" y="53"/>
                    </a:lnTo>
                    <a:lnTo>
                      <a:pt x="127" y="6"/>
                    </a:lnTo>
                    <a:lnTo>
                      <a:pt x="127" y="6"/>
                    </a:lnTo>
                    <a:lnTo>
                      <a:pt x="100" y="3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38" y="45"/>
                    </a:lnTo>
                    <a:lnTo>
                      <a:pt x="19" y="7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46" y="118"/>
                    </a:lnTo>
                    <a:lnTo>
                      <a:pt x="46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5"/>
              <p:cNvSpPr>
                <a:spLocks/>
              </p:cNvSpPr>
              <p:nvPr/>
            </p:nvSpPr>
            <p:spPr bwMode="auto">
              <a:xfrm>
                <a:off x="2816" y="2166"/>
                <a:ext cx="63" cy="253"/>
              </a:xfrm>
              <a:custGeom>
                <a:avLst/>
                <a:gdLst>
                  <a:gd name="T0" fmla="*/ 8 w 126"/>
                  <a:gd name="T1" fmla="*/ 46 h 505"/>
                  <a:gd name="T2" fmla="*/ 8 w 126"/>
                  <a:gd name="T3" fmla="*/ 46 h 505"/>
                  <a:gd name="T4" fmla="*/ 4 w 126"/>
                  <a:gd name="T5" fmla="*/ 75 h 505"/>
                  <a:gd name="T6" fmla="*/ 1 w 126"/>
                  <a:gd name="T7" fmla="*/ 103 h 505"/>
                  <a:gd name="T8" fmla="*/ 0 w 126"/>
                  <a:gd name="T9" fmla="*/ 134 h 505"/>
                  <a:gd name="T10" fmla="*/ 0 w 126"/>
                  <a:gd name="T11" fmla="*/ 164 h 505"/>
                  <a:gd name="T12" fmla="*/ 0 w 126"/>
                  <a:gd name="T13" fmla="*/ 164 h 505"/>
                  <a:gd name="T14" fmla="*/ 1 w 126"/>
                  <a:gd name="T15" fmla="*/ 207 h 505"/>
                  <a:gd name="T16" fmla="*/ 4 w 126"/>
                  <a:gd name="T17" fmla="*/ 248 h 505"/>
                  <a:gd name="T18" fmla="*/ 9 w 126"/>
                  <a:gd name="T19" fmla="*/ 290 h 505"/>
                  <a:gd name="T20" fmla="*/ 17 w 126"/>
                  <a:gd name="T21" fmla="*/ 330 h 505"/>
                  <a:gd name="T22" fmla="*/ 27 w 126"/>
                  <a:gd name="T23" fmla="*/ 368 h 505"/>
                  <a:gd name="T24" fmla="*/ 38 w 126"/>
                  <a:gd name="T25" fmla="*/ 406 h 505"/>
                  <a:gd name="T26" fmla="*/ 49 w 126"/>
                  <a:gd name="T27" fmla="*/ 444 h 505"/>
                  <a:gd name="T28" fmla="*/ 63 w 126"/>
                  <a:gd name="T29" fmla="*/ 480 h 505"/>
                  <a:gd name="T30" fmla="*/ 63 w 126"/>
                  <a:gd name="T31" fmla="*/ 480 h 505"/>
                  <a:gd name="T32" fmla="*/ 94 w 126"/>
                  <a:gd name="T33" fmla="*/ 492 h 505"/>
                  <a:gd name="T34" fmla="*/ 126 w 126"/>
                  <a:gd name="T35" fmla="*/ 505 h 505"/>
                  <a:gd name="T36" fmla="*/ 126 w 126"/>
                  <a:gd name="T37" fmla="*/ 505 h 505"/>
                  <a:gd name="T38" fmla="*/ 110 w 126"/>
                  <a:gd name="T39" fmla="*/ 467 h 505"/>
                  <a:gd name="T40" fmla="*/ 94 w 126"/>
                  <a:gd name="T41" fmla="*/ 427 h 505"/>
                  <a:gd name="T42" fmla="*/ 81 w 126"/>
                  <a:gd name="T43" fmla="*/ 385 h 505"/>
                  <a:gd name="T44" fmla="*/ 70 w 126"/>
                  <a:gd name="T45" fmla="*/ 344 h 505"/>
                  <a:gd name="T46" fmla="*/ 60 w 126"/>
                  <a:gd name="T47" fmla="*/ 299 h 505"/>
                  <a:gd name="T48" fmla="*/ 52 w 126"/>
                  <a:gd name="T49" fmla="*/ 255 h 505"/>
                  <a:gd name="T50" fmla="*/ 47 w 126"/>
                  <a:gd name="T51" fmla="*/ 210 h 505"/>
                  <a:gd name="T52" fmla="*/ 46 w 126"/>
                  <a:gd name="T53" fmla="*/ 164 h 505"/>
                  <a:gd name="T54" fmla="*/ 46 w 126"/>
                  <a:gd name="T55" fmla="*/ 164 h 505"/>
                  <a:gd name="T56" fmla="*/ 47 w 126"/>
                  <a:gd name="T57" fmla="*/ 121 h 505"/>
                  <a:gd name="T58" fmla="*/ 51 w 126"/>
                  <a:gd name="T59" fmla="*/ 81 h 505"/>
                  <a:gd name="T60" fmla="*/ 57 w 126"/>
                  <a:gd name="T61" fmla="*/ 39 h 505"/>
                  <a:gd name="T62" fmla="*/ 65 w 126"/>
                  <a:gd name="T63" fmla="*/ 0 h 505"/>
                  <a:gd name="T64" fmla="*/ 65 w 126"/>
                  <a:gd name="T65" fmla="*/ 0 h 505"/>
                  <a:gd name="T66" fmla="*/ 57 w 126"/>
                  <a:gd name="T67" fmla="*/ 6 h 505"/>
                  <a:gd name="T68" fmla="*/ 57 w 126"/>
                  <a:gd name="T69" fmla="*/ 6 h 505"/>
                  <a:gd name="T70" fmla="*/ 32 w 126"/>
                  <a:gd name="T71" fmla="*/ 25 h 505"/>
                  <a:gd name="T72" fmla="*/ 8 w 126"/>
                  <a:gd name="T73" fmla="*/ 46 h 505"/>
                  <a:gd name="T74" fmla="*/ 8 w 126"/>
                  <a:gd name="T75" fmla="*/ 46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505">
                    <a:moveTo>
                      <a:pt x="8" y="46"/>
                    </a:moveTo>
                    <a:lnTo>
                      <a:pt x="8" y="46"/>
                    </a:lnTo>
                    <a:lnTo>
                      <a:pt x="4" y="75"/>
                    </a:lnTo>
                    <a:lnTo>
                      <a:pt x="1" y="103"/>
                    </a:lnTo>
                    <a:lnTo>
                      <a:pt x="0" y="13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1" y="207"/>
                    </a:lnTo>
                    <a:lnTo>
                      <a:pt x="4" y="248"/>
                    </a:lnTo>
                    <a:lnTo>
                      <a:pt x="9" y="290"/>
                    </a:lnTo>
                    <a:lnTo>
                      <a:pt x="17" y="330"/>
                    </a:lnTo>
                    <a:lnTo>
                      <a:pt x="27" y="368"/>
                    </a:lnTo>
                    <a:lnTo>
                      <a:pt x="38" y="406"/>
                    </a:lnTo>
                    <a:lnTo>
                      <a:pt x="49" y="444"/>
                    </a:lnTo>
                    <a:lnTo>
                      <a:pt x="63" y="480"/>
                    </a:lnTo>
                    <a:lnTo>
                      <a:pt x="63" y="480"/>
                    </a:lnTo>
                    <a:lnTo>
                      <a:pt x="94" y="492"/>
                    </a:lnTo>
                    <a:lnTo>
                      <a:pt x="126" y="505"/>
                    </a:lnTo>
                    <a:lnTo>
                      <a:pt x="126" y="505"/>
                    </a:lnTo>
                    <a:lnTo>
                      <a:pt x="110" y="467"/>
                    </a:lnTo>
                    <a:lnTo>
                      <a:pt x="94" y="427"/>
                    </a:lnTo>
                    <a:lnTo>
                      <a:pt x="81" y="385"/>
                    </a:lnTo>
                    <a:lnTo>
                      <a:pt x="70" y="344"/>
                    </a:lnTo>
                    <a:lnTo>
                      <a:pt x="60" y="299"/>
                    </a:lnTo>
                    <a:lnTo>
                      <a:pt x="52" y="255"/>
                    </a:lnTo>
                    <a:lnTo>
                      <a:pt x="47" y="210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7" y="121"/>
                    </a:lnTo>
                    <a:lnTo>
                      <a:pt x="51" y="81"/>
                    </a:lnTo>
                    <a:lnTo>
                      <a:pt x="57" y="39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32" y="25"/>
                    </a:lnTo>
                    <a:lnTo>
                      <a:pt x="8" y="46"/>
                    </a:lnTo>
                    <a:lnTo>
                      <a:pt x="8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6"/>
              <p:cNvSpPr>
                <a:spLocks/>
              </p:cNvSpPr>
              <p:nvPr/>
            </p:nvSpPr>
            <p:spPr bwMode="auto">
              <a:xfrm>
                <a:off x="2862" y="2437"/>
                <a:ext cx="105" cy="126"/>
              </a:xfrm>
              <a:custGeom>
                <a:avLst/>
                <a:gdLst>
                  <a:gd name="T0" fmla="*/ 0 w 210"/>
                  <a:gd name="T1" fmla="*/ 0 h 250"/>
                  <a:gd name="T2" fmla="*/ 0 w 210"/>
                  <a:gd name="T3" fmla="*/ 0 h 250"/>
                  <a:gd name="T4" fmla="*/ 19 w 210"/>
                  <a:gd name="T5" fmla="*/ 41 h 250"/>
                  <a:gd name="T6" fmla="*/ 41 w 210"/>
                  <a:gd name="T7" fmla="*/ 79 h 250"/>
                  <a:gd name="T8" fmla="*/ 62 w 210"/>
                  <a:gd name="T9" fmla="*/ 116 h 250"/>
                  <a:gd name="T10" fmla="*/ 82 w 210"/>
                  <a:gd name="T11" fmla="*/ 150 h 250"/>
                  <a:gd name="T12" fmla="*/ 103 w 210"/>
                  <a:gd name="T13" fmla="*/ 180 h 250"/>
                  <a:gd name="T14" fmla="*/ 122 w 210"/>
                  <a:gd name="T15" fmla="*/ 207 h 250"/>
                  <a:gd name="T16" fmla="*/ 156 w 210"/>
                  <a:gd name="T17" fmla="*/ 250 h 250"/>
                  <a:gd name="T18" fmla="*/ 156 w 210"/>
                  <a:gd name="T19" fmla="*/ 250 h 250"/>
                  <a:gd name="T20" fmla="*/ 183 w 210"/>
                  <a:gd name="T21" fmla="*/ 247 h 250"/>
                  <a:gd name="T22" fmla="*/ 210 w 210"/>
                  <a:gd name="T23" fmla="*/ 242 h 250"/>
                  <a:gd name="T24" fmla="*/ 210 w 210"/>
                  <a:gd name="T25" fmla="*/ 242 h 250"/>
                  <a:gd name="T26" fmla="*/ 183 w 210"/>
                  <a:gd name="T27" fmla="*/ 209 h 250"/>
                  <a:gd name="T28" fmla="*/ 148 w 210"/>
                  <a:gd name="T29" fmla="*/ 159 h 250"/>
                  <a:gd name="T30" fmla="*/ 127 w 210"/>
                  <a:gd name="T31" fmla="*/ 130 h 250"/>
                  <a:gd name="T32" fmla="*/ 106 w 210"/>
                  <a:gd name="T33" fmla="*/ 97 h 250"/>
                  <a:gd name="T34" fmla="*/ 84 w 210"/>
                  <a:gd name="T35" fmla="*/ 60 h 250"/>
                  <a:gd name="T36" fmla="*/ 63 w 210"/>
                  <a:gd name="T37" fmla="*/ 20 h 250"/>
                  <a:gd name="T38" fmla="*/ 63 w 210"/>
                  <a:gd name="T39" fmla="*/ 20 h 250"/>
                  <a:gd name="T40" fmla="*/ 31 w 210"/>
                  <a:gd name="T41" fmla="*/ 11 h 250"/>
                  <a:gd name="T42" fmla="*/ 0 w 210"/>
                  <a:gd name="T43" fmla="*/ 0 h 250"/>
                  <a:gd name="T44" fmla="*/ 0 w 210"/>
                  <a:gd name="T4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0" h="250">
                    <a:moveTo>
                      <a:pt x="0" y="0"/>
                    </a:moveTo>
                    <a:lnTo>
                      <a:pt x="0" y="0"/>
                    </a:lnTo>
                    <a:lnTo>
                      <a:pt x="19" y="41"/>
                    </a:lnTo>
                    <a:lnTo>
                      <a:pt x="41" y="79"/>
                    </a:lnTo>
                    <a:lnTo>
                      <a:pt x="62" y="116"/>
                    </a:lnTo>
                    <a:lnTo>
                      <a:pt x="82" y="150"/>
                    </a:lnTo>
                    <a:lnTo>
                      <a:pt x="103" y="180"/>
                    </a:lnTo>
                    <a:lnTo>
                      <a:pt x="122" y="207"/>
                    </a:lnTo>
                    <a:lnTo>
                      <a:pt x="156" y="250"/>
                    </a:lnTo>
                    <a:lnTo>
                      <a:pt x="156" y="250"/>
                    </a:lnTo>
                    <a:lnTo>
                      <a:pt x="183" y="247"/>
                    </a:lnTo>
                    <a:lnTo>
                      <a:pt x="210" y="242"/>
                    </a:lnTo>
                    <a:lnTo>
                      <a:pt x="210" y="242"/>
                    </a:lnTo>
                    <a:lnTo>
                      <a:pt x="183" y="209"/>
                    </a:lnTo>
                    <a:lnTo>
                      <a:pt x="148" y="159"/>
                    </a:lnTo>
                    <a:lnTo>
                      <a:pt x="127" y="130"/>
                    </a:lnTo>
                    <a:lnTo>
                      <a:pt x="106" y="97"/>
                    </a:lnTo>
                    <a:lnTo>
                      <a:pt x="84" y="60"/>
                    </a:lnTo>
                    <a:lnTo>
                      <a:pt x="63" y="20"/>
                    </a:lnTo>
                    <a:lnTo>
                      <a:pt x="63" y="20"/>
                    </a:lnTo>
                    <a:lnTo>
                      <a:pt x="31" y="1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"/>
              <p:cNvSpPr>
                <a:spLocks/>
              </p:cNvSpPr>
              <p:nvPr/>
            </p:nvSpPr>
            <p:spPr bwMode="auto">
              <a:xfrm>
                <a:off x="2820" y="2132"/>
                <a:ext cx="39" cy="57"/>
              </a:xfrm>
              <a:custGeom>
                <a:avLst/>
                <a:gdLst>
                  <a:gd name="T0" fmla="*/ 20 w 76"/>
                  <a:gd name="T1" fmla="*/ 37 h 115"/>
                  <a:gd name="T2" fmla="*/ 20 w 76"/>
                  <a:gd name="T3" fmla="*/ 37 h 115"/>
                  <a:gd name="T4" fmla="*/ 16 w 76"/>
                  <a:gd name="T5" fmla="*/ 41 h 115"/>
                  <a:gd name="T6" fmla="*/ 16 w 76"/>
                  <a:gd name="T7" fmla="*/ 41 h 115"/>
                  <a:gd name="T8" fmla="*/ 8 w 76"/>
                  <a:gd name="T9" fmla="*/ 78 h 115"/>
                  <a:gd name="T10" fmla="*/ 0 w 76"/>
                  <a:gd name="T11" fmla="*/ 115 h 115"/>
                  <a:gd name="T12" fmla="*/ 0 w 76"/>
                  <a:gd name="T13" fmla="*/ 115 h 115"/>
                  <a:gd name="T14" fmla="*/ 24 w 76"/>
                  <a:gd name="T15" fmla="*/ 94 h 115"/>
                  <a:gd name="T16" fmla="*/ 49 w 76"/>
                  <a:gd name="T17" fmla="*/ 75 h 115"/>
                  <a:gd name="T18" fmla="*/ 49 w 76"/>
                  <a:gd name="T19" fmla="*/ 75 h 115"/>
                  <a:gd name="T20" fmla="*/ 57 w 76"/>
                  <a:gd name="T21" fmla="*/ 69 h 115"/>
                  <a:gd name="T22" fmla="*/ 57 w 76"/>
                  <a:gd name="T23" fmla="*/ 69 h 115"/>
                  <a:gd name="T24" fmla="*/ 67 w 76"/>
                  <a:gd name="T25" fmla="*/ 34 h 115"/>
                  <a:gd name="T26" fmla="*/ 76 w 76"/>
                  <a:gd name="T27" fmla="*/ 0 h 115"/>
                  <a:gd name="T28" fmla="*/ 76 w 76"/>
                  <a:gd name="T29" fmla="*/ 0 h 115"/>
                  <a:gd name="T30" fmla="*/ 47 w 76"/>
                  <a:gd name="T31" fmla="*/ 18 h 115"/>
                  <a:gd name="T32" fmla="*/ 20 w 76"/>
                  <a:gd name="T33" fmla="*/ 37 h 115"/>
                  <a:gd name="T34" fmla="*/ 20 w 76"/>
                  <a:gd name="T35" fmla="*/ 3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" h="115">
                    <a:moveTo>
                      <a:pt x="20" y="37"/>
                    </a:moveTo>
                    <a:lnTo>
                      <a:pt x="20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8" y="78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24" y="94"/>
                    </a:lnTo>
                    <a:lnTo>
                      <a:pt x="49" y="75"/>
                    </a:lnTo>
                    <a:lnTo>
                      <a:pt x="49" y="75"/>
                    </a:lnTo>
                    <a:lnTo>
                      <a:pt x="57" y="69"/>
                    </a:lnTo>
                    <a:lnTo>
                      <a:pt x="57" y="69"/>
                    </a:lnTo>
                    <a:lnTo>
                      <a:pt x="67" y="34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47" y="18"/>
                    </a:lnTo>
                    <a:lnTo>
                      <a:pt x="20" y="37"/>
                    </a:lnTo>
                    <a:lnTo>
                      <a:pt x="20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8"/>
              <p:cNvSpPr>
                <a:spLocks/>
              </p:cNvSpPr>
              <p:nvPr/>
            </p:nvSpPr>
            <p:spPr bwMode="auto">
              <a:xfrm>
                <a:off x="2879" y="2419"/>
                <a:ext cx="286" cy="49"/>
              </a:xfrm>
              <a:custGeom>
                <a:avLst/>
                <a:gdLst>
                  <a:gd name="T0" fmla="*/ 0 w 570"/>
                  <a:gd name="T1" fmla="*/ 0 h 97"/>
                  <a:gd name="T2" fmla="*/ 0 w 570"/>
                  <a:gd name="T3" fmla="*/ 0 h 97"/>
                  <a:gd name="T4" fmla="*/ 14 w 570"/>
                  <a:gd name="T5" fmla="*/ 29 h 97"/>
                  <a:gd name="T6" fmla="*/ 28 w 570"/>
                  <a:gd name="T7" fmla="*/ 57 h 97"/>
                  <a:gd name="T8" fmla="*/ 28 w 570"/>
                  <a:gd name="T9" fmla="*/ 57 h 97"/>
                  <a:gd name="T10" fmla="*/ 67 w 570"/>
                  <a:gd name="T11" fmla="*/ 69 h 97"/>
                  <a:gd name="T12" fmla="*/ 103 w 570"/>
                  <a:gd name="T13" fmla="*/ 77 h 97"/>
                  <a:gd name="T14" fmla="*/ 142 w 570"/>
                  <a:gd name="T15" fmla="*/ 83 h 97"/>
                  <a:gd name="T16" fmla="*/ 178 w 570"/>
                  <a:gd name="T17" fmla="*/ 88 h 97"/>
                  <a:gd name="T18" fmla="*/ 215 w 570"/>
                  <a:gd name="T19" fmla="*/ 93 h 97"/>
                  <a:gd name="T20" fmla="*/ 250 w 570"/>
                  <a:gd name="T21" fmla="*/ 94 h 97"/>
                  <a:gd name="T22" fmla="*/ 285 w 570"/>
                  <a:gd name="T23" fmla="*/ 96 h 97"/>
                  <a:gd name="T24" fmla="*/ 318 w 570"/>
                  <a:gd name="T25" fmla="*/ 97 h 97"/>
                  <a:gd name="T26" fmla="*/ 318 w 570"/>
                  <a:gd name="T27" fmla="*/ 97 h 97"/>
                  <a:gd name="T28" fmla="*/ 381 w 570"/>
                  <a:gd name="T29" fmla="*/ 96 h 97"/>
                  <a:gd name="T30" fmla="*/ 438 w 570"/>
                  <a:gd name="T31" fmla="*/ 91 h 97"/>
                  <a:gd name="T32" fmla="*/ 486 w 570"/>
                  <a:gd name="T33" fmla="*/ 85 h 97"/>
                  <a:gd name="T34" fmla="*/ 527 w 570"/>
                  <a:gd name="T35" fmla="*/ 80 h 97"/>
                  <a:gd name="T36" fmla="*/ 527 w 570"/>
                  <a:gd name="T37" fmla="*/ 80 h 97"/>
                  <a:gd name="T38" fmla="*/ 550 w 570"/>
                  <a:gd name="T39" fmla="*/ 53 h 97"/>
                  <a:gd name="T40" fmla="*/ 570 w 570"/>
                  <a:gd name="T41" fmla="*/ 24 h 97"/>
                  <a:gd name="T42" fmla="*/ 570 w 570"/>
                  <a:gd name="T43" fmla="*/ 22 h 97"/>
                  <a:gd name="T44" fmla="*/ 570 w 570"/>
                  <a:gd name="T45" fmla="*/ 22 h 97"/>
                  <a:gd name="T46" fmla="*/ 556 w 570"/>
                  <a:gd name="T47" fmla="*/ 26 h 97"/>
                  <a:gd name="T48" fmla="*/ 518 w 570"/>
                  <a:gd name="T49" fmla="*/ 32 h 97"/>
                  <a:gd name="T50" fmla="*/ 460 w 570"/>
                  <a:gd name="T51" fmla="*/ 40 h 97"/>
                  <a:gd name="T52" fmla="*/ 425 w 570"/>
                  <a:gd name="T53" fmla="*/ 45 h 97"/>
                  <a:gd name="T54" fmla="*/ 387 w 570"/>
                  <a:gd name="T55" fmla="*/ 46 h 97"/>
                  <a:gd name="T56" fmla="*/ 344 w 570"/>
                  <a:gd name="T57" fmla="*/ 48 h 97"/>
                  <a:gd name="T58" fmla="*/ 299 w 570"/>
                  <a:gd name="T59" fmla="*/ 48 h 97"/>
                  <a:gd name="T60" fmla="*/ 253 w 570"/>
                  <a:gd name="T61" fmla="*/ 46 h 97"/>
                  <a:gd name="T62" fmla="*/ 204 w 570"/>
                  <a:gd name="T63" fmla="*/ 43 h 97"/>
                  <a:gd name="T64" fmla="*/ 154 w 570"/>
                  <a:gd name="T65" fmla="*/ 37 h 97"/>
                  <a:gd name="T66" fmla="*/ 103 w 570"/>
                  <a:gd name="T67" fmla="*/ 27 h 97"/>
                  <a:gd name="T68" fmla="*/ 51 w 570"/>
                  <a:gd name="T69" fmla="*/ 16 h 97"/>
                  <a:gd name="T70" fmla="*/ 0 w 570"/>
                  <a:gd name="T71" fmla="*/ 0 h 97"/>
                  <a:gd name="T72" fmla="*/ 0 w 570"/>
                  <a:gd name="T7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0" h="97">
                    <a:moveTo>
                      <a:pt x="0" y="0"/>
                    </a:moveTo>
                    <a:lnTo>
                      <a:pt x="0" y="0"/>
                    </a:lnTo>
                    <a:lnTo>
                      <a:pt x="14" y="29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67" y="69"/>
                    </a:lnTo>
                    <a:lnTo>
                      <a:pt x="103" y="77"/>
                    </a:lnTo>
                    <a:lnTo>
                      <a:pt x="142" y="83"/>
                    </a:lnTo>
                    <a:lnTo>
                      <a:pt x="178" y="88"/>
                    </a:lnTo>
                    <a:lnTo>
                      <a:pt x="215" y="93"/>
                    </a:lnTo>
                    <a:lnTo>
                      <a:pt x="250" y="94"/>
                    </a:lnTo>
                    <a:lnTo>
                      <a:pt x="285" y="96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81" y="96"/>
                    </a:lnTo>
                    <a:lnTo>
                      <a:pt x="438" y="91"/>
                    </a:lnTo>
                    <a:lnTo>
                      <a:pt x="486" y="85"/>
                    </a:lnTo>
                    <a:lnTo>
                      <a:pt x="527" y="80"/>
                    </a:lnTo>
                    <a:lnTo>
                      <a:pt x="527" y="80"/>
                    </a:lnTo>
                    <a:lnTo>
                      <a:pt x="550" y="53"/>
                    </a:lnTo>
                    <a:lnTo>
                      <a:pt x="570" y="24"/>
                    </a:lnTo>
                    <a:lnTo>
                      <a:pt x="570" y="22"/>
                    </a:lnTo>
                    <a:lnTo>
                      <a:pt x="570" y="22"/>
                    </a:lnTo>
                    <a:lnTo>
                      <a:pt x="556" y="26"/>
                    </a:lnTo>
                    <a:lnTo>
                      <a:pt x="518" y="32"/>
                    </a:lnTo>
                    <a:lnTo>
                      <a:pt x="460" y="40"/>
                    </a:lnTo>
                    <a:lnTo>
                      <a:pt x="425" y="45"/>
                    </a:lnTo>
                    <a:lnTo>
                      <a:pt x="387" y="46"/>
                    </a:lnTo>
                    <a:lnTo>
                      <a:pt x="344" y="48"/>
                    </a:lnTo>
                    <a:lnTo>
                      <a:pt x="299" y="48"/>
                    </a:lnTo>
                    <a:lnTo>
                      <a:pt x="253" y="46"/>
                    </a:lnTo>
                    <a:lnTo>
                      <a:pt x="204" y="43"/>
                    </a:lnTo>
                    <a:lnTo>
                      <a:pt x="154" y="37"/>
                    </a:lnTo>
                    <a:lnTo>
                      <a:pt x="103" y="27"/>
                    </a:lnTo>
                    <a:lnTo>
                      <a:pt x="51" y="1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9"/>
              <p:cNvSpPr>
                <a:spLocks/>
              </p:cNvSpPr>
              <p:nvPr/>
            </p:nvSpPr>
            <p:spPr bwMode="auto">
              <a:xfrm>
                <a:off x="2603" y="2137"/>
                <a:ext cx="105" cy="182"/>
              </a:xfrm>
              <a:custGeom>
                <a:avLst/>
                <a:gdLst>
                  <a:gd name="T0" fmla="*/ 209 w 209"/>
                  <a:gd name="T1" fmla="*/ 318 h 365"/>
                  <a:gd name="T2" fmla="*/ 209 w 209"/>
                  <a:gd name="T3" fmla="*/ 318 h 365"/>
                  <a:gd name="T4" fmla="*/ 172 w 209"/>
                  <a:gd name="T5" fmla="*/ 272 h 365"/>
                  <a:gd name="T6" fmla="*/ 140 w 209"/>
                  <a:gd name="T7" fmla="*/ 226 h 365"/>
                  <a:gd name="T8" fmla="*/ 112 w 209"/>
                  <a:gd name="T9" fmla="*/ 180 h 365"/>
                  <a:gd name="T10" fmla="*/ 86 w 209"/>
                  <a:gd name="T11" fmla="*/ 137 h 365"/>
                  <a:gd name="T12" fmla="*/ 65 w 209"/>
                  <a:gd name="T13" fmla="*/ 95 h 365"/>
                  <a:gd name="T14" fmla="*/ 48 w 209"/>
                  <a:gd name="T15" fmla="*/ 59 h 365"/>
                  <a:gd name="T16" fmla="*/ 33 w 209"/>
                  <a:gd name="T17" fmla="*/ 27 h 365"/>
                  <a:gd name="T18" fmla="*/ 22 w 209"/>
                  <a:gd name="T19" fmla="*/ 0 h 365"/>
                  <a:gd name="T20" fmla="*/ 22 w 209"/>
                  <a:gd name="T21" fmla="*/ 0 h 365"/>
                  <a:gd name="T22" fmla="*/ 9 w 209"/>
                  <a:gd name="T23" fmla="*/ 35 h 365"/>
                  <a:gd name="T24" fmla="*/ 0 w 209"/>
                  <a:gd name="T25" fmla="*/ 70 h 365"/>
                  <a:gd name="T26" fmla="*/ 0 w 209"/>
                  <a:gd name="T27" fmla="*/ 70 h 365"/>
                  <a:gd name="T28" fmla="*/ 14 w 209"/>
                  <a:gd name="T29" fmla="*/ 100 h 365"/>
                  <a:gd name="T30" fmla="*/ 30 w 209"/>
                  <a:gd name="T31" fmla="*/ 134 h 365"/>
                  <a:gd name="T32" fmla="*/ 49 w 209"/>
                  <a:gd name="T33" fmla="*/ 169 h 365"/>
                  <a:gd name="T34" fmla="*/ 70 w 209"/>
                  <a:gd name="T35" fmla="*/ 207 h 365"/>
                  <a:gd name="T36" fmla="*/ 96 w 209"/>
                  <a:gd name="T37" fmla="*/ 245 h 365"/>
                  <a:gd name="T38" fmla="*/ 123 w 209"/>
                  <a:gd name="T39" fmla="*/ 285 h 365"/>
                  <a:gd name="T40" fmla="*/ 151 w 209"/>
                  <a:gd name="T41" fmla="*/ 325 h 365"/>
                  <a:gd name="T42" fmla="*/ 185 w 209"/>
                  <a:gd name="T43" fmla="*/ 365 h 365"/>
                  <a:gd name="T44" fmla="*/ 185 w 209"/>
                  <a:gd name="T45" fmla="*/ 365 h 365"/>
                  <a:gd name="T46" fmla="*/ 209 w 209"/>
                  <a:gd name="T47" fmla="*/ 318 h 365"/>
                  <a:gd name="T48" fmla="*/ 209 w 209"/>
                  <a:gd name="T49" fmla="*/ 318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9" h="365">
                    <a:moveTo>
                      <a:pt x="209" y="318"/>
                    </a:moveTo>
                    <a:lnTo>
                      <a:pt x="209" y="318"/>
                    </a:lnTo>
                    <a:lnTo>
                      <a:pt x="172" y="272"/>
                    </a:lnTo>
                    <a:lnTo>
                      <a:pt x="140" y="226"/>
                    </a:lnTo>
                    <a:lnTo>
                      <a:pt x="112" y="180"/>
                    </a:lnTo>
                    <a:lnTo>
                      <a:pt x="86" y="137"/>
                    </a:lnTo>
                    <a:lnTo>
                      <a:pt x="65" y="95"/>
                    </a:lnTo>
                    <a:lnTo>
                      <a:pt x="48" y="59"/>
                    </a:lnTo>
                    <a:lnTo>
                      <a:pt x="33" y="27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9" y="35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4" y="100"/>
                    </a:lnTo>
                    <a:lnTo>
                      <a:pt x="30" y="134"/>
                    </a:lnTo>
                    <a:lnTo>
                      <a:pt x="49" y="169"/>
                    </a:lnTo>
                    <a:lnTo>
                      <a:pt x="70" y="207"/>
                    </a:lnTo>
                    <a:lnTo>
                      <a:pt x="96" y="245"/>
                    </a:lnTo>
                    <a:lnTo>
                      <a:pt x="123" y="285"/>
                    </a:lnTo>
                    <a:lnTo>
                      <a:pt x="151" y="325"/>
                    </a:lnTo>
                    <a:lnTo>
                      <a:pt x="185" y="365"/>
                    </a:lnTo>
                    <a:lnTo>
                      <a:pt x="185" y="365"/>
                    </a:lnTo>
                    <a:lnTo>
                      <a:pt x="209" y="318"/>
                    </a:lnTo>
                    <a:lnTo>
                      <a:pt x="209" y="3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0"/>
              <p:cNvSpPr>
                <a:spLocks/>
              </p:cNvSpPr>
              <p:nvPr/>
            </p:nvSpPr>
            <p:spPr bwMode="auto">
              <a:xfrm>
                <a:off x="2713" y="2315"/>
                <a:ext cx="149" cy="122"/>
              </a:xfrm>
              <a:custGeom>
                <a:avLst/>
                <a:gdLst>
                  <a:gd name="T0" fmla="*/ 212 w 297"/>
                  <a:gd name="T1" fmla="*/ 153 h 244"/>
                  <a:gd name="T2" fmla="*/ 212 w 297"/>
                  <a:gd name="T3" fmla="*/ 153 h 244"/>
                  <a:gd name="T4" fmla="*/ 185 w 297"/>
                  <a:gd name="T5" fmla="*/ 137 h 244"/>
                  <a:gd name="T6" fmla="*/ 159 w 297"/>
                  <a:gd name="T7" fmla="*/ 119 h 244"/>
                  <a:gd name="T8" fmla="*/ 134 w 297"/>
                  <a:gd name="T9" fmla="*/ 102 h 244"/>
                  <a:gd name="T10" fmla="*/ 110 w 297"/>
                  <a:gd name="T11" fmla="*/ 83 h 244"/>
                  <a:gd name="T12" fmla="*/ 86 w 297"/>
                  <a:gd name="T13" fmla="*/ 64 h 244"/>
                  <a:gd name="T14" fmla="*/ 64 w 297"/>
                  <a:gd name="T15" fmla="*/ 43 h 244"/>
                  <a:gd name="T16" fmla="*/ 43 w 297"/>
                  <a:gd name="T17" fmla="*/ 22 h 244"/>
                  <a:gd name="T18" fmla="*/ 22 w 297"/>
                  <a:gd name="T19" fmla="*/ 0 h 244"/>
                  <a:gd name="T20" fmla="*/ 22 w 297"/>
                  <a:gd name="T21" fmla="*/ 0 h 244"/>
                  <a:gd name="T22" fmla="*/ 0 w 297"/>
                  <a:gd name="T23" fmla="*/ 46 h 244"/>
                  <a:gd name="T24" fmla="*/ 0 w 297"/>
                  <a:gd name="T25" fmla="*/ 46 h 244"/>
                  <a:gd name="T26" fmla="*/ 21 w 297"/>
                  <a:gd name="T27" fmla="*/ 67 h 244"/>
                  <a:gd name="T28" fmla="*/ 41 w 297"/>
                  <a:gd name="T29" fmla="*/ 86 h 244"/>
                  <a:gd name="T30" fmla="*/ 64 w 297"/>
                  <a:gd name="T31" fmla="*/ 107 h 244"/>
                  <a:gd name="T32" fmla="*/ 88 w 297"/>
                  <a:gd name="T33" fmla="*/ 126 h 244"/>
                  <a:gd name="T34" fmla="*/ 112 w 297"/>
                  <a:gd name="T35" fmla="*/ 143 h 244"/>
                  <a:gd name="T36" fmla="*/ 137 w 297"/>
                  <a:gd name="T37" fmla="*/ 162 h 244"/>
                  <a:gd name="T38" fmla="*/ 163 w 297"/>
                  <a:gd name="T39" fmla="*/ 178 h 244"/>
                  <a:gd name="T40" fmla="*/ 190 w 297"/>
                  <a:gd name="T41" fmla="*/ 194 h 244"/>
                  <a:gd name="T42" fmla="*/ 190 w 297"/>
                  <a:gd name="T43" fmla="*/ 194 h 244"/>
                  <a:gd name="T44" fmla="*/ 215 w 297"/>
                  <a:gd name="T45" fmla="*/ 209 h 244"/>
                  <a:gd name="T46" fmla="*/ 242 w 297"/>
                  <a:gd name="T47" fmla="*/ 221 h 244"/>
                  <a:gd name="T48" fmla="*/ 269 w 297"/>
                  <a:gd name="T49" fmla="*/ 233 h 244"/>
                  <a:gd name="T50" fmla="*/ 297 w 297"/>
                  <a:gd name="T51" fmla="*/ 244 h 244"/>
                  <a:gd name="T52" fmla="*/ 297 w 297"/>
                  <a:gd name="T53" fmla="*/ 244 h 244"/>
                  <a:gd name="T54" fmla="*/ 282 w 297"/>
                  <a:gd name="T55" fmla="*/ 213 h 244"/>
                  <a:gd name="T56" fmla="*/ 269 w 297"/>
                  <a:gd name="T57" fmla="*/ 182 h 244"/>
                  <a:gd name="T58" fmla="*/ 269 w 297"/>
                  <a:gd name="T59" fmla="*/ 182 h 244"/>
                  <a:gd name="T60" fmla="*/ 241 w 297"/>
                  <a:gd name="T61" fmla="*/ 169 h 244"/>
                  <a:gd name="T62" fmla="*/ 212 w 297"/>
                  <a:gd name="T63" fmla="*/ 153 h 244"/>
                  <a:gd name="T64" fmla="*/ 212 w 297"/>
                  <a:gd name="T65" fmla="*/ 153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7" h="244">
                    <a:moveTo>
                      <a:pt x="212" y="153"/>
                    </a:moveTo>
                    <a:lnTo>
                      <a:pt x="212" y="153"/>
                    </a:lnTo>
                    <a:lnTo>
                      <a:pt x="185" y="137"/>
                    </a:lnTo>
                    <a:lnTo>
                      <a:pt x="159" y="119"/>
                    </a:lnTo>
                    <a:lnTo>
                      <a:pt x="134" y="102"/>
                    </a:lnTo>
                    <a:lnTo>
                      <a:pt x="110" y="83"/>
                    </a:lnTo>
                    <a:lnTo>
                      <a:pt x="86" y="64"/>
                    </a:lnTo>
                    <a:lnTo>
                      <a:pt x="64" y="43"/>
                    </a:lnTo>
                    <a:lnTo>
                      <a:pt x="43" y="2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21" y="67"/>
                    </a:lnTo>
                    <a:lnTo>
                      <a:pt x="41" y="86"/>
                    </a:lnTo>
                    <a:lnTo>
                      <a:pt x="64" y="107"/>
                    </a:lnTo>
                    <a:lnTo>
                      <a:pt x="88" y="126"/>
                    </a:lnTo>
                    <a:lnTo>
                      <a:pt x="112" y="143"/>
                    </a:lnTo>
                    <a:lnTo>
                      <a:pt x="137" y="162"/>
                    </a:lnTo>
                    <a:lnTo>
                      <a:pt x="163" y="178"/>
                    </a:lnTo>
                    <a:lnTo>
                      <a:pt x="190" y="194"/>
                    </a:lnTo>
                    <a:lnTo>
                      <a:pt x="190" y="194"/>
                    </a:lnTo>
                    <a:lnTo>
                      <a:pt x="215" y="209"/>
                    </a:lnTo>
                    <a:lnTo>
                      <a:pt x="242" y="221"/>
                    </a:lnTo>
                    <a:lnTo>
                      <a:pt x="269" y="233"/>
                    </a:lnTo>
                    <a:lnTo>
                      <a:pt x="297" y="244"/>
                    </a:lnTo>
                    <a:lnTo>
                      <a:pt x="297" y="244"/>
                    </a:lnTo>
                    <a:lnTo>
                      <a:pt x="282" y="213"/>
                    </a:lnTo>
                    <a:lnTo>
                      <a:pt x="269" y="182"/>
                    </a:lnTo>
                    <a:lnTo>
                      <a:pt x="269" y="182"/>
                    </a:lnTo>
                    <a:lnTo>
                      <a:pt x="241" y="169"/>
                    </a:lnTo>
                    <a:lnTo>
                      <a:pt x="212" y="153"/>
                    </a:lnTo>
                    <a:lnTo>
                      <a:pt x="212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1"/>
              <p:cNvSpPr>
                <a:spLocks/>
              </p:cNvSpPr>
              <p:nvPr/>
            </p:nvSpPr>
            <p:spPr bwMode="auto">
              <a:xfrm>
                <a:off x="2696" y="2296"/>
                <a:ext cx="29" cy="42"/>
              </a:xfrm>
              <a:custGeom>
                <a:avLst/>
                <a:gdLst>
                  <a:gd name="T0" fmla="*/ 24 w 57"/>
                  <a:gd name="T1" fmla="*/ 0 h 85"/>
                  <a:gd name="T2" fmla="*/ 24 w 57"/>
                  <a:gd name="T3" fmla="*/ 0 h 85"/>
                  <a:gd name="T4" fmla="*/ 0 w 57"/>
                  <a:gd name="T5" fmla="*/ 47 h 85"/>
                  <a:gd name="T6" fmla="*/ 0 w 57"/>
                  <a:gd name="T7" fmla="*/ 47 h 85"/>
                  <a:gd name="T8" fmla="*/ 35 w 57"/>
                  <a:gd name="T9" fmla="*/ 85 h 85"/>
                  <a:gd name="T10" fmla="*/ 35 w 57"/>
                  <a:gd name="T11" fmla="*/ 85 h 85"/>
                  <a:gd name="T12" fmla="*/ 57 w 57"/>
                  <a:gd name="T13" fmla="*/ 39 h 85"/>
                  <a:gd name="T14" fmla="*/ 57 w 57"/>
                  <a:gd name="T15" fmla="*/ 39 h 85"/>
                  <a:gd name="T16" fmla="*/ 24 w 57"/>
                  <a:gd name="T17" fmla="*/ 0 h 85"/>
                  <a:gd name="T18" fmla="*/ 24 w 57"/>
                  <a:gd name="T1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85">
                    <a:moveTo>
                      <a:pt x="24" y="0"/>
                    </a:moveTo>
                    <a:lnTo>
                      <a:pt x="24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35" y="85"/>
                    </a:lnTo>
                    <a:lnTo>
                      <a:pt x="35" y="85"/>
                    </a:lnTo>
                    <a:lnTo>
                      <a:pt x="57" y="39"/>
                    </a:lnTo>
                    <a:lnTo>
                      <a:pt x="57" y="39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3"/>
              <p:cNvSpPr>
                <a:spLocks/>
              </p:cNvSpPr>
              <p:nvPr/>
            </p:nvSpPr>
            <p:spPr bwMode="auto">
              <a:xfrm>
                <a:off x="3044" y="2088"/>
                <a:ext cx="165" cy="294"/>
              </a:xfrm>
              <a:custGeom>
                <a:avLst/>
                <a:gdLst>
                  <a:gd name="T0" fmla="*/ 60 w 328"/>
                  <a:gd name="T1" fmla="*/ 0 h 589"/>
                  <a:gd name="T2" fmla="*/ 60 w 328"/>
                  <a:gd name="T3" fmla="*/ 0 h 589"/>
                  <a:gd name="T4" fmla="*/ 0 w 328"/>
                  <a:gd name="T5" fmla="*/ 8 h 589"/>
                  <a:gd name="T6" fmla="*/ 0 w 328"/>
                  <a:gd name="T7" fmla="*/ 8 h 589"/>
                  <a:gd name="T8" fmla="*/ 14 w 328"/>
                  <a:gd name="T9" fmla="*/ 21 h 589"/>
                  <a:gd name="T10" fmla="*/ 14 w 328"/>
                  <a:gd name="T11" fmla="*/ 21 h 589"/>
                  <a:gd name="T12" fmla="*/ 49 w 328"/>
                  <a:gd name="T13" fmla="*/ 55 h 589"/>
                  <a:gd name="T14" fmla="*/ 81 w 328"/>
                  <a:gd name="T15" fmla="*/ 91 h 589"/>
                  <a:gd name="T16" fmla="*/ 111 w 328"/>
                  <a:gd name="T17" fmla="*/ 128 h 589"/>
                  <a:gd name="T18" fmla="*/ 137 w 328"/>
                  <a:gd name="T19" fmla="*/ 168 h 589"/>
                  <a:gd name="T20" fmla="*/ 162 w 328"/>
                  <a:gd name="T21" fmla="*/ 206 h 589"/>
                  <a:gd name="T22" fmla="*/ 183 w 328"/>
                  <a:gd name="T23" fmla="*/ 246 h 589"/>
                  <a:gd name="T24" fmla="*/ 204 w 328"/>
                  <a:gd name="T25" fmla="*/ 286 h 589"/>
                  <a:gd name="T26" fmla="*/ 221 w 328"/>
                  <a:gd name="T27" fmla="*/ 326 h 589"/>
                  <a:gd name="T28" fmla="*/ 236 w 328"/>
                  <a:gd name="T29" fmla="*/ 365 h 589"/>
                  <a:gd name="T30" fmla="*/ 250 w 328"/>
                  <a:gd name="T31" fmla="*/ 402 h 589"/>
                  <a:gd name="T32" fmla="*/ 261 w 328"/>
                  <a:gd name="T33" fmla="*/ 439 h 589"/>
                  <a:gd name="T34" fmla="*/ 271 w 328"/>
                  <a:gd name="T35" fmla="*/ 474 h 589"/>
                  <a:gd name="T36" fmla="*/ 287 w 328"/>
                  <a:gd name="T37" fmla="*/ 538 h 589"/>
                  <a:gd name="T38" fmla="*/ 296 w 328"/>
                  <a:gd name="T39" fmla="*/ 589 h 589"/>
                  <a:gd name="T40" fmla="*/ 296 w 328"/>
                  <a:gd name="T41" fmla="*/ 589 h 589"/>
                  <a:gd name="T42" fmla="*/ 314 w 328"/>
                  <a:gd name="T43" fmla="*/ 549 h 589"/>
                  <a:gd name="T44" fmla="*/ 328 w 328"/>
                  <a:gd name="T45" fmla="*/ 506 h 589"/>
                  <a:gd name="T46" fmla="*/ 328 w 328"/>
                  <a:gd name="T47" fmla="*/ 506 h 589"/>
                  <a:gd name="T48" fmla="*/ 314 w 328"/>
                  <a:gd name="T49" fmla="*/ 452 h 589"/>
                  <a:gd name="T50" fmla="*/ 296 w 328"/>
                  <a:gd name="T51" fmla="*/ 391 h 589"/>
                  <a:gd name="T52" fmla="*/ 285 w 328"/>
                  <a:gd name="T53" fmla="*/ 359 h 589"/>
                  <a:gd name="T54" fmla="*/ 272 w 328"/>
                  <a:gd name="T55" fmla="*/ 327 h 589"/>
                  <a:gd name="T56" fmla="*/ 260 w 328"/>
                  <a:gd name="T57" fmla="*/ 294 h 589"/>
                  <a:gd name="T58" fmla="*/ 244 w 328"/>
                  <a:gd name="T59" fmla="*/ 260 h 589"/>
                  <a:gd name="T60" fmla="*/ 226 w 328"/>
                  <a:gd name="T61" fmla="*/ 227 h 589"/>
                  <a:gd name="T62" fmla="*/ 209 w 328"/>
                  <a:gd name="T63" fmla="*/ 193 h 589"/>
                  <a:gd name="T64" fmla="*/ 188 w 328"/>
                  <a:gd name="T65" fmla="*/ 158 h 589"/>
                  <a:gd name="T66" fmla="*/ 167 w 328"/>
                  <a:gd name="T67" fmla="*/ 126 h 589"/>
                  <a:gd name="T68" fmla="*/ 143 w 328"/>
                  <a:gd name="T69" fmla="*/ 93 h 589"/>
                  <a:gd name="T70" fmla="*/ 118 w 328"/>
                  <a:gd name="T71" fmla="*/ 61 h 589"/>
                  <a:gd name="T72" fmla="*/ 91 w 328"/>
                  <a:gd name="T73" fmla="*/ 31 h 589"/>
                  <a:gd name="T74" fmla="*/ 60 w 328"/>
                  <a:gd name="T75" fmla="*/ 0 h 589"/>
                  <a:gd name="T76" fmla="*/ 60 w 328"/>
                  <a:gd name="T77" fmla="*/ 0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8" h="589">
                    <a:moveTo>
                      <a:pt x="60" y="0"/>
                    </a:moveTo>
                    <a:lnTo>
                      <a:pt x="60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49" y="55"/>
                    </a:lnTo>
                    <a:lnTo>
                      <a:pt x="81" y="91"/>
                    </a:lnTo>
                    <a:lnTo>
                      <a:pt x="111" y="128"/>
                    </a:lnTo>
                    <a:lnTo>
                      <a:pt x="137" y="168"/>
                    </a:lnTo>
                    <a:lnTo>
                      <a:pt x="162" y="206"/>
                    </a:lnTo>
                    <a:lnTo>
                      <a:pt x="183" y="246"/>
                    </a:lnTo>
                    <a:lnTo>
                      <a:pt x="204" y="286"/>
                    </a:lnTo>
                    <a:lnTo>
                      <a:pt x="221" y="326"/>
                    </a:lnTo>
                    <a:lnTo>
                      <a:pt x="236" y="365"/>
                    </a:lnTo>
                    <a:lnTo>
                      <a:pt x="250" y="402"/>
                    </a:lnTo>
                    <a:lnTo>
                      <a:pt x="261" y="439"/>
                    </a:lnTo>
                    <a:lnTo>
                      <a:pt x="271" y="474"/>
                    </a:lnTo>
                    <a:lnTo>
                      <a:pt x="287" y="538"/>
                    </a:lnTo>
                    <a:lnTo>
                      <a:pt x="296" y="589"/>
                    </a:lnTo>
                    <a:lnTo>
                      <a:pt x="296" y="589"/>
                    </a:lnTo>
                    <a:lnTo>
                      <a:pt x="314" y="549"/>
                    </a:lnTo>
                    <a:lnTo>
                      <a:pt x="328" y="506"/>
                    </a:lnTo>
                    <a:lnTo>
                      <a:pt x="328" y="506"/>
                    </a:lnTo>
                    <a:lnTo>
                      <a:pt x="314" y="452"/>
                    </a:lnTo>
                    <a:lnTo>
                      <a:pt x="296" y="391"/>
                    </a:lnTo>
                    <a:lnTo>
                      <a:pt x="285" y="359"/>
                    </a:lnTo>
                    <a:lnTo>
                      <a:pt x="272" y="327"/>
                    </a:lnTo>
                    <a:lnTo>
                      <a:pt x="260" y="294"/>
                    </a:lnTo>
                    <a:lnTo>
                      <a:pt x="244" y="260"/>
                    </a:lnTo>
                    <a:lnTo>
                      <a:pt x="226" y="227"/>
                    </a:lnTo>
                    <a:lnTo>
                      <a:pt x="209" y="193"/>
                    </a:lnTo>
                    <a:lnTo>
                      <a:pt x="188" y="158"/>
                    </a:lnTo>
                    <a:lnTo>
                      <a:pt x="167" y="126"/>
                    </a:lnTo>
                    <a:lnTo>
                      <a:pt x="143" y="93"/>
                    </a:lnTo>
                    <a:lnTo>
                      <a:pt x="118" y="61"/>
                    </a:lnTo>
                    <a:lnTo>
                      <a:pt x="91" y="31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4"/>
              <p:cNvSpPr>
                <a:spLocks/>
              </p:cNvSpPr>
              <p:nvPr/>
            </p:nvSpPr>
            <p:spPr bwMode="auto">
              <a:xfrm>
                <a:off x="2740" y="1964"/>
                <a:ext cx="161" cy="45"/>
              </a:xfrm>
              <a:custGeom>
                <a:avLst/>
                <a:gdLst>
                  <a:gd name="T0" fmla="*/ 322 w 322"/>
                  <a:gd name="T1" fmla="*/ 49 h 90"/>
                  <a:gd name="T2" fmla="*/ 322 w 322"/>
                  <a:gd name="T3" fmla="*/ 49 h 90"/>
                  <a:gd name="T4" fmla="*/ 287 w 322"/>
                  <a:gd name="T5" fmla="*/ 38 h 90"/>
                  <a:gd name="T6" fmla="*/ 253 w 322"/>
                  <a:gd name="T7" fmla="*/ 30 h 90"/>
                  <a:gd name="T8" fmla="*/ 188 w 322"/>
                  <a:gd name="T9" fmla="*/ 16 h 90"/>
                  <a:gd name="T10" fmla="*/ 129 w 322"/>
                  <a:gd name="T11" fmla="*/ 6 h 90"/>
                  <a:gd name="T12" fmla="*/ 78 w 322"/>
                  <a:gd name="T13" fmla="*/ 0 h 90"/>
                  <a:gd name="T14" fmla="*/ 78 w 322"/>
                  <a:gd name="T15" fmla="*/ 0 h 90"/>
                  <a:gd name="T16" fmla="*/ 38 w 322"/>
                  <a:gd name="T17" fmla="*/ 19 h 90"/>
                  <a:gd name="T18" fmla="*/ 0 w 322"/>
                  <a:gd name="T19" fmla="*/ 41 h 90"/>
                  <a:gd name="T20" fmla="*/ 0 w 322"/>
                  <a:gd name="T21" fmla="*/ 41 h 90"/>
                  <a:gd name="T22" fmla="*/ 51 w 322"/>
                  <a:gd name="T23" fmla="*/ 44 h 90"/>
                  <a:gd name="T24" fmla="*/ 82 w 322"/>
                  <a:gd name="T25" fmla="*/ 47 h 90"/>
                  <a:gd name="T26" fmla="*/ 119 w 322"/>
                  <a:gd name="T27" fmla="*/ 52 h 90"/>
                  <a:gd name="T28" fmla="*/ 159 w 322"/>
                  <a:gd name="T29" fmla="*/ 59 h 90"/>
                  <a:gd name="T30" fmla="*/ 202 w 322"/>
                  <a:gd name="T31" fmla="*/ 67 h 90"/>
                  <a:gd name="T32" fmla="*/ 248 w 322"/>
                  <a:gd name="T33" fmla="*/ 78 h 90"/>
                  <a:gd name="T34" fmla="*/ 295 w 322"/>
                  <a:gd name="T35" fmla="*/ 90 h 90"/>
                  <a:gd name="T36" fmla="*/ 295 w 322"/>
                  <a:gd name="T37" fmla="*/ 90 h 90"/>
                  <a:gd name="T38" fmla="*/ 322 w 322"/>
                  <a:gd name="T39" fmla="*/ 49 h 90"/>
                  <a:gd name="T40" fmla="*/ 322 w 322"/>
                  <a:gd name="T41" fmla="*/ 4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2" h="90">
                    <a:moveTo>
                      <a:pt x="322" y="49"/>
                    </a:moveTo>
                    <a:lnTo>
                      <a:pt x="322" y="49"/>
                    </a:lnTo>
                    <a:lnTo>
                      <a:pt x="287" y="38"/>
                    </a:lnTo>
                    <a:lnTo>
                      <a:pt x="253" y="30"/>
                    </a:lnTo>
                    <a:lnTo>
                      <a:pt x="188" y="16"/>
                    </a:lnTo>
                    <a:lnTo>
                      <a:pt x="129" y="6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38" y="19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1" y="44"/>
                    </a:lnTo>
                    <a:lnTo>
                      <a:pt x="82" y="47"/>
                    </a:lnTo>
                    <a:lnTo>
                      <a:pt x="119" y="52"/>
                    </a:lnTo>
                    <a:lnTo>
                      <a:pt x="159" y="59"/>
                    </a:lnTo>
                    <a:lnTo>
                      <a:pt x="202" y="67"/>
                    </a:lnTo>
                    <a:lnTo>
                      <a:pt x="248" y="78"/>
                    </a:lnTo>
                    <a:lnTo>
                      <a:pt x="295" y="90"/>
                    </a:lnTo>
                    <a:lnTo>
                      <a:pt x="295" y="90"/>
                    </a:lnTo>
                    <a:lnTo>
                      <a:pt x="322" y="49"/>
                    </a:lnTo>
                    <a:lnTo>
                      <a:pt x="322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5"/>
              <p:cNvSpPr>
                <a:spLocks/>
              </p:cNvSpPr>
              <p:nvPr/>
            </p:nvSpPr>
            <p:spPr bwMode="auto">
              <a:xfrm>
                <a:off x="2911" y="1996"/>
                <a:ext cx="140" cy="76"/>
              </a:xfrm>
              <a:custGeom>
                <a:avLst/>
                <a:gdLst>
                  <a:gd name="T0" fmla="*/ 216 w 279"/>
                  <a:gd name="T1" fmla="*/ 151 h 151"/>
                  <a:gd name="T2" fmla="*/ 216 w 279"/>
                  <a:gd name="T3" fmla="*/ 151 h 151"/>
                  <a:gd name="T4" fmla="*/ 279 w 279"/>
                  <a:gd name="T5" fmla="*/ 140 h 151"/>
                  <a:gd name="T6" fmla="*/ 279 w 279"/>
                  <a:gd name="T7" fmla="*/ 140 h 151"/>
                  <a:gd name="T8" fmla="*/ 249 w 279"/>
                  <a:gd name="T9" fmla="*/ 116 h 151"/>
                  <a:gd name="T10" fmla="*/ 219 w 279"/>
                  <a:gd name="T11" fmla="*/ 96 h 151"/>
                  <a:gd name="T12" fmla="*/ 187 w 279"/>
                  <a:gd name="T13" fmla="*/ 75 h 151"/>
                  <a:gd name="T14" fmla="*/ 155 w 279"/>
                  <a:gd name="T15" fmla="*/ 57 h 151"/>
                  <a:gd name="T16" fmla="*/ 123 w 279"/>
                  <a:gd name="T17" fmla="*/ 41 h 151"/>
                  <a:gd name="T18" fmla="*/ 90 w 279"/>
                  <a:gd name="T19" fmla="*/ 25 h 151"/>
                  <a:gd name="T20" fmla="*/ 58 w 279"/>
                  <a:gd name="T21" fmla="*/ 11 h 151"/>
                  <a:gd name="T22" fmla="*/ 26 w 279"/>
                  <a:gd name="T23" fmla="*/ 0 h 151"/>
                  <a:gd name="T24" fmla="*/ 26 w 279"/>
                  <a:gd name="T25" fmla="*/ 0 h 151"/>
                  <a:gd name="T26" fmla="*/ 0 w 279"/>
                  <a:gd name="T27" fmla="*/ 41 h 151"/>
                  <a:gd name="T28" fmla="*/ 0 w 279"/>
                  <a:gd name="T29" fmla="*/ 41 h 151"/>
                  <a:gd name="T30" fmla="*/ 55 w 279"/>
                  <a:gd name="T31" fmla="*/ 62 h 151"/>
                  <a:gd name="T32" fmla="*/ 82 w 279"/>
                  <a:gd name="T33" fmla="*/ 73 h 151"/>
                  <a:gd name="T34" fmla="*/ 109 w 279"/>
                  <a:gd name="T35" fmla="*/ 88 h 151"/>
                  <a:gd name="T36" fmla="*/ 136 w 279"/>
                  <a:gd name="T37" fmla="*/ 102 h 151"/>
                  <a:gd name="T38" fmla="*/ 163 w 279"/>
                  <a:gd name="T39" fmla="*/ 116 h 151"/>
                  <a:gd name="T40" fmla="*/ 190 w 279"/>
                  <a:gd name="T41" fmla="*/ 132 h 151"/>
                  <a:gd name="T42" fmla="*/ 216 w 279"/>
                  <a:gd name="T43" fmla="*/ 151 h 151"/>
                  <a:gd name="T44" fmla="*/ 216 w 279"/>
                  <a:gd name="T45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9" h="151">
                    <a:moveTo>
                      <a:pt x="216" y="151"/>
                    </a:moveTo>
                    <a:lnTo>
                      <a:pt x="216" y="151"/>
                    </a:lnTo>
                    <a:lnTo>
                      <a:pt x="279" y="140"/>
                    </a:lnTo>
                    <a:lnTo>
                      <a:pt x="279" y="140"/>
                    </a:lnTo>
                    <a:lnTo>
                      <a:pt x="249" y="116"/>
                    </a:lnTo>
                    <a:lnTo>
                      <a:pt x="219" y="96"/>
                    </a:lnTo>
                    <a:lnTo>
                      <a:pt x="187" y="75"/>
                    </a:lnTo>
                    <a:lnTo>
                      <a:pt x="155" y="57"/>
                    </a:lnTo>
                    <a:lnTo>
                      <a:pt x="123" y="41"/>
                    </a:lnTo>
                    <a:lnTo>
                      <a:pt x="90" y="25"/>
                    </a:lnTo>
                    <a:lnTo>
                      <a:pt x="58" y="1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5" y="62"/>
                    </a:lnTo>
                    <a:lnTo>
                      <a:pt x="82" y="73"/>
                    </a:lnTo>
                    <a:lnTo>
                      <a:pt x="109" y="88"/>
                    </a:lnTo>
                    <a:lnTo>
                      <a:pt x="136" y="102"/>
                    </a:lnTo>
                    <a:lnTo>
                      <a:pt x="163" y="116"/>
                    </a:lnTo>
                    <a:lnTo>
                      <a:pt x="190" y="132"/>
                    </a:lnTo>
                    <a:lnTo>
                      <a:pt x="216" y="151"/>
                    </a:lnTo>
                    <a:lnTo>
                      <a:pt x="216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6"/>
              <p:cNvSpPr>
                <a:spLocks/>
              </p:cNvSpPr>
              <p:nvPr/>
            </p:nvSpPr>
            <p:spPr bwMode="auto">
              <a:xfrm>
                <a:off x="3019" y="2067"/>
                <a:ext cx="56" cy="25"/>
              </a:xfrm>
              <a:custGeom>
                <a:avLst/>
                <a:gdLst>
                  <a:gd name="T0" fmla="*/ 63 w 111"/>
                  <a:gd name="T1" fmla="*/ 0 h 51"/>
                  <a:gd name="T2" fmla="*/ 63 w 111"/>
                  <a:gd name="T3" fmla="*/ 0 h 51"/>
                  <a:gd name="T4" fmla="*/ 0 w 111"/>
                  <a:gd name="T5" fmla="*/ 11 h 51"/>
                  <a:gd name="T6" fmla="*/ 0 w 111"/>
                  <a:gd name="T7" fmla="*/ 11 h 51"/>
                  <a:gd name="T8" fmla="*/ 25 w 111"/>
                  <a:gd name="T9" fmla="*/ 31 h 51"/>
                  <a:gd name="T10" fmla="*/ 51 w 111"/>
                  <a:gd name="T11" fmla="*/ 51 h 51"/>
                  <a:gd name="T12" fmla="*/ 51 w 111"/>
                  <a:gd name="T13" fmla="*/ 51 h 51"/>
                  <a:gd name="T14" fmla="*/ 111 w 111"/>
                  <a:gd name="T15" fmla="*/ 43 h 51"/>
                  <a:gd name="T16" fmla="*/ 111 w 111"/>
                  <a:gd name="T17" fmla="*/ 43 h 51"/>
                  <a:gd name="T18" fmla="*/ 97 w 111"/>
                  <a:gd name="T19" fmla="*/ 29 h 51"/>
                  <a:gd name="T20" fmla="*/ 97 w 111"/>
                  <a:gd name="T21" fmla="*/ 29 h 51"/>
                  <a:gd name="T22" fmla="*/ 63 w 111"/>
                  <a:gd name="T23" fmla="*/ 0 h 51"/>
                  <a:gd name="T24" fmla="*/ 63 w 111"/>
                  <a:gd name="T2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1" h="51">
                    <a:moveTo>
                      <a:pt x="63" y="0"/>
                    </a:moveTo>
                    <a:lnTo>
                      <a:pt x="63" y="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5" y="31"/>
                    </a:lnTo>
                    <a:lnTo>
                      <a:pt x="51" y="51"/>
                    </a:lnTo>
                    <a:lnTo>
                      <a:pt x="51" y="51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7"/>
              <p:cNvSpPr>
                <a:spLocks/>
              </p:cNvSpPr>
              <p:nvPr/>
            </p:nvSpPr>
            <p:spPr bwMode="auto">
              <a:xfrm>
                <a:off x="2887" y="1989"/>
                <a:ext cx="37" cy="28"/>
              </a:xfrm>
              <a:custGeom>
                <a:avLst/>
                <a:gdLst>
                  <a:gd name="T0" fmla="*/ 73 w 73"/>
                  <a:gd name="T1" fmla="*/ 16 h 57"/>
                  <a:gd name="T2" fmla="*/ 73 w 73"/>
                  <a:gd name="T3" fmla="*/ 16 h 57"/>
                  <a:gd name="T4" fmla="*/ 27 w 73"/>
                  <a:gd name="T5" fmla="*/ 0 h 57"/>
                  <a:gd name="T6" fmla="*/ 27 w 73"/>
                  <a:gd name="T7" fmla="*/ 0 h 57"/>
                  <a:gd name="T8" fmla="*/ 0 w 73"/>
                  <a:gd name="T9" fmla="*/ 41 h 57"/>
                  <a:gd name="T10" fmla="*/ 0 w 73"/>
                  <a:gd name="T11" fmla="*/ 41 h 57"/>
                  <a:gd name="T12" fmla="*/ 47 w 73"/>
                  <a:gd name="T13" fmla="*/ 57 h 57"/>
                  <a:gd name="T14" fmla="*/ 47 w 73"/>
                  <a:gd name="T15" fmla="*/ 57 h 57"/>
                  <a:gd name="T16" fmla="*/ 73 w 73"/>
                  <a:gd name="T17" fmla="*/ 16 h 57"/>
                  <a:gd name="T18" fmla="*/ 73 w 73"/>
                  <a:gd name="T19" fmla="*/ 1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57">
                    <a:moveTo>
                      <a:pt x="73" y="16"/>
                    </a:moveTo>
                    <a:lnTo>
                      <a:pt x="73" y="16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47" y="57"/>
                    </a:lnTo>
                    <a:lnTo>
                      <a:pt x="47" y="57"/>
                    </a:lnTo>
                    <a:lnTo>
                      <a:pt x="73" y="16"/>
                    </a:lnTo>
                    <a:lnTo>
                      <a:pt x="73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2"/>
              <p:cNvSpPr>
                <a:spLocks/>
              </p:cNvSpPr>
              <p:nvPr/>
            </p:nvSpPr>
            <p:spPr bwMode="auto">
              <a:xfrm>
                <a:off x="2848" y="2406"/>
                <a:ext cx="46" cy="42"/>
              </a:xfrm>
              <a:custGeom>
                <a:avLst/>
                <a:gdLst>
                  <a:gd name="T0" fmla="*/ 28 w 91"/>
                  <a:gd name="T1" fmla="*/ 62 h 82"/>
                  <a:gd name="T2" fmla="*/ 28 w 91"/>
                  <a:gd name="T3" fmla="*/ 62 h 82"/>
                  <a:gd name="T4" fmla="*/ 59 w 91"/>
                  <a:gd name="T5" fmla="*/ 73 h 82"/>
                  <a:gd name="T6" fmla="*/ 91 w 91"/>
                  <a:gd name="T7" fmla="*/ 82 h 82"/>
                  <a:gd name="T8" fmla="*/ 91 w 91"/>
                  <a:gd name="T9" fmla="*/ 82 h 82"/>
                  <a:gd name="T10" fmla="*/ 77 w 91"/>
                  <a:gd name="T11" fmla="*/ 54 h 82"/>
                  <a:gd name="T12" fmla="*/ 63 w 91"/>
                  <a:gd name="T13" fmla="*/ 25 h 82"/>
                  <a:gd name="T14" fmla="*/ 63 w 91"/>
                  <a:gd name="T15" fmla="*/ 25 h 82"/>
                  <a:gd name="T16" fmla="*/ 31 w 91"/>
                  <a:gd name="T17" fmla="*/ 12 h 82"/>
                  <a:gd name="T18" fmla="*/ 0 w 91"/>
                  <a:gd name="T19" fmla="*/ 0 h 82"/>
                  <a:gd name="T20" fmla="*/ 0 w 91"/>
                  <a:gd name="T21" fmla="*/ 0 h 82"/>
                  <a:gd name="T22" fmla="*/ 13 w 91"/>
                  <a:gd name="T23" fmla="*/ 31 h 82"/>
                  <a:gd name="T24" fmla="*/ 28 w 91"/>
                  <a:gd name="T25" fmla="*/ 62 h 82"/>
                  <a:gd name="T26" fmla="*/ 28 w 91"/>
                  <a:gd name="T27" fmla="*/ 6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1" h="82">
                    <a:moveTo>
                      <a:pt x="28" y="62"/>
                    </a:moveTo>
                    <a:lnTo>
                      <a:pt x="28" y="62"/>
                    </a:lnTo>
                    <a:lnTo>
                      <a:pt x="59" y="73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77" y="54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31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31"/>
                    </a:lnTo>
                    <a:lnTo>
                      <a:pt x="28" y="62"/>
                    </a:lnTo>
                    <a:lnTo>
                      <a:pt x="28" y="6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3"/>
              <p:cNvSpPr>
                <a:spLocks/>
              </p:cNvSpPr>
              <p:nvPr/>
            </p:nvSpPr>
            <p:spPr bwMode="auto">
              <a:xfrm>
                <a:off x="2834" y="2391"/>
                <a:ext cx="69" cy="66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147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250"/>
                            </p:stCondLst>
                            <p:childTnLst>
                              <p:par>
                                <p:cTn id="3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2" grpId="0" animBg="1"/>
      <p:bldP spid="30" grpId="0"/>
      <p:bldP spid="51" grpId="0"/>
      <p:bldP spid="5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747346" y="2178349"/>
            <a:ext cx="1936377" cy="2068336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buClr>
                <a:srgbClr val="005073"/>
              </a:buClr>
            </a:pPr>
            <a:endParaRPr lang="en-US" sz="12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r>
              <a:rPr lang="en-US" sz="1200" dirty="0" smtClean="0">
                <a:solidFill>
                  <a:srgbClr val="005073"/>
                </a:solidFill>
                <a:latin typeface="+mn-lt"/>
              </a:rPr>
              <a:t>Organization’s </a:t>
            </a:r>
            <a:r>
              <a:rPr lang="en-US" sz="1200" dirty="0">
                <a:solidFill>
                  <a:srgbClr val="005073"/>
                </a:solidFill>
                <a:latin typeface="+mn-lt"/>
              </a:rPr>
              <a:t>testing/development network environment targeted, which lacked security controls and </a:t>
            </a:r>
            <a:r>
              <a:rPr lang="en-US" sz="1200" dirty="0" smtClean="0">
                <a:solidFill>
                  <a:srgbClr val="005073"/>
                </a:solidFill>
                <a:latin typeface="+mn-lt"/>
              </a:rPr>
              <a:t>monitoring</a:t>
            </a:r>
            <a:endParaRPr lang="en-US" sz="12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05274" y="2178349"/>
            <a:ext cx="1936377" cy="2068336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buClr>
                <a:srgbClr val="005073"/>
              </a:buClr>
            </a:pPr>
            <a:endParaRPr lang="en-US" sz="12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r>
              <a:rPr lang="en-US" sz="1200" dirty="0" smtClean="0">
                <a:solidFill>
                  <a:srgbClr val="005073"/>
                </a:solidFill>
                <a:latin typeface="+mn-lt"/>
              </a:rPr>
              <a:t>Attackers </a:t>
            </a:r>
            <a:r>
              <a:rPr lang="en-US" sz="1200" dirty="0">
                <a:solidFill>
                  <a:srgbClr val="005073"/>
                </a:solidFill>
                <a:latin typeface="+mn-lt"/>
              </a:rPr>
              <a:t>maintained persistence in the environment for 5+ </a:t>
            </a:r>
            <a:r>
              <a:rPr lang="en-US" sz="1200" dirty="0" smtClean="0">
                <a:solidFill>
                  <a:srgbClr val="005073"/>
                </a:solidFill>
                <a:latin typeface="+mn-lt"/>
              </a:rPr>
              <a:t>months</a:t>
            </a:r>
            <a:endParaRPr lang="en-US" sz="12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863203" y="2172687"/>
            <a:ext cx="1933306" cy="2068336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buClr>
                <a:srgbClr val="005073"/>
              </a:buClr>
            </a:pPr>
            <a:endParaRPr lang="en-US" sz="12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r>
              <a:rPr lang="en-US" sz="1200" dirty="0" smtClean="0">
                <a:solidFill>
                  <a:srgbClr val="005073"/>
                </a:solidFill>
                <a:latin typeface="+mn-lt"/>
              </a:rPr>
              <a:t>C2 </a:t>
            </a:r>
            <a:r>
              <a:rPr lang="en-US" sz="1200" dirty="0">
                <a:solidFill>
                  <a:srgbClr val="005073"/>
                </a:solidFill>
                <a:latin typeface="+mn-lt"/>
              </a:rPr>
              <a:t>malware zero A/V detection rate, which was utilized for persistence into </a:t>
            </a:r>
            <a:r>
              <a:rPr lang="en-US" sz="1200" dirty="0" smtClean="0">
                <a:solidFill>
                  <a:srgbClr val="005073"/>
                </a:solidFill>
                <a:latin typeface="+mn-lt"/>
              </a:rPr>
              <a:t>environment</a:t>
            </a:r>
            <a:endParaRPr lang="en-US" sz="12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72926" y="2172687"/>
            <a:ext cx="1936377" cy="2068336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buClr>
                <a:srgbClr val="005073"/>
              </a:buClr>
            </a:pPr>
            <a:endParaRPr lang="en-US" sz="12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r>
              <a:rPr lang="en-US" sz="1200" dirty="0" smtClean="0">
                <a:solidFill>
                  <a:srgbClr val="005073"/>
                </a:solidFill>
                <a:latin typeface="+mn-lt"/>
              </a:rPr>
              <a:t>Targeted </a:t>
            </a:r>
            <a:r>
              <a:rPr lang="en-US" sz="1200" dirty="0">
                <a:solidFill>
                  <a:srgbClr val="005073"/>
                </a:solidFill>
                <a:latin typeface="+mn-lt"/>
              </a:rPr>
              <a:t>attack by a nation state actor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74350" y="2161404"/>
            <a:ext cx="1945518" cy="12777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746641" y="2169809"/>
            <a:ext cx="1945518" cy="12777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800703" y="2161404"/>
            <a:ext cx="1945518" cy="12777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54765" y="2152999"/>
            <a:ext cx="1945518" cy="127771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23" name="Round Same Side Corner Rectangle 22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04" y="439132"/>
            <a:ext cx="541250" cy="574327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 bwMode="auto">
          <a:xfrm>
            <a:off x="1235966" y="360378"/>
            <a:ext cx="7440862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200" b="0" i="0" u="none" kern="120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2pPr>
            <a:lvl3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3pPr>
            <a:lvl4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4pPr>
            <a:lvl5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5pPr>
            <a:lvl6pPr marL="457189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78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66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54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000" dirty="0" smtClean="0"/>
              <a:t>Making sure you’re prepared </a:t>
            </a:r>
            <a:r>
              <a:rPr lang="mr-IN" sz="2000" dirty="0" smtClean="0"/>
              <a:t>–</a:t>
            </a:r>
            <a:r>
              <a:rPr lang="en-US" sz="2000" dirty="0" smtClean="0"/>
              <a:t> maintain security</a:t>
            </a:r>
            <a:endParaRPr lang="en-US" sz="1800" dirty="0"/>
          </a:p>
        </p:txBody>
      </p:sp>
      <p:sp>
        <p:nvSpPr>
          <p:cNvPr id="42" name="Oval 41"/>
          <p:cNvSpPr>
            <a:spLocks noChangeArrowheads="1"/>
          </p:cNvSpPr>
          <p:nvPr/>
        </p:nvSpPr>
        <p:spPr bwMode="auto">
          <a:xfrm>
            <a:off x="1122946" y="1602754"/>
            <a:ext cx="1042416" cy="1042416"/>
          </a:xfrm>
          <a:prstGeom prst="ellipse">
            <a:avLst/>
          </a:prstGeom>
          <a:solidFill>
            <a:schemeClr val="accent6"/>
          </a:solidFill>
          <a:ln w="12700"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sp>
        <p:nvSpPr>
          <p:cNvPr id="43" name="Oval 42"/>
          <p:cNvSpPr>
            <a:spLocks noChangeArrowheads="1"/>
          </p:cNvSpPr>
          <p:nvPr/>
        </p:nvSpPr>
        <p:spPr bwMode="auto">
          <a:xfrm>
            <a:off x="3194326" y="1602754"/>
            <a:ext cx="1042416" cy="1042416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sp>
        <p:nvSpPr>
          <p:cNvPr id="44" name="Oval 43"/>
          <p:cNvSpPr>
            <a:spLocks noChangeArrowheads="1"/>
          </p:cNvSpPr>
          <p:nvPr/>
        </p:nvSpPr>
        <p:spPr bwMode="auto">
          <a:xfrm>
            <a:off x="5252254" y="1602754"/>
            <a:ext cx="1042416" cy="1042416"/>
          </a:xfrm>
          <a:prstGeom prst="ellipse">
            <a:avLst/>
          </a:prstGeom>
          <a:solidFill>
            <a:schemeClr val="accent2"/>
          </a:solidFill>
          <a:ln w="12700"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sp>
        <p:nvSpPr>
          <p:cNvPr id="45" name="Oval 44"/>
          <p:cNvSpPr>
            <a:spLocks noChangeArrowheads="1"/>
          </p:cNvSpPr>
          <p:nvPr/>
        </p:nvSpPr>
        <p:spPr bwMode="auto">
          <a:xfrm>
            <a:off x="7310182" y="1602754"/>
            <a:ext cx="1042416" cy="1042416"/>
          </a:xfrm>
          <a:prstGeom prst="ellipse">
            <a:avLst/>
          </a:prstGeom>
          <a:solidFill>
            <a:schemeClr val="accent5"/>
          </a:solidFill>
          <a:ln w="12700"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1429541" y="1824102"/>
            <a:ext cx="421930" cy="599720"/>
            <a:chOff x="5554136" y="2581656"/>
            <a:chExt cx="356616" cy="576072"/>
          </a:xfrm>
          <a:solidFill>
            <a:schemeClr val="bg1"/>
          </a:solidFill>
        </p:grpSpPr>
        <p:sp>
          <p:nvSpPr>
            <p:cNvPr id="48" name="Freeform 7"/>
            <p:cNvSpPr>
              <a:spLocks noEditPoints="1"/>
            </p:cNvSpPr>
            <p:nvPr/>
          </p:nvSpPr>
          <p:spPr bwMode="auto">
            <a:xfrm>
              <a:off x="5554136" y="2581656"/>
              <a:ext cx="356616" cy="576072"/>
            </a:xfrm>
            <a:custGeom>
              <a:avLst/>
              <a:gdLst>
                <a:gd name="T0" fmla="*/ 307 w 307"/>
                <a:gd name="T1" fmla="*/ 109 h 377"/>
                <a:gd name="T2" fmla="*/ 237 w 307"/>
                <a:gd name="T3" fmla="*/ 83 h 377"/>
                <a:gd name="T4" fmla="*/ 214 w 307"/>
                <a:gd name="T5" fmla="*/ 7 h 377"/>
                <a:gd name="T6" fmla="*/ 206 w 307"/>
                <a:gd name="T7" fmla="*/ 0 h 377"/>
                <a:gd name="T8" fmla="*/ 101 w 307"/>
                <a:gd name="T9" fmla="*/ 0 h 377"/>
                <a:gd name="T10" fmla="*/ 93 w 307"/>
                <a:gd name="T11" fmla="*/ 7 h 377"/>
                <a:gd name="T12" fmla="*/ 70 w 307"/>
                <a:gd name="T13" fmla="*/ 83 h 377"/>
                <a:gd name="T14" fmla="*/ 0 w 307"/>
                <a:gd name="T15" fmla="*/ 109 h 377"/>
                <a:gd name="T16" fmla="*/ 60 w 307"/>
                <a:gd name="T17" fmla="*/ 127 h 377"/>
                <a:gd name="T18" fmla="*/ 55 w 307"/>
                <a:gd name="T19" fmla="*/ 158 h 377"/>
                <a:gd name="T20" fmla="*/ 60 w 307"/>
                <a:gd name="T21" fmla="*/ 188 h 377"/>
                <a:gd name="T22" fmla="*/ 56 w 307"/>
                <a:gd name="T23" fmla="*/ 188 h 377"/>
                <a:gd name="T24" fmla="*/ 40 w 307"/>
                <a:gd name="T25" fmla="*/ 204 h 377"/>
                <a:gd name="T26" fmla="*/ 40 w 307"/>
                <a:gd name="T27" fmla="*/ 222 h 377"/>
                <a:gd name="T28" fmla="*/ 17 w 307"/>
                <a:gd name="T29" fmla="*/ 250 h 377"/>
                <a:gd name="T30" fmla="*/ 17 w 307"/>
                <a:gd name="T31" fmla="*/ 349 h 377"/>
                <a:gd name="T32" fmla="*/ 43 w 307"/>
                <a:gd name="T33" fmla="*/ 377 h 377"/>
                <a:gd name="T34" fmla="*/ 148 w 307"/>
                <a:gd name="T35" fmla="*/ 377 h 377"/>
                <a:gd name="T36" fmla="*/ 148 w 307"/>
                <a:gd name="T37" fmla="*/ 250 h 377"/>
                <a:gd name="T38" fmla="*/ 159 w 307"/>
                <a:gd name="T39" fmla="*/ 250 h 377"/>
                <a:gd name="T40" fmla="*/ 159 w 307"/>
                <a:gd name="T41" fmla="*/ 377 h 377"/>
                <a:gd name="T42" fmla="*/ 264 w 307"/>
                <a:gd name="T43" fmla="*/ 377 h 377"/>
                <a:gd name="T44" fmla="*/ 290 w 307"/>
                <a:gd name="T45" fmla="*/ 349 h 377"/>
                <a:gd name="T46" fmla="*/ 290 w 307"/>
                <a:gd name="T47" fmla="*/ 250 h 377"/>
                <a:gd name="T48" fmla="*/ 267 w 307"/>
                <a:gd name="T49" fmla="*/ 222 h 377"/>
                <a:gd name="T50" fmla="*/ 267 w 307"/>
                <a:gd name="T51" fmla="*/ 204 h 377"/>
                <a:gd name="T52" fmla="*/ 251 w 307"/>
                <a:gd name="T53" fmla="*/ 188 h 377"/>
                <a:gd name="T54" fmla="*/ 247 w 307"/>
                <a:gd name="T55" fmla="*/ 188 h 377"/>
                <a:gd name="T56" fmla="*/ 253 w 307"/>
                <a:gd name="T57" fmla="*/ 158 h 377"/>
                <a:gd name="T58" fmla="*/ 247 w 307"/>
                <a:gd name="T59" fmla="*/ 127 h 377"/>
                <a:gd name="T60" fmla="*/ 307 w 307"/>
                <a:gd name="T61" fmla="*/ 109 h 377"/>
                <a:gd name="T62" fmla="*/ 228 w 307"/>
                <a:gd name="T63" fmla="*/ 172 h 377"/>
                <a:gd name="T64" fmla="*/ 220 w 307"/>
                <a:gd name="T65" fmla="*/ 188 h 377"/>
                <a:gd name="T66" fmla="*/ 209 w 307"/>
                <a:gd name="T67" fmla="*/ 188 h 377"/>
                <a:gd name="T68" fmla="*/ 193 w 307"/>
                <a:gd name="T69" fmla="*/ 204 h 377"/>
                <a:gd name="T70" fmla="*/ 193 w 307"/>
                <a:gd name="T71" fmla="*/ 236 h 377"/>
                <a:gd name="T72" fmla="*/ 115 w 307"/>
                <a:gd name="T73" fmla="*/ 236 h 377"/>
                <a:gd name="T74" fmla="*/ 115 w 307"/>
                <a:gd name="T75" fmla="*/ 204 h 377"/>
                <a:gd name="T76" fmla="*/ 99 w 307"/>
                <a:gd name="T77" fmla="*/ 188 h 377"/>
                <a:gd name="T78" fmla="*/ 87 w 307"/>
                <a:gd name="T79" fmla="*/ 188 h 377"/>
                <a:gd name="T80" fmla="*/ 79 w 307"/>
                <a:gd name="T81" fmla="*/ 172 h 377"/>
                <a:gd name="T82" fmla="*/ 79 w 307"/>
                <a:gd name="T83" fmla="*/ 143 h 377"/>
                <a:gd name="T84" fmla="*/ 83 w 307"/>
                <a:gd name="T85" fmla="*/ 130 h 377"/>
                <a:gd name="T86" fmla="*/ 151 w 307"/>
                <a:gd name="T87" fmla="*/ 133 h 377"/>
                <a:gd name="T88" fmla="*/ 153 w 307"/>
                <a:gd name="T89" fmla="*/ 133 h 377"/>
                <a:gd name="T90" fmla="*/ 155 w 307"/>
                <a:gd name="T91" fmla="*/ 133 h 377"/>
                <a:gd name="T92" fmla="*/ 155 w 307"/>
                <a:gd name="T93" fmla="*/ 133 h 377"/>
                <a:gd name="T94" fmla="*/ 224 w 307"/>
                <a:gd name="T95" fmla="*/ 130 h 377"/>
                <a:gd name="T96" fmla="*/ 228 w 307"/>
                <a:gd name="T97" fmla="*/ 143 h 377"/>
                <a:gd name="T98" fmla="*/ 228 w 307"/>
                <a:gd name="T99" fmla="*/ 172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7" h="377">
                  <a:moveTo>
                    <a:pt x="307" y="109"/>
                  </a:moveTo>
                  <a:cubicBezTo>
                    <a:pt x="307" y="99"/>
                    <a:pt x="279" y="88"/>
                    <a:pt x="237" y="83"/>
                  </a:cubicBezTo>
                  <a:cubicBezTo>
                    <a:pt x="237" y="83"/>
                    <a:pt x="237" y="83"/>
                    <a:pt x="214" y="7"/>
                  </a:cubicBezTo>
                  <a:cubicBezTo>
                    <a:pt x="213" y="3"/>
                    <a:pt x="211" y="0"/>
                    <a:pt x="206" y="0"/>
                  </a:cubicBezTo>
                  <a:cubicBezTo>
                    <a:pt x="171" y="0"/>
                    <a:pt x="136" y="0"/>
                    <a:pt x="101" y="0"/>
                  </a:cubicBezTo>
                  <a:cubicBezTo>
                    <a:pt x="97" y="0"/>
                    <a:pt x="94" y="3"/>
                    <a:pt x="93" y="7"/>
                  </a:cubicBezTo>
                  <a:cubicBezTo>
                    <a:pt x="93" y="7"/>
                    <a:pt x="93" y="7"/>
                    <a:pt x="70" y="83"/>
                  </a:cubicBezTo>
                  <a:cubicBezTo>
                    <a:pt x="28" y="88"/>
                    <a:pt x="1" y="99"/>
                    <a:pt x="0" y="109"/>
                  </a:cubicBezTo>
                  <a:cubicBezTo>
                    <a:pt x="0" y="115"/>
                    <a:pt x="24" y="122"/>
                    <a:pt x="60" y="127"/>
                  </a:cubicBezTo>
                  <a:cubicBezTo>
                    <a:pt x="56" y="137"/>
                    <a:pt x="55" y="147"/>
                    <a:pt x="55" y="158"/>
                  </a:cubicBezTo>
                  <a:cubicBezTo>
                    <a:pt x="55" y="168"/>
                    <a:pt x="56" y="179"/>
                    <a:pt x="60" y="188"/>
                  </a:cubicBezTo>
                  <a:cubicBezTo>
                    <a:pt x="60" y="188"/>
                    <a:pt x="60" y="188"/>
                    <a:pt x="56" y="188"/>
                  </a:cubicBezTo>
                  <a:cubicBezTo>
                    <a:pt x="47" y="188"/>
                    <a:pt x="40" y="195"/>
                    <a:pt x="40" y="204"/>
                  </a:cubicBezTo>
                  <a:cubicBezTo>
                    <a:pt x="40" y="204"/>
                    <a:pt x="40" y="204"/>
                    <a:pt x="40" y="222"/>
                  </a:cubicBezTo>
                  <a:cubicBezTo>
                    <a:pt x="28" y="223"/>
                    <a:pt x="17" y="235"/>
                    <a:pt x="17" y="250"/>
                  </a:cubicBezTo>
                  <a:cubicBezTo>
                    <a:pt x="17" y="250"/>
                    <a:pt x="17" y="250"/>
                    <a:pt x="17" y="349"/>
                  </a:cubicBezTo>
                  <a:cubicBezTo>
                    <a:pt x="17" y="364"/>
                    <a:pt x="29" y="377"/>
                    <a:pt x="43" y="377"/>
                  </a:cubicBezTo>
                  <a:cubicBezTo>
                    <a:pt x="43" y="377"/>
                    <a:pt x="43" y="377"/>
                    <a:pt x="148" y="377"/>
                  </a:cubicBezTo>
                  <a:cubicBezTo>
                    <a:pt x="148" y="377"/>
                    <a:pt x="148" y="377"/>
                    <a:pt x="148" y="250"/>
                  </a:cubicBezTo>
                  <a:cubicBezTo>
                    <a:pt x="151" y="250"/>
                    <a:pt x="155" y="250"/>
                    <a:pt x="159" y="250"/>
                  </a:cubicBezTo>
                  <a:cubicBezTo>
                    <a:pt x="159" y="250"/>
                    <a:pt x="159" y="250"/>
                    <a:pt x="159" y="377"/>
                  </a:cubicBezTo>
                  <a:cubicBezTo>
                    <a:pt x="159" y="377"/>
                    <a:pt x="159" y="377"/>
                    <a:pt x="264" y="377"/>
                  </a:cubicBezTo>
                  <a:cubicBezTo>
                    <a:pt x="278" y="377"/>
                    <a:pt x="290" y="364"/>
                    <a:pt x="290" y="349"/>
                  </a:cubicBezTo>
                  <a:cubicBezTo>
                    <a:pt x="290" y="349"/>
                    <a:pt x="290" y="349"/>
                    <a:pt x="290" y="250"/>
                  </a:cubicBezTo>
                  <a:cubicBezTo>
                    <a:pt x="290" y="235"/>
                    <a:pt x="280" y="223"/>
                    <a:pt x="267" y="222"/>
                  </a:cubicBezTo>
                  <a:cubicBezTo>
                    <a:pt x="267" y="222"/>
                    <a:pt x="267" y="222"/>
                    <a:pt x="267" y="204"/>
                  </a:cubicBezTo>
                  <a:cubicBezTo>
                    <a:pt x="267" y="195"/>
                    <a:pt x="260" y="188"/>
                    <a:pt x="251" y="188"/>
                  </a:cubicBezTo>
                  <a:cubicBezTo>
                    <a:pt x="251" y="188"/>
                    <a:pt x="251" y="188"/>
                    <a:pt x="247" y="188"/>
                  </a:cubicBezTo>
                  <a:cubicBezTo>
                    <a:pt x="251" y="179"/>
                    <a:pt x="253" y="168"/>
                    <a:pt x="253" y="158"/>
                  </a:cubicBezTo>
                  <a:cubicBezTo>
                    <a:pt x="253" y="147"/>
                    <a:pt x="251" y="137"/>
                    <a:pt x="247" y="127"/>
                  </a:cubicBezTo>
                  <a:cubicBezTo>
                    <a:pt x="284" y="122"/>
                    <a:pt x="307" y="115"/>
                    <a:pt x="307" y="109"/>
                  </a:cubicBezTo>
                  <a:close/>
                  <a:moveTo>
                    <a:pt x="228" y="172"/>
                  </a:moveTo>
                  <a:cubicBezTo>
                    <a:pt x="228" y="179"/>
                    <a:pt x="224" y="185"/>
                    <a:pt x="220" y="188"/>
                  </a:cubicBezTo>
                  <a:cubicBezTo>
                    <a:pt x="220" y="188"/>
                    <a:pt x="220" y="188"/>
                    <a:pt x="209" y="188"/>
                  </a:cubicBezTo>
                  <a:cubicBezTo>
                    <a:pt x="200" y="188"/>
                    <a:pt x="193" y="195"/>
                    <a:pt x="193" y="204"/>
                  </a:cubicBezTo>
                  <a:cubicBezTo>
                    <a:pt x="193" y="204"/>
                    <a:pt x="193" y="204"/>
                    <a:pt x="193" y="236"/>
                  </a:cubicBezTo>
                  <a:cubicBezTo>
                    <a:pt x="170" y="249"/>
                    <a:pt x="137" y="249"/>
                    <a:pt x="115" y="236"/>
                  </a:cubicBezTo>
                  <a:cubicBezTo>
                    <a:pt x="115" y="236"/>
                    <a:pt x="115" y="236"/>
                    <a:pt x="115" y="204"/>
                  </a:cubicBezTo>
                  <a:cubicBezTo>
                    <a:pt x="115" y="195"/>
                    <a:pt x="108" y="188"/>
                    <a:pt x="99" y="188"/>
                  </a:cubicBezTo>
                  <a:cubicBezTo>
                    <a:pt x="99" y="188"/>
                    <a:pt x="99" y="188"/>
                    <a:pt x="87" y="188"/>
                  </a:cubicBezTo>
                  <a:cubicBezTo>
                    <a:pt x="82" y="185"/>
                    <a:pt x="79" y="179"/>
                    <a:pt x="79" y="172"/>
                  </a:cubicBezTo>
                  <a:cubicBezTo>
                    <a:pt x="79" y="172"/>
                    <a:pt x="79" y="172"/>
                    <a:pt x="79" y="143"/>
                  </a:cubicBezTo>
                  <a:cubicBezTo>
                    <a:pt x="79" y="138"/>
                    <a:pt x="81" y="134"/>
                    <a:pt x="83" y="130"/>
                  </a:cubicBezTo>
                  <a:cubicBezTo>
                    <a:pt x="104" y="132"/>
                    <a:pt x="127" y="133"/>
                    <a:pt x="151" y="133"/>
                  </a:cubicBezTo>
                  <a:cubicBezTo>
                    <a:pt x="151" y="133"/>
                    <a:pt x="151" y="133"/>
                    <a:pt x="153" y="133"/>
                  </a:cubicBezTo>
                  <a:cubicBezTo>
                    <a:pt x="153" y="133"/>
                    <a:pt x="153" y="133"/>
                    <a:pt x="155" y="133"/>
                  </a:cubicBezTo>
                  <a:cubicBezTo>
                    <a:pt x="155" y="133"/>
                    <a:pt x="155" y="133"/>
                    <a:pt x="155" y="133"/>
                  </a:cubicBezTo>
                  <a:cubicBezTo>
                    <a:pt x="180" y="133"/>
                    <a:pt x="204" y="132"/>
                    <a:pt x="224" y="130"/>
                  </a:cubicBezTo>
                  <a:cubicBezTo>
                    <a:pt x="227" y="134"/>
                    <a:pt x="228" y="138"/>
                    <a:pt x="228" y="143"/>
                  </a:cubicBezTo>
                  <a:cubicBezTo>
                    <a:pt x="228" y="143"/>
                    <a:pt x="228" y="143"/>
                    <a:pt x="228" y="172"/>
                  </a:cubicBezTo>
                  <a:close/>
                </a:path>
              </a:pathLst>
            </a:custGeom>
            <a:grp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431"/>
              <a:endParaRPr lang="en-US" sz="2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9" name="Freeform 8"/>
            <p:cNvSpPr>
              <a:spLocks/>
            </p:cNvSpPr>
            <p:nvPr/>
          </p:nvSpPr>
          <p:spPr bwMode="auto">
            <a:xfrm>
              <a:off x="5670221" y="2798249"/>
              <a:ext cx="49680" cy="58189"/>
            </a:xfrm>
            <a:custGeom>
              <a:avLst/>
              <a:gdLst>
                <a:gd name="T0" fmla="*/ 5 w 43"/>
                <a:gd name="T1" fmla="*/ 0 h 38"/>
                <a:gd name="T2" fmla="*/ 33 w 43"/>
                <a:gd name="T3" fmla="*/ 0 h 38"/>
                <a:gd name="T4" fmla="*/ 43 w 43"/>
                <a:gd name="T5" fmla="*/ 12 h 38"/>
                <a:gd name="T6" fmla="*/ 43 w 43"/>
                <a:gd name="T7" fmla="*/ 25 h 38"/>
                <a:gd name="T8" fmla="*/ 30 w 43"/>
                <a:gd name="T9" fmla="*/ 38 h 38"/>
                <a:gd name="T10" fmla="*/ 13 w 43"/>
                <a:gd name="T11" fmla="*/ 38 h 38"/>
                <a:gd name="T12" fmla="*/ 0 w 43"/>
                <a:gd name="T13" fmla="*/ 25 h 38"/>
                <a:gd name="T14" fmla="*/ 0 w 43"/>
                <a:gd name="T15" fmla="*/ 3 h 38"/>
                <a:gd name="T16" fmla="*/ 1 w 43"/>
                <a:gd name="T17" fmla="*/ 0 h 38"/>
                <a:gd name="T18" fmla="*/ 4 w 43"/>
                <a:gd name="T19" fmla="*/ 0 h 38"/>
                <a:gd name="T20" fmla="*/ 5 w 43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38">
                  <a:moveTo>
                    <a:pt x="5" y="0"/>
                  </a:moveTo>
                  <a:cubicBezTo>
                    <a:pt x="14" y="0"/>
                    <a:pt x="24" y="0"/>
                    <a:pt x="33" y="0"/>
                  </a:cubicBezTo>
                  <a:cubicBezTo>
                    <a:pt x="43" y="0"/>
                    <a:pt x="43" y="3"/>
                    <a:pt x="43" y="12"/>
                  </a:cubicBezTo>
                  <a:cubicBezTo>
                    <a:pt x="43" y="12"/>
                    <a:pt x="43" y="23"/>
                    <a:pt x="43" y="25"/>
                  </a:cubicBezTo>
                  <a:cubicBezTo>
                    <a:pt x="43" y="32"/>
                    <a:pt x="37" y="38"/>
                    <a:pt x="30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5" y="38"/>
                    <a:pt x="0" y="32"/>
                    <a:pt x="0" y="25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lose/>
                </a:path>
              </a:pathLst>
            </a:custGeom>
            <a:grp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431"/>
              <a:endParaRPr lang="en-US" sz="2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" name="Freeform 9"/>
            <p:cNvSpPr>
              <a:spLocks/>
            </p:cNvSpPr>
            <p:nvPr/>
          </p:nvSpPr>
          <p:spPr bwMode="auto">
            <a:xfrm>
              <a:off x="5747938" y="2798249"/>
              <a:ext cx="53616" cy="58189"/>
            </a:xfrm>
            <a:custGeom>
              <a:avLst/>
              <a:gdLst>
                <a:gd name="T0" fmla="*/ 11 w 46"/>
                <a:gd name="T1" fmla="*/ 0 h 38"/>
                <a:gd name="T2" fmla="*/ 41 w 46"/>
                <a:gd name="T3" fmla="*/ 0 h 38"/>
                <a:gd name="T4" fmla="*/ 41 w 46"/>
                <a:gd name="T5" fmla="*/ 0 h 38"/>
                <a:gd name="T6" fmla="*/ 44 w 46"/>
                <a:gd name="T7" fmla="*/ 0 h 38"/>
                <a:gd name="T8" fmla="*/ 46 w 46"/>
                <a:gd name="T9" fmla="*/ 3 h 38"/>
                <a:gd name="T10" fmla="*/ 46 w 46"/>
                <a:gd name="T11" fmla="*/ 25 h 38"/>
                <a:gd name="T12" fmla="*/ 33 w 46"/>
                <a:gd name="T13" fmla="*/ 38 h 38"/>
                <a:gd name="T14" fmla="*/ 15 w 46"/>
                <a:gd name="T15" fmla="*/ 38 h 38"/>
                <a:gd name="T16" fmla="*/ 2 w 46"/>
                <a:gd name="T17" fmla="*/ 25 h 38"/>
                <a:gd name="T18" fmla="*/ 2 w 46"/>
                <a:gd name="T19" fmla="*/ 11 h 38"/>
                <a:gd name="T20" fmla="*/ 11 w 46"/>
                <a:gd name="T2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38">
                  <a:moveTo>
                    <a:pt x="11" y="0"/>
                  </a:moveTo>
                  <a:cubicBezTo>
                    <a:pt x="41" y="0"/>
                    <a:pt x="41" y="0"/>
                    <a:pt x="41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6" y="0"/>
                    <a:pt x="46" y="1"/>
                    <a:pt x="46" y="3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32"/>
                    <a:pt x="40" y="38"/>
                    <a:pt x="33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8" y="38"/>
                    <a:pt x="3" y="32"/>
                    <a:pt x="2" y="2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3"/>
                    <a:pt x="0" y="0"/>
                    <a:pt x="11" y="0"/>
                  </a:cubicBezTo>
                  <a:close/>
                </a:path>
              </a:pathLst>
            </a:custGeom>
            <a:grp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431"/>
              <a:endParaRPr lang="en-US" sz="24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6282" y="1731961"/>
            <a:ext cx="792982" cy="792982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5510469" y="1853577"/>
            <a:ext cx="507697" cy="512064"/>
            <a:chOff x="7848600" y="3161848"/>
            <a:chExt cx="661949" cy="661949"/>
          </a:xfrm>
        </p:grpSpPr>
        <p:sp>
          <p:nvSpPr>
            <p:cNvPr id="19" name="Oval 18"/>
            <p:cNvSpPr/>
            <p:nvPr/>
          </p:nvSpPr>
          <p:spPr>
            <a:xfrm>
              <a:off x="7848600" y="3161848"/>
              <a:ext cx="661949" cy="661949"/>
            </a:xfrm>
            <a:prstGeom prst="ellipse">
              <a:avLst/>
            </a:prstGeom>
            <a:noFill/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cxnSp>
          <p:nvCxnSpPr>
            <p:cNvPr id="20" name="Straight Connector 19"/>
            <p:cNvCxnSpPr/>
            <p:nvPr/>
          </p:nvCxnSpPr>
          <p:spPr>
            <a:xfrm>
              <a:off x="8159750" y="3289300"/>
              <a:ext cx="0" cy="238454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8160524" y="3518229"/>
              <a:ext cx="164326" cy="83099"/>
            </a:xfrm>
            <a:prstGeom prst="line">
              <a:avLst/>
            </a:prstGeom>
            <a:ln w="190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Freeform 21"/>
          <p:cNvSpPr>
            <a:spLocks noEditPoints="1"/>
          </p:cNvSpPr>
          <p:nvPr/>
        </p:nvSpPr>
        <p:spPr bwMode="auto">
          <a:xfrm>
            <a:off x="7536412" y="1897433"/>
            <a:ext cx="586888" cy="453057"/>
          </a:xfrm>
          <a:custGeom>
            <a:avLst/>
            <a:gdLst/>
            <a:ahLst/>
            <a:cxnLst>
              <a:cxn ang="0">
                <a:pos x="139" y="218"/>
              </a:cxn>
              <a:cxn ang="0">
                <a:pos x="185" y="230"/>
              </a:cxn>
              <a:cxn ang="0">
                <a:pos x="189" y="232"/>
              </a:cxn>
              <a:cxn ang="0">
                <a:pos x="216" y="256"/>
              </a:cxn>
              <a:cxn ang="0">
                <a:pos x="223" y="251"/>
              </a:cxn>
              <a:cxn ang="0">
                <a:pos x="221" y="240"/>
              </a:cxn>
              <a:cxn ang="0">
                <a:pos x="248" y="207"/>
              </a:cxn>
              <a:cxn ang="0">
                <a:pos x="248" y="199"/>
              </a:cxn>
              <a:cxn ang="0">
                <a:pos x="241" y="12"/>
              </a:cxn>
              <a:cxn ang="0">
                <a:pos x="241" y="0"/>
              </a:cxn>
              <a:cxn ang="0">
                <a:pos x="136" y="173"/>
              </a:cxn>
              <a:cxn ang="0">
                <a:pos x="38" y="355"/>
              </a:cxn>
              <a:cxn ang="0">
                <a:pos x="52" y="347"/>
              </a:cxn>
              <a:cxn ang="0">
                <a:pos x="139" y="218"/>
              </a:cxn>
              <a:cxn ang="0">
                <a:pos x="188" y="149"/>
              </a:cxn>
              <a:cxn ang="0">
                <a:pos x="318" y="148"/>
              </a:cxn>
              <a:cxn ang="0">
                <a:pos x="329" y="128"/>
              </a:cxn>
              <a:cxn ang="0">
                <a:pos x="180" y="128"/>
              </a:cxn>
              <a:cxn ang="0">
                <a:pos x="188" y="149"/>
              </a:cxn>
              <a:cxn ang="0">
                <a:pos x="122" y="235"/>
              </a:cxn>
              <a:cxn ang="0">
                <a:pos x="201" y="362"/>
              </a:cxn>
              <a:cxn ang="0">
                <a:pos x="213" y="342"/>
              </a:cxn>
              <a:cxn ang="0">
                <a:pos x="142" y="233"/>
              </a:cxn>
              <a:cxn ang="0">
                <a:pos x="122" y="235"/>
              </a:cxn>
              <a:cxn ang="0">
                <a:pos x="274" y="319"/>
              </a:cxn>
              <a:cxn ang="0">
                <a:pos x="286" y="268"/>
              </a:cxn>
              <a:cxn ang="0">
                <a:pos x="277" y="263"/>
              </a:cxn>
              <a:cxn ang="0">
                <a:pos x="254" y="272"/>
              </a:cxn>
              <a:cxn ang="0">
                <a:pos x="229" y="261"/>
              </a:cxn>
              <a:cxn ang="0">
                <a:pos x="222" y="266"/>
              </a:cxn>
              <a:cxn ang="0">
                <a:pos x="232" y="319"/>
              </a:cxn>
              <a:cxn ang="0">
                <a:pos x="139" y="406"/>
              </a:cxn>
              <a:cxn ang="0">
                <a:pos x="63" y="367"/>
              </a:cxn>
              <a:cxn ang="0">
                <a:pos x="50" y="375"/>
              </a:cxn>
              <a:cxn ang="0">
                <a:pos x="151" y="426"/>
              </a:cxn>
              <a:cxn ang="0">
                <a:pos x="254" y="371"/>
              </a:cxn>
              <a:cxn ang="0">
                <a:pos x="455" y="375"/>
              </a:cxn>
              <a:cxn ang="0">
                <a:pos x="443" y="369"/>
              </a:cxn>
              <a:cxn ang="0">
                <a:pos x="274" y="319"/>
              </a:cxn>
              <a:cxn ang="0">
                <a:pos x="369" y="173"/>
              </a:cxn>
              <a:cxn ang="0">
                <a:pos x="266" y="0"/>
              </a:cxn>
              <a:cxn ang="0">
                <a:pos x="266" y="12"/>
              </a:cxn>
              <a:cxn ang="0">
                <a:pos x="260" y="199"/>
              </a:cxn>
              <a:cxn ang="0">
                <a:pos x="260" y="207"/>
              </a:cxn>
              <a:cxn ang="0">
                <a:pos x="287" y="240"/>
              </a:cxn>
              <a:cxn ang="0">
                <a:pos x="285" y="252"/>
              </a:cxn>
              <a:cxn ang="0">
                <a:pos x="292" y="256"/>
              </a:cxn>
              <a:cxn ang="0">
                <a:pos x="369" y="217"/>
              </a:cxn>
              <a:cxn ang="0">
                <a:pos x="455" y="347"/>
              </a:cxn>
              <a:cxn ang="0">
                <a:pos x="469" y="355"/>
              </a:cxn>
              <a:cxn ang="0">
                <a:pos x="369" y="173"/>
              </a:cxn>
              <a:cxn ang="0">
                <a:pos x="297" y="342"/>
              </a:cxn>
              <a:cxn ang="0">
                <a:pos x="307" y="362"/>
              </a:cxn>
              <a:cxn ang="0">
                <a:pos x="388" y="234"/>
              </a:cxn>
              <a:cxn ang="0">
                <a:pos x="366" y="232"/>
              </a:cxn>
              <a:cxn ang="0">
                <a:pos x="297" y="342"/>
              </a:cxn>
            </a:cxnLst>
            <a:rect l="0" t="0" r="r" b="b"/>
            <a:pathLst>
              <a:path w="507" h="444">
                <a:moveTo>
                  <a:pt x="139" y="218"/>
                </a:moveTo>
                <a:cubicBezTo>
                  <a:pt x="155" y="218"/>
                  <a:pt x="171" y="222"/>
                  <a:pt x="185" y="230"/>
                </a:cubicBezTo>
                <a:cubicBezTo>
                  <a:pt x="187" y="232"/>
                  <a:pt x="189" y="232"/>
                  <a:pt x="189" y="232"/>
                </a:cubicBezTo>
                <a:cubicBezTo>
                  <a:pt x="201" y="240"/>
                  <a:pt x="209" y="248"/>
                  <a:pt x="216" y="256"/>
                </a:cubicBezTo>
                <a:cubicBezTo>
                  <a:pt x="223" y="251"/>
                  <a:pt x="223" y="251"/>
                  <a:pt x="223" y="251"/>
                </a:cubicBezTo>
                <a:cubicBezTo>
                  <a:pt x="222" y="247"/>
                  <a:pt x="221" y="243"/>
                  <a:pt x="221" y="240"/>
                </a:cubicBezTo>
                <a:cubicBezTo>
                  <a:pt x="221" y="224"/>
                  <a:pt x="233" y="210"/>
                  <a:pt x="248" y="207"/>
                </a:cubicBezTo>
                <a:cubicBezTo>
                  <a:pt x="248" y="199"/>
                  <a:pt x="248" y="199"/>
                  <a:pt x="248" y="199"/>
                </a:cubicBezTo>
                <a:cubicBezTo>
                  <a:pt x="136" y="190"/>
                  <a:pt x="128" y="22"/>
                  <a:pt x="241" y="12"/>
                </a:cubicBezTo>
                <a:cubicBezTo>
                  <a:pt x="241" y="0"/>
                  <a:pt x="241" y="0"/>
                  <a:pt x="241" y="0"/>
                </a:cubicBezTo>
                <a:cubicBezTo>
                  <a:pt x="156" y="6"/>
                  <a:pt x="104" y="98"/>
                  <a:pt x="136" y="173"/>
                </a:cubicBezTo>
                <a:cubicBezTo>
                  <a:pt x="46" y="182"/>
                  <a:pt x="0" y="278"/>
                  <a:pt x="38" y="355"/>
                </a:cubicBezTo>
                <a:cubicBezTo>
                  <a:pt x="52" y="347"/>
                  <a:pt x="52" y="347"/>
                  <a:pt x="52" y="347"/>
                </a:cubicBezTo>
                <a:cubicBezTo>
                  <a:pt x="18" y="290"/>
                  <a:pt x="77" y="218"/>
                  <a:pt x="139" y="218"/>
                </a:cubicBezTo>
                <a:close/>
                <a:moveTo>
                  <a:pt x="188" y="149"/>
                </a:moveTo>
                <a:cubicBezTo>
                  <a:pt x="227" y="118"/>
                  <a:pt x="280" y="118"/>
                  <a:pt x="318" y="148"/>
                </a:cubicBezTo>
                <a:cubicBezTo>
                  <a:pt x="323" y="142"/>
                  <a:pt x="327" y="136"/>
                  <a:pt x="329" y="128"/>
                </a:cubicBezTo>
                <a:cubicBezTo>
                  <a:pt x="283" y="96"/>
                  <a:pt x="225" y="96"/>
                  <a:pt x="180" y="128"/>
                </a:cubicBezTo>
                <a:cubicBezTo>
                  <a:pt x="182" y="139"/>
                  <a:pt x="184" y="143"/>
                  <a:pt x="188" y="149"/>
                </a:cubicBezTo>
                <a:close/>
                <a:moveTo>
                  <a:pt x="122" y="235"/>
                </a:moveTo>
                <a:cubicBezTo>
                  <a:pt x="120" y="289"/>
                  <a:pt x="150" y="340"/>
                  <a:pt x="201" y="362"/>
                </a:cubicBezTo>
                <a:cubicBezTo>
                  <a:pt x="205" y="356"/>
                  <a:pt x="209" y="350"/>
                  <a:pt x="213" y="342"/>
                </a:cubicBezTo>
                <a:cubicBezTo>
                  <a:pt x="168" y="324"/>
                  <a:pt x="140" y="279"/>
                  <a:pt x="142" y="233"/>
                </a:cubicBezTo>
                <a:cubicBezTo>
                  <a:pt x="136" y="233"/>
                  <a:pt x="128" y="233"/>
                  <a:pt x="122" y="235"/>
                </a:cubicBezTo>
                <a:close/>
                <a:moveTo>
                  <a:pt x="274" y="319"/>
                </a:moveTo>
                <a:cubicBezTo>
                  <a:pt x="273" y="296"/>
                  <a:pt x="274" y="288"/>
                  <a:pt x="286" y="268"/>
                </a:cubicBezTo>
                <a:cubicBezTo>
                  <a:pt x="277" y="263"/>
                  <a:pt x="277" y="263"/>
                  <a:pt x="277" y="263"/>
                </a:cubicBezTo>
                <a:cubicBezTo>
                  <a:pt x="271" y="269"/>
                  <a:pt x="263" y="272"/>
                  <a:pt x="254" y="272"/>
                </a:cubicBezTo>
                <a:cubicBezTo>
                  <a:pt x="244" y="272"/>
                  <a:pt x="235" y="268"/>
                  <a:pt x="229" y="261"/>
                </a:cubicBezTo>
                <a:cubicBezTo>
                  <a:pt x="222" y="266"/>
                  <a:pt x="222" y="266"/>
                  <a:pt x="222" y="266"/>
                </a:cubicBezTo>
                <a:cubicBezTo>
                  <a:pt x="230" y="282"/>
                  <a:pt x="232" y="299"/>
                  <a:pt x="232" y="319"/>
                </a:cubicBezTo>
                <a:cubicBezTo>
                  <a:pt x="230" y="367"/>
                  <a:pt x="187" y="406"/>
                  <a:pt x="139" y="406"/>
                </a:cubicBezTo>
                <a:cubicBezTo>
                  <a:pt x="107" y="406"/>
                  <a:pt x="81" y="391"/>
                  <a:pt x="63" y="367"/>
                </a:cubicBezTo>
                <a:cubicBezTo>
                  <a:pt x="50" y="375"/>
                  <a:pt x="50" y="375"/>
                  <a:pt x="50" y="375"/>
                </a:cubicBezTo>
                <a:cubicBezTo>
                  <a:pt x="73" y="405"/>
                  <a:pt x="111" y="426"/>
                  <a:pt x="151" y="426"/>
                </a:cubicBezTo>
                <a:cubicBezTo>
                  <a:pt x="194" y="426"/>
                  <a:pt x="230" y="404"/>
                  <a:pt x="254" y="371"/>
                </a:cubicBezTo>
                <a:cubicBezTo>
                  <a:pt x="302" y="441"/>
                  <a:pt x="405" y="444"/>
                  <a:pt x="455" y="375"/>
                </a:cubicBezTo>
                <a:cubicBezTo>
                  <a:pt x="443" y="369"/>
                  <a:pt x="443" y="369"/>
                  <a:pt x="443" y="369"/>
                </a:cubicBezTo>
                <a:cubicBezTo>
                  <a:pt x="394" y="437"/>
                  <a:pt x="281" y="403"/>
                  <a:pt x="274" y="319"/>
                </a:cubicBezTo>
                <a:close/>
                <a:moveTo>
                  <a:pt x="369" y="173"/>
                </a:moveTo>
                <a:cubicBezTo>
                  <a:pt x="402" y="97"/>
                  <a:pt x="351" y="8"/>
                  <a:pt x="266" y="0"/>
                </a:cubicBezTo>
                <a:cubicBezTo>
                  <a:pt x="266" y="12"/>
                  <a:pt x="266" y="12"/>
                  <a:pt x="266" y="12"/>
                </a:cubicBezTo>
                <a:cubicBezTo>
                  <a:pt x="376" y="26"/>
                  <a:pt x="370" y="190"/>
                  <a:pt x="260" y="199"/>
                </a:cubicBezTo>
                <a:cubicBezTo>
                  <a:pt x="260" y="207"/>
                  <a:pt x="260" y="207"/>
                  <a:pt x="260" y="207"/>
                </a:cubicBezTo>
                <a:cubicBezTo>
                  <a:pt x="275" y="210"/>
                  <a:pt x="287" y="224"/>
                  <a:pt x="287" y="240"/>
                </a:cubicBezTo>
                <a:cubicBezTo>
                  <a:pt x="287" y="244"/>
                  <a:pt x="286" y="248"/>
                  <a:pt x="285" y="252"/>
                </a:cubicBezTo>
                <a:cubicBezTo>
                  <a:pt x="292" y="256"/>
                  <a:pt x="292" y="256"/>
                  <a:pt x="292" y="256"/>
                </a:cubicBezTo>
                <a:cubicBezTo>
                  <a:pt x="309" y="234"/>
                  <a:pt x="337" y="218"/>
                  <a:pt x="369" y="217"/>
                </a:cubicBezTo>
                <a:cubicBezTo>
                  <a:pt x="436" y="217"/>
                  <a:pt x="479" y="288"/>
                  <a:pt x="455" y="347"/>
                </a:cubicBezTo>
                <a:cubicBezTo>
                  <a:pt x="469" y="355"/>
                  <a:pt x="469" y="355"/>
                  <a:pt x="469" y="355"/>
                </a:cubicBezTo>
                <a:cubicBezTo>
                  <a:pt x="507" y="278"/>
                  <a:pt x="458" y="181"/>
                  <a:pt x="369" y="173"/>
                </a:cubicBezTo>
                <a:close/>
                <a:moveTo>
                  <a:pt x="297" y="342"/>
                </a:moveTo>
                <a:cubicBezTo>
                  <a:pt x="301" y="350"/>
                  <a:pt x="303" y="356"/>
                  <a:pt x="307" y="362"/>
                </a:cubicBezTo>
                <a:cubicBezTo>
                  <a:pt x="358" y="340"/>
                  <a:pt x="390" y="289"/>
                  <a:pt x="388" y="234"/>
                </a:cubicBezTo>
                <a:cubicBezTo>
                  <a:pt x="382" y="232"/>
                  <a:pt x="374" y="232"/>
                  <a:pt x="366" y="232"/>
                </a:cubicBezTo>
                <a:cubicBezTo>
                  <a:pt x="370" y="281"/>
                  <a:pt x="341" y="326"/>
                  <a:pt x="297" y="342"/>
                </a:cubicBezTo>
                <a:close/>
              </a:path>
            </a:pathLst>
          </a:custGeom>
          <a:solidFill>
            <a:srgbClr val="FFFFFF"/>
          </a:solidFill>
          <a:ln w="3175" algn="ctr">
            <a:noFill/>
            <a:miter lim="800000"/>
            <a:headEnd/>
            <a:tailEnd/>
          </a:ln>
          <a:effectLst/>
        </p:spPr>
        <p:txBody>
          <a:bodyPr wrap="none" lIns="73017" tIns="36506" rIns="73017" bIns="36506" anchor="ctr"/>
          <a:lstStyle/>
          <a:p>
            <a:endParaRPr lang="en-US" dirty="0">
              <a:latin typeface="Verdan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16959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" name="OTLSHAPE_M_b53f09c517ed4510b05fed58edf15605_Connector1"/>
          <p:cNvCxnSpPr/>
          <p:nvPr>
            <p:custDataLst>
              <p:tags r:id="rId1"/>
            </p:custDataLst>
          </p:nvPr>
        </p:nvCxnSpPr>
        <p:spPr>
          <a:xfrm flipH="1">
            <a:off x="6116671" y="1632475"/>
            <a:ext cx="8620" cy="1716151"/>
          </a:xfrm>
          <a:prstGeom prst="line">
            <a:avLst/>
          </a:prstGeom>
          <a:ln w="9525" cap="flat" cmpd="sng" algn="ctr">
            <a:solidFill>
              <a:schemeClr val="accent2">
                <a:alpha val="4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OTLSHAPE_M_7528513258824d3ea073b379ccc7abac_Connector1"/>
          <p:cNvCxnSpPr/>
          <p:nvPr>
            <p:custDataLst>
              <p:tags r:id="rId2"/>
            </p:custDataLst>
          </p:nvPr>
        </p:nvCxnSpPr>
        <p:spPr>
          <a:xfrm flipH="1">
            <a:off x="5997067" y="2856932"/>
            <a:ext cx="3315" cy="499601"/>
          </a:xfrm>
          <a:prstGeom prst="line">
            <a:avLst/>
          </a:prstGeom>
          <a:ln w="9525" cap="flat" cmpd="sng" algn="ctr">
            <a:solidFill>
              <a:schemeClr val="accent1">
                <a:alpha val="4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OTLSHAPE_M_b53f09c517ed4510b05fed58edf15605_Connector1"/>
          <p:cNvCxnSpPr/>
          <p:nvPr>
            <p:custDataLst>
              <p:tags r:id="rId3"/>
            </p:custDataLst>
          </p:nvPr>
        </p:nvCxnSpPr>
        <p:spPr>
          <a:xfrm flipH="1">
            <a:off x="5035566" y="2045149"/>
            <a:ext cx="4180" cy="1316059"/>
          </a:xfrm>
          <a:prstGeom prst="line">
            <a:avLst/>
          </a:prstGeom>
          <a:ln w="9525" cap="flat" cmpd="sng" algn="ctr">
            <a:solidFill>
              <a:schemeClr val="accent2">
                <a:alpha val="4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56"/>
          <p:cNvSpPr/>
          <p:nvPr/>
        </p:nvSpPr>
        <p:spPr>
          <a:xfrm rot="16200000">
            <a:off x="4338573" y="-691693"/>
            <a:ext cx="368547" cy="8365643"/>
          </a:xfrm>
          <a:prstGeom prst="roundRect">
            <a:avLst>
              <a:gd name="adj" fmla="val 50000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6" tIns="45718" rIns="91436" bIns="45718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cxnSp>
        <p:nvCxnSpPr>
          <p:cNvPr id="89" name="OTLSHAPE_M_b53f09c517ed4510b05fed58edf15605_Connector1"/>
          <p:cNvCxnSpPr/>
          <p:nvPr>
            <p:custDataLst>
              <p:tags r:id="rId4"/>
            </p:custDataLst>
          </p:nvPr>
        </p:nvCxnSpPr>
        <p:spPr>
          <a:xfrm>
            <a:off x="8442738" y="1868501"/>
            <a:ext cx="0" cy="1418841"/>
          </a:xfrm>
          <a:prstGeom prst="line">
            <a:avLst/>
          </a:prstGeom>
          <a:ln w="9525" cap="flat" cmpd="sng" algn="ctr">
            <a:solidFill>
              <a:schemeClr val="accent2">
                <a:alpha val="4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OTLSHAPE_M_7528513258824d3ea073b379ccc7abac_Connector1"/>
          <p:cNvCxnSpPr/>
          <p:nvPr>
            <p:custDataLst>
              <p:tags r:id="rId5"/>
            </p:custDataLst>
          </p:nvPr>
        </p:nvCxnSpPr>
        <p:spPr>
          <a:xfrm flipH="1">
            <a:off x="6778597" y="2207755"/>
            <a:ext cx="797" cy="1079587"/>
          </a:xfrm>
          <a:prstGeom prst="line">
            <a:avLst/>
          </a:prstGeom>
          <a:ln w="9525" cap="flat" cmpd="sng" algn="ctr">
            <a:solidFill>
              <a:schemeClr val="accent1">
                <a:alpha val="4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OTLSHAPE_M_7528513258824d3ea073b379ccc7abac_Connector1"/>
          <p:cNvCxnSpPr/>
          <p:nvPr>
            <p:custDataLst>
              <p:tags r:id="rId6"/>
            </p:custDataLst>
          </p:nvPr>
        </p:nvCxnSpPr>
        <p:spPr>
          <a:xfrm>
            <a:off x="7357333" y="2278383"/>
            <a:ext cx="0" cy="1008959"/>
          </a:xfrm>
          <a:prstGeom prst="line">
            <a:avLst/>
          </a:prstGeom>
          <a:ln w="9525" cap="flat" cmpd="sng" algn="ctr">
            <a:solidFill>
              <a:schemeClr val="accent1">
                <a:alpha val="4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TLSHAPE_TB_00000000000000000000000000000000_ElapsedTimeExtension"/>
          <p:cNvSpPr/>
          <p:nvPr>
            <p:custDataLst>
              <p:tags r:id="rId7"/>
            </p:custDataLst>
          </p:nvPr>
        </p:nvSpPr>
        <p:spPr>
          <a:xfrm>
            <a:off x="-722066" y="817387"/>
            <a:ext cx="0" cy="3305387"/>
          </a:xfrm>
          <a:prstGeom prst="rect">
            <a:avLst/>
          </a:prstGeom>
          <a:gradFill flip="none" rotWithShape="1">
            <a:gsLst>
              <a:gs pos="100000">
                <a:srgbClr val="FFC000">
                  <a:alpha val="30196"/>
                </a:srgbClr>
              </a:gs>
              <a:gs pos="0">
                <a:srgbClr val="FFC000">
                  <a:alpha val="0"/>
                </a:srgbClr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outerShdw>
              <a:scrgbClr r="0" g="0" b="0">
                <a:alpha val="50000"/>
              </a:scrgbClr>
            </a:outerShdw>
          </a:effectLst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CA">
              <a:solidFill>
                <a:srgbClr val="005073"/>
              </a:solidFill>
            </a:endParaRPr>
          </a:p>
        </p:txBody>
      </p:sp>
      <p:sp>
        <p:nvSpPr>
          <p:cNvPr id="13" name="OTLSHAPE_TB_00000000000000000000000000000000_TimescaleInterval1"/>
          <p:cNvSpPr txBox="1"/>
          <p:nvPr>
            <p:custDataLst>
              <p:tags r:id="rId8"/>
            </p:custDataLst>
          </p:nvPr>
        </p:nvSpPr>
        <p:spPr>
          <a:xfrm>
            <a:off x="291124" y="3705766"/>
            <a:ext cx="1421401" cy="26172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CA" sz="1200" spc="-14" dirty="0" smtClean="0">
                <a:solidFill>
                  <a:srgbClr val="282828"/>
                </a:solidFill>
                <a:latin typeface="CiscoSans" charset="0"/>
                <a:ea typeface="CiscoSans" charset="0"/>
                <a:cs typeface="+mn-cs"/>
              </a:rPr>
              <a:t>July</a:t>
            </a:r>
            <a:endParaRPr lang="en-CA" sz="1200" spc="-14" dirty="0">
              <a:solidFill>
                <a:srgbClr val="282828"/>
              </a:solidFill>
              <a:latin typeface="CiscoSans" charset="0"/>
              <a:ea typeface="CiscoSans" charset="0"/>
              <a:cs typeface="+mn-cs"/>
            </a:endParaRPr>
          </a:p>
        </p:txBody>
      </p:sp>
      <p:sp>
        <p:nvSpPr>
          <p:cNvPr id="14" name="OTLSHAPE_TB_00000000000000000000000000000000_TimescaleInterval4"/>
          <p:cNvSpPr txBox="1"/>
          <p:nvPr>
            <p:custDataLst>
              <p:tags r:id="rId9"/>
            </p:custDataLst>
          </p:nvPr>
        </p:nvSpPr>
        <p:spPr>
          <a:xfrm>
            <a:off x="2658997" y="1913233"/>
            <a:ext cx="75470" cy="18605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CA" sz="1200" spc="-26" dirty="0">
              <a:solidFill>
                <a:srgbClr val="282828"/>
              </a:solidFill>
              <a:latin typeface="Calibri" panose="020F050202020403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5" name="OTLSHAPE_TB_00000000000000000000000000000000_TimescaleInterval5"/>
          <p:cNvSpPr txBox="1"/>
          <p:nvPr>
            <p:custDataLst>
              <p:tags r:id="rId10"/>
            </p:custDataLst>
          </p:nvPr>
        </p:nvSpPr>
        <p:spPr>
          <a:xfrm>
            <a:off x="3018756" y="1916708"/>
            <a:ext cx="75470" cy="18605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CA" sz="1200" spc="-26" dirty="0">
              <a:solidFill>
                <a:srgbClr val="282828"/>
              </a:solidFill>
              <a:latin typeface="Calibri" panose="020F0502020204030204" pitchFamily="34" charset="0"/>
              <a:ea typeface="ＭＳ Ｐゴシック" charset="0"/>
              <a:cs typeface="+mn-cs"/>
            </a:endParaRPr>
          </a:p>
        </p:txBody>
      </p:sp>
      <p:sp>
        <p:nvSpPr>
          <p:cNvPr id="16" name="OTLSHAPE_TB_00000000000000000000000000000000_TimescaleInterval6"/>
          <p:cNvSpPr txBox="1"/>
          <p:nvPr>
            <p:custDataLst>
              <p:tags r:id="rId11"/>
            </p:custDataLst>
          </p:nvPr>
        </p:nvSpPr>
        <p:spPr>
          <a:xfrm>
            <a:off x="3419436" y="1909437"/>
            <a:ext cx="75470" cy="18605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CA" sz="1200" spc="-26" dirty="0">
              <a:solidFill>
                <a:srgbClr val="282828"/>
              </a:solidFill>
              <a:latin typeface="Calibri" panose="020F0502020204030204" pitchFamily="34" charset="0"/>
              <a:ea typeface="ＭＳ Ｐゴシック" charset="0"/>
              <a:cs typeface="+mn-cs"/>
            </a:endParaRPr>
          </a:p>
        </p:txBody>
      </p:sp>
      <p:sp>
        <p:nvSpPr>
          <p:cNvPr id="44" name="OTLSHAPE_TB_00000000000000000000000000000000_TimescaleInterval6"/>
          <p:cNvSpPr txBox="1"/>
          <p:nvPr>
            <p:custDataLst>
              <p:tags r:id="rId12"/>
            </p:custDataLst>
          </p:nvPr>
        </p:nvSpPr>
        <p:spPr>
          <a:xfrm>
            <a:off x="4985005" y="1909436"/>
            <a:ext cx="75470" cy="18605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CA" sz="1200" spc="-26" dirty="0">
              <a:solidFill>
                <a:srgbClr val="282828"/>
              </a:solidFill>
              <a:latin typeface="Calibri" panose="020F0502020204030204" pitchFamily="34" charset="0"/>
              <a:ea typeface="ＭＳ Ｐゴシック" charset="0"/>
              <a:cs typeface="+mn-cs"/>
            </a:endParaRPr>
          </a:p>
        </p:txBody>
      </p:sp>
      <p:sp>
        <p:nvSpPr>
          <p:cNvPr id="45" name="OTLSHAPE_TB_00000000000000000000000000000000_TimescaleInterval6"/>
          <p:cNvSpPr txBox="1"/>
          <p:nvPr>
            <p:custDataLst>
              <p:tags r:id="rId13"/>
            </p:custDataLst>
          </p:nvPr>
        </p:nvSpPr>
        <p:spPr>
          <a:xfrm>
            <a:off x="6332041" y="1914509"/>
            <a:ext cx="75470" cy="18605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CA" sz="1200" spc="-26" dirty="0" smtClean="0">
                <a:solidFill>
                  <a:srgbClr val="282828"/>
                </a:solidFill>
                <a:latin typeface="Calibri" panose="020F0502020204030204" pitchFamily="34" charset="0"/>
                <a:ea typeface="ＭＳ Ｐゴシック" charset="0"/>
                <a:cs typeface="+mn-cs"/>
              </a:rPr>
              <a:t>	</a:t>
            </a:r>
            <a:endParaRPr lang="en-CA" sz="1200" spc="-26" dirty="0">
              <a:solidFill>
                <a:srgbClr val="282828"/>
              </a:solidFill>
              <a:latin typeface="Calibri" panose="020F0502020204030204" pitchFamily="34" charset="0"/>
              <a:ea typeface="ＭＳ Ｐゴシック" charset="0"/>
              <a:cs typeface="+mn-cs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77309" y="3350726"/>
            <a:ext cx="14490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1</a:t>
            </a:r>
            <a:r>
              <a:rPr lang="en-US" sz="1200" baseline="300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st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</a:t>
            </a:r>
            <a:r>
              <a:rPr lang="mr-IN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–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4</a:t>
            </a:r>
            <a:r>
              <a:rPr lang="en-US" sz="1200" baseline="300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th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 </a:t>
            </a:r>
            <a:endParaRPr lang="en-US" sz="1200" dirty="0">
              <a:solidFill>
                <a:srgbClr val="282828"/>
              </a:solidFill>
              <a:latin typeface="CiscoSansTT" charset="0"/>
              <a:ea typeface="CiscoSansTT" charset="0"/>
              <a:cs typeface="+mn-cs"/>
            </a:endParaRPr>
          </a:p>
        </p:txBody>
      </p:sp>
      <p:cxnSp>
        <p:nvCxnSpPr>
          <p:cNvPr id="47" name="OTLSHAPE_T_e8a474df863d41c297f24cf07937a7e2_LeftVerticalConnector2"/>
          <p:cNvCxnSpPr/>
          <p:nvPr>
            <p:custDataLst>
              <p:tags r:id="rId14"/>
            </p:custDataLst>
          </p:nvPr>
        </p:nvCxnSpPr>
        <p:spPr>
          <a:xfrm flipH="1">
            <a:off x="1503113" y="2573523"/>
            <a:ext cx="1480" cy="448411"/>
          </a:xfrm>
          <a:prstGeom prst="line">
            <a:avLst/>
          </a:prstGeom>
          <a:ln w="9525" cap="flat" cmpd="sng" algn="ctr">
            <a:solidFill>
              <a:srgbClr val="CCCCC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OTLSHAPE_T_e8a474df863d41c297f24cf07937a7e2_LeftVerticalConnector2"/>
          <p:cNvCxnSpPr/>
          <p:nvPr>
            <p:custDataLst>
              <p:tags r:id="rId15"/>
            </p:custDataLst>
          </p:nvPr>
        </p:nvCxnSpPr>
        <p:spPr>
          <a:xfrm>
            <a:off x="418895" y="2568426"/>
            <a:ext cx="0" cy="514270"/>
          </a:xfrm>
          <a:prstGeom prst="line">
            <a:avLst/>
          </a:prstGeom>
          <a:ln w="9525" cap="flat" cmpd="sng" algn="ctr">
            <a:solidFill>
              <a:srgbClr val="CCCCC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TLSHAPE_TB_00000000000000000000000000000000_TimescaleInterval1"/>
          <p:cNvSpPr txBox="1"/>
          <p:nvPr>
            <p:custDataLst>
              <p:tags r:id="rId16"/>
            </p:custDataLst>
          </p:nvPr>
        </p:nvSpPr>
        <p:spPr>
          <a:xfrm>
            <a:off x="5019115" y="3694120"/>
            <a:ext cx="867697" cy="26172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CA" sz="1200" spc="-14" dirty="0" smtClean="0">
                <a:solidFill>
                  <a:srgbClr val="282828"/>
                </a:solidFill>
                <a:latin typeface="CiscoSans" charset="0"/>
                <a:ea typeface="CiscoSans" charset="0"/>
                <a:cs typeface="+mn-cs"/>
              </a:rPr>
              <a:t>January</a:t>
            </a:r>
            <a:endParaRPr lang="en-CA" sz="1200" spc="-14" dirty="0">
              <a:solidFill>
                <a:srgbClr val="282828"/>
              </a:solidFill>
              <a:latin typeface="CiscoSans" charset="0"/>
              <a:ea typeface="CiscoSans" charset="0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820376" y="3353919"/>
            <a:ext cx="4894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3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0</a:t>
            </a:r>
            <a:r>
              <a:rPr lang="en-US" sz="1200" baseline="300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th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  </a:t>
            </a:r>
            <a:endParaRPr lang="en-US" sz="1200" dirty="0">
              <a:solidFill>
                <a:srgbClr val="282828"/>
              </a:solidFill>
              <a:latin typeface="CiscoSansTT" charset="0"/>
              <a:ea typeface="CiscoSansTT" charset="0"/>
              <a:cs typeface="+mn-cs"/>
            </a:endParaRPr>
          </a:p>
        </p:txBody>
      </p:sp>
      <p:sp>
        <p:nvSpPr>
          <p:cNvPr id="53" name="OTLSHAPE_M_b53f09c517ed4510b05fed58edf15605_Shape"/>
          <p:cNvSpPr/>
          <p:nvPr>
            <p:custDataLst>
              <p:tags r:id="rId17"/>
            </p:custDataLst>
          </p:nvPr>
        </p:nvSpPr>
        <p:spPr>
          <a:xfrm rot="16200000">
            <a:off x="5039746" y="2443466"/>
            <a:ext cx="165100" cy="165100"/>
          </a:xfrm>
          <a:prstGeom prst="flowChartMerge">
            <a:avLst/>
          </a:prstGeom>
          <a:solidFill>
            <a:schemeClr val="accent6"/>
          </a:solidFill>
          <a:ln/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CA">
              <a:solidFill>
                <a:srgbClr val="005073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928133" y="3431664"/>
            <a:ext cx="4894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11</a:t>
            </a:r>
            <a:r>
              <a:rPr lang="en-US" sz="1200" baseline="300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th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  </a:t>
            </a:r>
            <a:endParaRPr lang="en-US" sz="1200" dirty="0">
              <a:solidFill>
                <a:srgbClr val="282828"/>
              </a:solidFill>
              <a:latin typeface="CiscoSansTT" charset="0"/>
              <a:ea typeface="CiscoSansTT" charset="0"/>
              <a:cs typeface="+mn-cs"/>
            </a:endParaRPr>
          </a:p>
        </p:txBody>
      </p:sp>
      <p:cxnSp>
        <p:nvCxnSpPr>
          <p:cNvPr id="63" name="OTLSHAPE_M_b53f09c517ed4510b05fed58edf15605_Connector1"/>
          <p:cNvCxnSpPr>
            <a:stCxn id="62" idx="0"/>
            <a:endCxn id="78" idx="0"/>
          </p:cNvCxnSpPr>
          <p:nvPr>
            <p:custDataLst>
              <p:tags r:id="rId18"/>
            </p:custDataLst>
          </p:nvPr>
        </p:nvCxnSpPr>
        <p:spPr>
          <a:xfrm>
            <a:off x="339942" y="1788225"/>
            <a:ext cx="8527" cy="1347652"/>
          </a:xfrm>
          <a:prstGeom prst="line">
            <a:avLst/>
          </a:prstGeom>
          <a:ln w="9525" cap="flat" cmpd="sng" algn="ctr">
            <a:solidFill>
              <a:schemeClr val="accent2">
                <a:alpha val="4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5768168" y="3274452"/>
            <a:ext cx="4894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10</a:t>
            </a:r>
            <a:r>
              <a:rPr lang="en-US" sz="1200" baseline="300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th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   </a:t>
            </a:r>
            <a:endParaRPr lang="en-US" sz="1200" dirty="0">
              <a:solidFill>
                <a:srgbClr val="282828"/>
              </a:solidFill>
              <a:latin typeface="CiscoSansTT" charset="0"/>
              <a:ea typeface="CiscoSansTT" charset="0"/>
              <a:cs typeface="+mn-cs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7099240" y="3374097"/>
            <a:ext cx="4894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15</a:t>
            </a:r>
            <a:r>
              <a:rPr lang="en-US" sz="1200" baseline="300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th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   </a:t>
            </a:r>
            <a:endParaRPr lang="en-US" sz="1200" dirty="0">
              <a:solidFill>
                <a:srgbClr val="282828"/>
              </a:solidFill>
              <a:latin typeface="CiscoSansTT" charset="0"/>
              <a:ea typeface="CiscoSansTT" charset="0"/>
              <a:cs typeface="+mn-cs"/>
            </a:endParaRPr>
          </a:p>
        </p:txBody>
      </p:sp>
      <p:sp>
        <p:nvSpPr>
          <p:cNvPr id="82" name="OTLSHAPE_TB_00000000000000000000000000000000_TimescaleInterval1"/>
          <p:cNvSpPr txBox="1"/>
          <p:nvPr>
            <p:custDataLst>
              <p:tags r:id="rId19"/>
            </p:custDataLst>
          </p:nvPr>
        </p:nvSpPr>
        <p:spPr>
          <a:xfrm>
            <a:off x="7617083" y="3737849"/>
            <a:ext cx="867697" cy="26172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CA" sz="1200" spc="-14" dirty="0" smtClean="0">
                <a:solidFill>
                  <a:srgbClr val="282828"/>
                </a:solidFill>
                <a:latin typeface="CiscoSans" charset="0"/>
                <a:ea typeface="CiscoSans" charset="0"/>
                <a:cs typeface="+mn-cs"/>
              </a:rPr>
              <a:t>February</a:t>
            </a:r>
            <a:endParaRPr lang="en-CA" sz="1200" spc="-14" dirty="0">
              <a:solidFill>
                <a:srgbClr val="282828"/>
              </a:solidFill>
              <a:latin typeface="CiscoSans" charset="0"/>
              <a:ea typeface="CiscoSans" charset="0"/>
              <a:cs typeface="+mn-cs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593403" y="3378604"/>
            <a:ext cx="4894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14</a:t>
            </a:r>
            <a:r>
              <a:rPr lang="en-US" sz="1200" baseline="300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th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   </a:t>
            </a:r>
            <a:endParaRPr lang="en-US" sz="1200" dirty="0">
              <a:solidFill>
                <a:srgbClr val="282828"/>
              </a:solidFill>
              <a:latin typeface="CiscoSansTT" charset="0"/>
              <a:ea typeface="CiscoSansTT" charset="0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036856" y="3374096"/>
            <a:ext cx="4894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12</a:t>
            </a:r>
            <a:r>
              <a:rPr lang="en-US" sz="1200" baseline="300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th</a:t>
            </a:r>
            <a:r>
              <a:rPr lang="en-US" sz="1200" dirty="0" smtClean="0">
                <a:solidFill>
                  <a:srgbClr val="282828"/>
                </a:solidFill>
                <a:latin typeface="CiscoSansTT" charset="0"/>
                <a:ea typeface="CiscoSansTT" charset="0"/>
                <a:cs typeface="+mn-cs"/>
              </a:rPr>
              <a:t>    </a:t>
            </a:r>
            <a:endParaRPr lang="en-US" sz="1200" dirty="0">
              <a:solidFill>
                <a:srgbClr val="282828"/>
              </a:solidFill>
              <a:latin typeface="CiscoSansTT" charset="0"/>
              <a:ea typeface="CiscoSansTT" charset="0"/>
              <a:cs typeface="+mn-cs"/>
            </a:endParaRPr>
          </a:p>
        </p:txBody>
      </p:sp>
      <p:sp>
        <p:nvSpPr>
          <p:cNvPr id="101" name="OTLSHAPE_M_b53f09c517ed4510b05fed58edf15605_Shape"/>
          <p:cNvSpPr/>
          <p:nvPr>
            <p:custDataLst>
              <p:tags r:id="rId20"/>
            </p:custDataLst>
          </p:nvPr>
        </p:nvSpPr>
        <p:spPr>
          <a:xfrm rot="16200000">
            <a:off x="6122623" y="2865622"/>
            <a:ext cx="142830" cy="154615"/>
          </a:xfrm>
          <a:prstGeom prst="flowChartMerge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CA">
              <a:solidFill>
                <a:srgbClr val="005073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968400" y="2265606"/>
            <a:ext cx="137132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600" smtClean="0">
                <a:solidFill>
                  <a:srgbClr val="282828"/>
                </a:solidFill>
                <a:latin typeface="Arial" charset="0"/>
                <a:ea typeface="ＭＳ Ｐゴシック" charset="0"/>
                <a:cs typeface="+mn-cs"/>
              </a:rPr>
              <a:t>Law Enforcement Notification </a:t>
            </a:r>
            <a:endParaRPr lang="en-US" sz="600" dirty="0">
              <a:solidFill>
                <a:srgbClr val="282828"/>
              </a:solidFill>
              <a:latin typeface="Arial" charset="0"/>
              <a:ea typeface="ＭＳ Ｐゴシック" charset="0"/>
              <a:cs typeface="+mn-cs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862862" y="2539015"/>
            <a:ext cx="6459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 smtClean="0">
                <a:solidFill>
                  <a:srgbClr val="282828"/>
                </a:solidFill>
                <a:latin typeface="Arial" charset="0"/>
                <a:ea typeface="ＭＳ Ｐゴシック" charset="0"/>
                <a:cs typeface="+mn-cs"/>
              </a:rPr>
              <a:t>Cisco IR Engaged </a:t>
            </a:r>
            <a:endParaRPr lang="en-US" sz="600" dirty="0">
              <a:solidFill>
                <a:srgbClr val="282828"/>
              </a:solidFill>
              <a:latin typeface="Arial" charset="0"/>
              <a:ea typeface="ＭＳ Ｐゴシック" charset="0"/>
              <a:cs typeface="+mn-cs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6159938" y="2805697"/>
            <a:ext cx="812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 smtClean="0">
                <a:solidFill>
                  <a:srgbClr val="282828"/>
                </a:solidFill>
                <a:latin typeface="Arial" charset="0"/>
                <a:ea typeface="ＭＳ Ｐゴシック" charset="0"/>
                <a:cs typeface="+mn-cs"/>
              </a:rPr>
              <a:t>C2Malware.exe identified</a:t>
            </a:r>
            <a:endParaRPr lang="en-US" sz="600" dirty="0">
              <a:solidFill>
                <a:srgbClr val="282828"/>
              </a:solidFill>
              <a:latin typeface="Arial" charset="0"/>
              <a:ea typeface="ＭＳ Ｐゴシック" charset="0"/>
              <a:cs typeface="+mn-cs"/>
            </a:endParaRPr>
          </a:p>
        </p:txBody>
      </p:sp>
      <p:sp>
        <p:nvSpPr>
          <p:cNvPr id="60" name="OTLSHAPE_M_b53f09c517ed4510b05fed58edf15605_Shape"/>
          <p:cNvSpPr/>
          <p:nvPr>
            <p:custDataLst>
              <p:tags r:id="rId21"/>
            </p:custDataLst>
          </p:nvPr>
        </p:nvSpPr>
        <p:spPr>
          <a:xfrm rot="16200000">
            <a:off x="5993957" y="2766207"/>
            <a:ext cx="165100" cy="165100"/>
          </a:xfrm>
          <a:prstGeom prst="flowChartMerg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CA">
              <a:solidFill>
                <a:srgbClr val="005073"/>
              </a:solidFill>
            </a:endParaRPr>
          </a:p>
        </p:txBody>
      </p:sp>
      <p:sp>
        <p:nvSpPr>
          <p:cNvPr id="52" name="Round Same Side Corner Rectangle 51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04" y="439132"/>
            <a:ext cx="541250" cy="574327"/>
          </a:xfrm>
          <a:prstGeom prst="rect">
            <a:avLst/>
          </a:prstGeom>
        </p:spPr>
      </p:pic>
      <p:sp>
        <p:nvSpPr>
          <p:cNvPr id="55" name="Title 1"/>
          <p:cNvSpPr txBox="1">
            <a:spLocks/>
          </p:cNvSpPr>
          <p:nvPr/>
        </p:nvSpPr>
        <p:spPr bwMode="auto">
          <a:xfrm>
            <a:off x="1235966" y="360378"/>
            <a:ext cx="7440862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200" b="0" i="0" u="none" kern="120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2pPr>
            <a:lvl3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3pPr>
            <a:lvl4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4pPr>
            <a:lvl5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5pPr>
            <a:lvl6pPr marL="457189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78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66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54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000" dirty="0" smtClean="0">
                <a:cs typeface="+mn-cs"/>
              </a:rPr>
              <a:t>Attack and investigative timeline</a:t>
            </a:r>
            <a:endParaRPr lang="en-US" sz="1800" dirty="0">
              <a:cs typeface="+mn-cs"/>
            </a:endParaRPr>
          </a:p>
        </p:txBody>
      </p:sp>
      <p:sp>
        <p:nvSpPr>
          <p:cNvPr id="62" name="Rounded Rectangle 61"/>
          <p:cNvSpPr/>
          <p:nvPr/>
        </p:nvSpPr>
        <p:spPr>
          <a:xfrm rot="16200000">
            <a:off x="2540982" y="-568566"/>
            <a:ext cx="311500" cy="4713581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6" tIns="45718" rIns="91436" bIns="45718" rtlCol="0" anchor="ctr"/>
          <a:lstStyle/>
          <a:p>
            <a:pPr algn="ctr"/>
            <a:r>
              <a:rPr lang="en-CA" sz="1050" dirty="0">
                <a:solidFill>
                  <a:srgbClr val="FFFFFF"/>
                </a:solidFill>
              </a:rPr>
              <a:t>Command and Control </a:t>
            </a:r>
            <a:r>
              <a:rPr lang="de-DE" sz="1050" dirty="0">
                <a:solidFill>
                  <a:srgbClr val="FFFFFF"/>
                </a:solidFill>
              </a:rPr>
              <a:t>(C2) via C2malware.exe</a:t>
            </a:r>
            <a:endParaRPr lang="en-CA" sz="1050" dirty="0">
              <a:solidFill>
                <a:srgbClr val="FFFFFF"/>
              </a:solidFill>
            </a:endParaRPr>
          </a:p>
        </p:txBody>
      </p:sp>
      <p:sp>
        <p:nvSpPr>
          <p:cNvPr id="68" name="Rounded Rectangle 67"/>
          <p:cNvSpPr/>
          <p:nvPr/>
        </p:nvSpPr>
        <p:spPr>
          <a:xfrm rot="16200000">
            <a:off x="7155847" y="419928"/>
            <a:ext cx="281139" cy="235949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6" tIns="45718" rIns="91436" bIns="45718" rtlCol="0" anchor="ctr"/>
          <a:lstStyle/>
          <a:p>
            <a:pPr algn="ctr"/>
            <a:r>
              <a:rPr lang="en-US" sz="1050" dirty="0" smtClean="0">
                <a:solidFill>
                  <a:schemeClr val="bg2"/>
                </a:solidFill>
              </a:rPr>
              <a:t>Cisco IR</a:t>
            </a:r>
            <a:r>
              <a:rPr lang="en-US" sz="1050" smtClean="0">
                <a:solidFill>
                  <a:schemeClr val="bg2"/>
                </a:solidFill>
              </a:rPr>
              <a:t>: Forensic Investigation</a:t>
            </a:r>
            <a:endParaRPr lang="en-US" sz="1050" dirty="0">
              <a:solidFill>
                <a:schemeClr val="bg2"/>
              </a:solidFill>
            </a:endParaRPr>
          </a:p>
        </p:txBody>
      </p:sp>
      <p:sp>
        <p:nvSpPr>
          <p:cNvPr id="70" name="Rounded Rectangle 69"/>
          <p:cNvSpPr/>
          <p:nvPr/>
        </p:nvSpPr>
        <p:spPr>
          <a:xfrm rot="16200000">
            <a:off x="6618947" y="1585612"/>
            <a:ext cx="281139" cy="12998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6" tIns="45718" rIns="91436" bIns="45718" rtlCol="0" anchor="ctr"/>
          <a:lstStyle/>
          <a:p>
            <a:pPr algn="ctr"/>
            <a:r>
              <a:rPr lang="en-US" sz="1050" dirty="0" smtClean="0">
                <a:solidFill>
                  <a:schemeClr val="bg2"/>
                </a:solidFill>
              </a:rPr>
              <a:t>Cisco IR</a:t>
            </a:r>
            <a:r>
              <a:rPr lang="en-US" sz="1050" smtClean="0">
                <a:solidFill>
                  <a:schemeClr val="bg2"/>
                </a:solidFill>
              </a:rPr>
              <a:t>: On-Site</a:t>
            </a:r>
            <a:endParaRPr lang="en-US" sz="1050" dirty="0">
              <a:solidFill>
                <a:schemeClr val="bg2"/>
              </a:solidFill>
            </a:endParaRPr>
          </a:p>
        </p:txBody>
      </p:sp>
      <p:sp>
        <p:nvSpPr>
          <p:cNvPr id="72" name="Rounded Rectangle 71"/>
          <p:cNvSpPr/>
          <p:nvPr/>
        </p:nvSpPr>
        <p:spPr>
          <a:xfrm rot="16200000">
            <a:off x="7489303" y="937144"/>
            <a:ext cx="281139" cy="195302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6" tIns="45718" rIns="91436" bIns="45718" rtlCol="0" anchor="ctr"/>
          <a:lstStyle/>
          <a:p>
            <a:pPr algn="ctr"/>
            <a:r>
              <a:rPr lang="en-US" sz="1050" dirty="0" err="1" smtClean="0">
                <a:solidFill>
                  <a:schemeClr val="bg2"/>
                </a:solidFill>
              </a:rPr>
              <a:t>StealthWatch</a:t>
            </a:r>
            <a:r>
              <a:rPr lang="en-US" sz="1050" dirty="0" smtClean="0">
                <a:solidFill>
                  <a:schemeClr val="bg2"/>
                </a:solidFill>
              </a:rPr>
              <a:t> Deployment</a:t>
            </a:r>
            <a:endParaRPr lang="en-US" sz="1050" dirty="0">
              <a:solidFill>
                <a:schemeClr val="bg2"/>
              </a:solidFill>
            </a:endParaRPr>
          </a:p>
        </p:txBody>
      </p:sp>
      <p:sp>
        <p:nvSpPr>
          <p:cNvPr id="76" name="Rounded Rectangle 75"/>
          <p:cNvSpPr/>
          <p:nvPr/>
        </p:nvSpPr>
        <p:spPr>
          <a:xfrm rot="16200000">
            <a:off x="861527" y="1831471"/>
            <a:ext cx="281139" cy="126806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6" tIns="45718" rIns="91436" bIns="45718" rtlCol="0" anchor="ctr"/>
          <a:lstStyle/>
          <a:p>
            <a:pPr algn="ctr"/>
            <a:r>
              <a:rPr lang="en-US" sz="900" dirty="0" smtClean="0">
                <a:solidFill>
                  <a:schemeClr val="bg2"/>
                </a:solidFill>
              </a:rPr>
              <a:t>C2 traffic observed by </a:t>
            </a:r>
            <a:r>
              <a:rPr lang="en-US" sz="900" smtClean="0">
                <a:solidFill>
                  <a:schemeClr val="bg2"/>
                </a:solidFill>
              </a:rPr>
              <a:t>law enforcement</a:t>
            </a:r>
            <a:endParaRPr lang="en-US" sz="900" dirty="0">
              <a:solidFill>
                <a:schemeClr val="bg2"/>
              </a:solidFill>
            </a:endParaRPr>
          </a:p>
        </p:txBody>
      </p:sp>
      <p:sp>
        <p:nvSpPr>
          <p:cNvPr id="78" name="Rounded Rectangle 77"/>
          <p:cNvSpPr/>
          <p:nvPr/>
        </p:nvSpPr>
        <p:spPr>
          <a:xfrm rot="16200000">
            <a:off x="2850195" y="478401"/>
            <a:ext cx="311500" cy="5314952"/>
          </a:xfrm>
          <a:prstGeom prst="roundRect">
            <a:avLst>
              <a:gd name="adj" fmla="val 50000"/>
            </a:avLst>
          </a:prstGeom>
          <a:solidFill>
            <a:schemeClr val="bg2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6" tIns="45718" rIns="91436" bIns="45718" rtlCol="0" anchor="ctr"/>
          <a:lstStyle/>
          <a:p>
            <a:pPr algn="ctr"/>
            <a:r>
              <a:rPr lang="en-US" sz="1050" dirty="0" smtClean="0">
                <a:solidFill>
                  <a:srgbClr val="FFFFFF"/>
                </a:solidFill>
              </a:rPr>
              <a:t>Dwell Time (July </a:t>
            </a:r>
            <a:r>
              <a:rPr lang="mr-IN" sz="1050" dirty="0" smtClean="0">
                <a:solidFill>
                  <a:srgbClr val="FFFFFF"/>
                </a:solidFill>
              </a:rPr>
              <a:t>–</a:t>
            </a:r>
            <a:r>
              <a:rPr lang="en-US" sz="1050" dirty="0" smtClean="0">
                <a:solidFill>
                  <a:srgbClr val="FFFFFF"/>
                </a:solidFill>
              </a:rPr>
              <a:t> December)</a:t>
            </a:r>
            <a:endParaRPr lang="en-CA" sz="1050" dirty="0">
              <a:solidFill>
                <a:srgbClr val="FFFFFF"/>
              </a:solidFill>
            </a:endParaRPr>
          </a:p>
        </p:txBody>
      </p:sp>
      <p:sp>
        <p:nvSpPr>
          <p:cNvPr id="79" name="Rounded Rectangle 78"/>
          <p:cNvSpPr/>
          <p:nvPr/>
        </p:nvSpPr>
        <p:spPr>
          <a:xfrm rot="16200000">
            <a:off x="5423793" y="1603969"/>
            <a:ext cx="281139" cy="106832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91436" tIns="45718" rIns="91436" bIns="45718" rtlCol="0" anchor="ctr"/>
          <a:lstStyle/>
          <a:p>
            <a:pPr algn="ctr"/>
            <a:r>
              <a:rPr lang="en-US" sz="800" smtClean="0">
                <a:solidFill>
                  <a:schemeClr val="bg2"/>
                </a:solidFill>
              </a:rPr>
              <a:t>Customer Internal Investigation</a:t>
            </a:r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44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 Same Side Corner Rectangle 22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04" y="439132"/>
            <a:ext cx="541250" cy="574327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 bwMode="auto">
          <a:xfrm>
            <a:off x="1235966" y="360378"/>
            <a:ext cx="7440862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200" b="0" i="0" u="none" kern="120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2pPr>
            <a:lvl3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3pPr>
            <a:lvl4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4pPr>
            <a:lvl5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5pPr>
            <a:lvl6pPr marL="457189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78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66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54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000" dirty="0" smtClean="0"/>
              <a:t>Our approach</a:t>
            </a:r>
            <a:endParaRPr lang="en-US" sz="1800" dirty="0"/>
          </a:p>
        </p:txBody>
      </p:sp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2127044071"/>
              </p:ext>
            </p:extLst>
          </p:nvPr>
        </p:nvGraphicFramePr>
        <p:xfrm>
          <a:off x="1987354" y="744876"/>
          <a:ext cx="5054600" cy="3994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1128885" y="2091417"/>
            <a:ext cx="24003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Malware reverse engineering, memory forensics, </a:t>
            </a:r>
            <a:r>
              <a:rPr lang="en-US" sz="1000" dirty="0" smtClean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and </a:t>
            </a: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disk forensics performed on affected </a:t>
            </a:r>
            <a:r>
              <a:rPr lang="en-US" sz="1000" dirty="0" smtClean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hosts</a:t>
            </a:r>
            <a:endParaRPr lang="en-US" sz="1000" dirty="0">
              <a:solidFill>
                <a:srgbClr val="005073">
                  <a:lumMod val="75000"/>
                </a:srgbClr>
              </a:solidFill>
              <a:latin typeface="CiscoSansTT ExtraLigh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52408" y="1849022"/>
            <a:ext cx="1317813" cy="276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 smtClean="0">
                <a:solidFill>
                  <a:srgbClr val="00BCEB"/>
                </a:solidFill>
                <a:latin typeface="CiscoSansTT" charset="0"/>
                <a:ea typeface="CiscoSansTT" charset="0"/>
                <a:cs typeface="CiscoSansTT" charset="0"/>
              </a:rPr>
              <a:t>Forensics</a:t>
            </a:r>
            <a:endParaRPr lang="en-US" sz="1200" kern="0" dirty="0">
              <a:solidFill>
                <a:srgbClr val="00BCEB"/>
              </a:solidFill>
              <a:latin typeface="CiscoSansTT" charset="0"/>
              <a:ea typeface="CiscoSansTT" charset="0"/>
              <a:cs typeface="CiscoSansTT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779410" y="3156053"/>
            <a:ext cx="24003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App Pen Testing group conducted application hardening post-incident </a:t>
            </a:r>
            <a:r>
              <a:rPr lang="en-US" sz="1000" dirty="0" smtClean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response</a:t>
            </a:r>
            <a:endParaRPr lang="en-US" sz="1000" dirty="0">
              <a:solidFill>
                <a:srgbClr val="005073">
                  <a:lumMod val="75000"/>
                </a:srgbClr>
              </a:solidFill>
              <a:latin typeface="CiscoSansTT ExtraLigh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758291" y="2879030"/>
            <a:ext cx="2400300" cy="277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 smtClean="0">
                <a:solidFill>
                  <a:srgbClr val="005073"/>
                </a:solidFill>
                <a:latin typeface="CiscoSansTT" charset="0"/>
                <a:ea typeface="CiscoSansTT" charset="0"/>
                <a:cs typeface="CiscoSansTT" charset="0"/>
              </a:rPr>
              <a:t>Testing Results</a:t>
            </a:r>
            <a:endParaRPr lang="en-US" sz="1200" kern="0" dirty="0">
              <a:solidFill>
                <a:srgbClr val="005073"/>
              </a:solidFill>
              <a:latin typeface="CiscoSansTT" charset="0"/>
              <a:ea typeface="CiscoSansTT" charset="0"/>
              <a:cs typeface="CiscoSansTT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758291" y="1160749"/>
            <a:ext cx="24003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Deployed </a:t>
            </a:r>
            <a:r>
              <a:rPr lang="en-US" sz="1000" dirty="0" err="1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StealthWatch</a:t>
            </a: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 into existing </a:t>
            </a:r>
            <a:r>
              <a:rPr lang="en-US" sz="1000" dirty="0" smtClean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infrastructure to identify other potentially malicious traffic</a:t>
            </a:r>
          </a:p>
          <a:p>
            <a:pPr marL="128588" indent="-128588"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005073">
                  <a:lumMod val="75000"/>
                </a:srgbClr>
              </a:solidFill>
              <a:latin typeface="CiscoSansTT ExtraLight"/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Deployed AMP for Endpoints to facilitate endpoint, network analysis, and </a:t>
            </a:r>
            <a:r>
              <a:rPr lang="en-US" sz="1000" dirty="0" smtClean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remediation</a:t>
            </a:r>
            <a:endParaRPr lang="en-US" sz="1000" dirty="0">
              <a:solidFill>
                <a:srgbClr val="005073">
                  <a:lumMod val="75000"/>
                </a:srgbClr>
              </a:solidFill>
              <a:latin typeface="CiscoSansTT ExtraLigh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680721" y="922691"/>
            <a:ext cx="22197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 smtClean="0">
                <a:solidFill>
                  <a:srgbClr val="FBAB18"/>
                </a:solidFill>
                <a:latin typeface="CiscoSansTT" charset="0"/>
                <a:ea typeface="CiscoSansTT" charset="0"/>
                <a:cs typeface="CiscoSansTT" charset="0"/>
              </a:rPr>
              <a:t>Deployed Visibility Tools</a:t>
            </a:r>
            <a:endParaRPr lang="en-US" sz="1200" kern="0" dirty="0">
              <a:solidFill>
                <a:srgbClr val="FBAB18"/>
              </a:solidFill>
              <a:latin typeface="CiscoSansTT" charset="0"/>
              <a:ea typeface="CiscoSansTT" charset="0"/>
              <a:cs typeface="CiscoSansTT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28885" y="3952447"/>
            <a:ext cx="24003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rgbClr val="005073">
                    <a:lumMod val="75000"/>
                  </a:srgbClr>
                </a:solidFill>
                <a:latin typeface="CiscoSansTT ExtraLight"/>
              </a:rPr>
              <a:t>Prescribed mechanism, rhythm, and audience for each level of incident severity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52408" y="3710051"/>
            <a:ext cx="1654697" cy="284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200" kern="0" dirty="0" smtClean="0">
                <a:solidFill>
                  <a:schemeClr val="accent2"/>
                </a:solidFill>
                <a:latin typeface="CiscoSansTT" charset="0"/>
                <a:ea typeface="CiscoSansTT" charset="0"/>
                <a:cs typeface="CiscoSansTT" charset="0"/>
              </a:rPr>
              <a:t>Communication</a:t>
            </a:r>
            <a:endParaRPr lang="en-US" sz="1200" kern="0" dirty="0">
              <a:solidFill>
                <a:schemeClr val="accent2"/>
              </a:solidFill>
              <a:latin typeface="CiscoSansTT" charset="0"/>
              <a:ea typeface="CiscoSansTT" charset="0"/>
              <a:cs typeface="CiscoSansT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1495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</a:t>
            </a:r>
            <a:r>
              <a:rPr lang="en-US" dirty="0" smtClean="0"/>
              <a:t>Presenters</a:t>
            </a:r>
            <a:endParaRPr lang="en-US" dirty="0"/>
          </a:p>
        </p:txBody>
      </p:sp>
      <p:sp>
        <p:nvSpPr>
          <p:cNvPr id="41" name="TextBox 40"/>
          <p:cNvSpPr txBox="1"/>
          <p:nvPr/>
        </p:nvSpPr>
        <p:spPr>
          <a:xfrm>
            <a:off x="608615" y="2602187"/>
            <a:ext cx="20174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 smtClean="0">
                <a:latin typeface="CiscoSansTT Light" charset="0"/>
                <a:ea typeface="CiscoSansTT Light" charset="0"/>
                <a:cs typeface="CiscoSansTT Light" charset="0"/>
              </a:rPr>
              <a:t>Security Services Portfolio Manager</a:t>
            </a:r>
            <a:endParaRPr lang="en-US" sz="1000" kern="0" dirty="0">
              <a:latin typeface="CiscoSansTT Light" charset="0"/>
              <a:ea typeface="CiscoSansTT Light" charset="0"/>
              <a:cs typeface="CiscoSansTT Light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873285" y="4495432"/>
            <a:ext cx="23293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latin typeface="CiscoSansTT Light" charset="0"/>
                <a:ea typeface="CiscoSansTT Light" charset="0"/>
                <a:cs typeface="CiscoSansTT Light" charset="0"/>
              </a:rPr>
              <a:t>Team Leader, Incident Response</a:t>
            </a:r>
            <a:endParaRPr lang="en-US" sz="1000" kern="0" dirty="0">
              <a:latin typeface="CiscoSansTT Light" charset="0"/>
              <a:ea typeface="CiscoSansTT Light" charset="0"/>
              <a:cs typeface="CiscoSansTT Light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873286" y="4269357"/>
            <a:ext cx="23452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 smtClean="0">
                <a:solidFill>
                  <a:schemeClr val="accent6"/>
                </a:solidFill>
                <a:latin typeface="CiscoSansTT" charset="0"/>
                <a:ea typeface="CiscoSansTT" charset="0"/>
                <a:cs typeface="CiscoSansTT" charset="0"/>
              </a:rPr>
              <a:t>Brad Garnett</a:t>
            </a:r>
            <a:endParaRPr lang="en-US" sz="1400" kern="0" dirty="0">
              <a:solidFill>
                <a:schemeClr val="accent6"/>
              </a:solidFill>
              <a:latin typeface="CiscoSansTT" charset="0"/>
              <a:ea typeface="CiscoSansTT" charset="0"/>
              <a:cs typeface="CiscoSansTT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4895185" y="2602187"/>
            <a:ext cx="30366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latin typeface="CiscoSansTT Light" charset="0"/>
                <a:ea typeface="CiscoSansTT Light" charset="0"/>
                <a:cs typeface="CiscoSansTT Light" charset="0"/>
              </a:rPr>
              <a:t>Service Provider </a:t>
            </a:r>
            <a:r>
              <a:rPr lang="en-US" sz="1000" smtClean="0">
                <a:latin typeface="CiscoSansTT Light" charset="0"/>
                <a:ea typeface="CiscoSansTT Light" charset="0"/>
                <a:cs typeface="CiscoSansTT Light" charset="0"/>
              </a:rPr>
              <a:t>Security Principle &amp; Director </a:t>
            </a:r>
            <a:endParaRPr lang="en-US" sz="1000" kern="0" dirty="0">
              <a:latin typeface="CiscoSansTT Light" charset="0"/>
              <a:ea typeface="CiscoSansTT Light" charset="0"/>
              <a:cs typeface="CiscoSansTT Light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4868294" y="2376112"/>
            <a:ext cx="1934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 err="1" smtClean="0">
                <a:solidFill>
                  <a:schemeClr val="accent2"/>
                </a:solidFill>
                <a:latin typeface="CiscoSansTT" charset="0"/>
                <a:ea typeface="CiscoSansTT" charset="0"/>
                <a:cs typeface="CiscoSansTT" charset="0"/>
              </a:rPr>
              <a:t>Taslimm</a:t>
            </a:r>
            <a:r>
              <a:rPr lang="en-US" sz="1400" kern="0" dirty="0" smtClean="0">
                <a:solidFill>
                  <a:schemeClr val="accent2"/>
                </a:solidFill>
                <a:latin typeface="CiscoSansTT" charset="0"/>
                <a:ea typeface="CiscoSansTT" charset="0"/>
                <a:cs typeface="CiscoSansTT" charset="0"/>
              </a:rPr>
              <a:t> </a:t>
            </a:r>
            <a:r>
              <a:rPr lang="en-US" sz="1400" kern="0" dirty="0" err="1" smtClean="0">
                <a:solidFill>
                  <a:schemeClr val="accent2"/>
                </a:solidFill>
                <a:latin typeface="CiscoSansTT" charset="0"/>
                <a:ea typeface="CiscoSansTT" charset="0"/>
                <a:cs typeface="CiscoSansTT" charset="0"/>
              </a:rPr>
              <a:t>Quraishi</a:t>
            </a:r>
            <a:endParaRPr lang="en-US" sz="1400" kern="0" dirty="0">
              <a:solidFill>
                <a:schemeClr val="accent2"/>
              </a:solidFill>
              <a:latin typeface="CiscoSansTT" charset="0"/>
              <a:ea typeface="CiscoSansTT" charset="0"/>
              <a:cs typeface="CiscoSansTT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02522" y="2376112"/>
            <a:ext cx="2260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 smtClean="0">
                <a:solidFill>
                  <a:schemeClr val="accent1"/>
                </a:solidFill>
                <a:latin typeface="CiscoSansTT" charset="0"/>
                <a:ea typeface="CiscoSansTT" charset="0"/>
                <a:cs typeface="CiscoSansTT" charset="0"/>
              </a:rPr>
              <a:t>Amy Henderson</a:t>
            </a:r>
            <a:endParaRPr lang="en-US" sz="1400" kern="0" dirty="0">
              <a:solidFill>
                <a:schemeClr val="accent1"/>
              </a:solidFill>
              <a:latin typeface="CiscoSansTT" charset="0"/>
              <a:ea typeface="CiscoSansTT" charset="0"/>
              <a:cs typeface="CiscoSansTT" charset="0"/>
            </a:endParaRPr>
          </a:p>
        </p:txBody>
      </p:sp>
      <p:sp>
        <p:nvSpPr>
          <p:cNvPr id="36" name="Rectangle 4"/>
          <p:cNvSpPr>
            <a:spLocks noChangeArrowheads="1"/>
          </p:cNvSpPr>
          <p:nvPr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4780639" y="1073150"/>
            <a:ext cx="0" cy="1598591"/>
          </a:xfrm>
          <a:prstGeom prst="line">
            <a:avLst/>
          </a:prstGeom>
          <a:noFill/>
          <a:ln w="12700" cap="rnd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534642" y="1073150"/>
            <a:ext cx="0" cy="1775258"/>
          </a:xfrm>
          <a:prstGeom prst="line">
            <a:avLst/>
          </a:prstGeom>
          <a:noFill/>
          <a:ln w="12700" cap="rnd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7787" y="1167376"/>
            <a:ext cx="914400" cy="121920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5912505" y="1204364"/>
            <a:ext cx="26749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 fontAlgn="auto">
              <a:spcBef>
                <a:spcPts val="0"/>
              </a:spcBef>
              <a:spcAft>
                <a:spcPts val="0"/>
              </a:spcAft>
              <a:defRPr sz="1000" kern="0">
                <a:latin typeface="+mn-lt"/>
                <a:ea typeface="ＭＳ Ｐゴシック" pitchFamily="34" charset="-128"/>
                <a:cs typeface=""/>
              </a:defRPr>
            </a:lvl1pPr>
          </a:lstStyle>
          <a:p>
            <a:r>
              <a:rPr lang="en-US" dirty="0" err="1" smtClean="0"/>
              <a:t>Taslimm</a:t>
            </a:r>
            <a:r>
              <a:rPr lang="en-US" dirty="0" smtClean="0"/>
              <a:t> </a:t>
            </a:r>
            <a:r>
              <a:rPr lang="en-US" dirty="0" err="1" smtClean="0"/>
              <a:t>Quraishi</a:t>
            </a:r>
            <a:r>
              <a:rPr lang="en-US" dirty="0" smtClean="0"/>
              <a:t> has several years of experience </a:t>
            </a:r>
            <a:r>
              <a:rPr lang="en-US" dirty="0"/>
              <a:t>developing, managing, and delivering security and risk-based services to Fortune 500 companies, with vertical expertise in communications/service provider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/>
          <a:srcRect l="13307" t="1574" r="13307" b="1574"/>
          <a:stretch/>
        </p:blipFill>
        <p:spPr>
          <a:xfrm>
            <a:off x="715052" y="1167376"/>
            <a:ext cx="914400" cy="1213014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1721374" y="1204364"/>
            <a:ext cx="27235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 fontAlgn="auto">
              <a:spcBef>
                <a:spcPts val="0"/>
              </a:spcBef>
              <a:spcAft>
                <a:spcPts val="0"/>
              </a:spcAft>
              <a:defRPr sz="1000" kern="0">
                <a:latin typeface="+mn-lt"/>
                <a:ea typeface="ＭＳ Ｐゴシック" pitchFamily="34" charset="-128"/>
                <a:cs typeface=""/>
              </a:defRPr>
            </a:lvl1pPr>
          </a:lstStyle>
          <a:p>
            <a:r>
              <a:rPr lang="en-US" dirty="0"/>
              <a:t>Amy Henderson is the Security Services portfolio manager for Advanced Services at </a:t>
            </a:r>
            <a:r>
              <a:rPr lang="en-US" dirty="0" smtClean="0"/>
              <a:t>Cisco.</a:t>
            </a:r>
            <a:r>
              <a:rPr lang="en-US" dirty="0"/>
              <a:t> </a:t>
            </a:r>
            <a:r>
              <a:rPr lang="en-US" dirty="0" smtClean="0"/>
              <a:t>She </a:t>
            </a:r>
            <a:r>
              <a:rPr lang="en-US" dirty="0"/>
              <a:t>has over 5 years of experience as a product manager developing IT-based services to help clients simplify their lives, and meet their business objectives.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2521" y="4495432"/>
            <a:ext cx="23293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 smtClean="0">
                <a:latin typeface="CiscoSansTT Light" charset="0"/>
                <a:ea typeface="CiscoSansTT Light" charset="0"/>
                <a:cs typeface="CiscoSansTT Light" charset="0"/>
              </a:rPr>
              <a:t>Service Provider Solutions Architect</a:t>
            </a:r>
            <a:endParaRPr lang="en-US" sz="1000" kern="0" dirty="0">
              <a:latin typeface="CiscoSansTT Light" charset="0"/>
              <a:ea typeface="CiscoSansTT Light" charset="0"/>
              <a:cs typeface="CiscoSansTT Light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02522" y="4269357"/>
            <a:ext cx="23452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00" kern="0" dirty="0" smtClean="0">
                <a:solidFill>
                  <a:schemeClr val="accent5"/>
                </a:solidFill>
                <a:latin typeface="CiscoSansTT" charset="0"/>
                <a:ea typeface="CiscoSansTT" charset="0"/>
                <a:cs typeface="CiscoSansTT" charset="0"/>
              </a:rPr>
              <a:t>Steve </a:t>
            </a:r>
            <a:r>
              <a:rPr lang="en-US" sz="1400" kern="0" dirty="0" err="1" smtClean="0">
                <a:solidFill>
                  <a:schemeClr val="accent5"/>
                </a:solidFill>
                <a:latin typeface="CiscoSansTT" charset="0"/>
                <a:ea typeface="CiscoSansTT" charset="0"/>
                <a:cs typeface="CiscoSansTT" charset="0"/>
              </a:rPr>
              <a:t>Nowell</a:t>
            </a:r>
            <a:endParaRPr lang="en-US" sz="1400" kern="0" dirty="0">
              <a:solidFill>
                <a:schemeClr val="accent5"/>
              </a:solidFill>
              <a:latin typeface="CiscoSansTT" charset="0"/>
              <a:ea typeface="CiscoSansTT" charset="0"/>
              <a:cs typeface="CiscoSansTT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534642" y="2934332"/>
            <a:ext cx="0" cy="1775258"/>
          </a:xfrm>
          <a:prstGeom prst="line">
            <a:avLst/>
          </a:prstGeom>
          <a:noFill/>
          <a:ln w="12700" cap="rnd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4780639" y="2934332"/>
            <a:ext cx="0" cy="1775258"/>
          </a:xfrm>
          <a:prstGeom prst="line">
            <a:avLst/>
          </a:prstGeom>
          <a:noFill/>
          <a:ln w="12700" cap="rnd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/>
          <a:srcRect l="18230" r="7796" b="1614"/>
          <a:stretch/>
        </p:blipFill>
        <p:spPr>
          <a:xfrm>
            <a:off x="4967787" y="3037175"/>
            <a:ext cx="914400" cy="1216152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5910614" y="3001644"/>
            <a:ext cx="287264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>
                <a:latin typeface="ciscosansLight" charset="0"/>
              </a:rPr>
              <a:t>Brad Garnett is a Team Leader of Incident Response at Cisco Security Services with over ten years of experience in the information security field focusing efforts on: Digital Forensics, Incident Response, Cyber Security Attacks, Malware, Threat Intelligence, Cybercrime, and hacktivism.</a:t>
            </a:r>
            <a:endParaRPr lang="en-US" sz="1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338" y="3037174"/>
            <a:ext cx="912114" cy="1216152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1721374" y="3163889"/>
            <a:ext cx="27264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914400" fontAlgn="auto">
              <a:spcBef>
                <a:spcPts val="0"/>
              </a:spcBef>
              <a:spcAft>
                <a:spcPts val="0"/>
              </a:spcAft>
              <a:defRPr sz="1000" kern="0">
                <a:latin typeface="+mn-lt"/>
                <a:ea typeface="ＭＳ Ｐゴシック" pitchFamily="34" charset="-128"/>
                <a:cs typeface=""/>
              </a:defRPr>
            </a:lvl1pPr>
          </a:lstStyle>
          <a:p>
            <a:r>
              <a:rPr lang="en-US" dirty="0" smtClean="0"/>
              <a:t>Steve Nowell is a Solutions Architect with twenty years of experience, ten of which are at Cisco, in both security and route / switch technologies.  Most of his background has been focused solely with Service Provid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552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22"/>
          <p:cNvSpPr/>
          <p:nvPr/>
        </p:nvSpPr>
        <p:spPr>
          <a:xfrm>
            <a:off x="3345805" y="2071772"/>
            <a:ext cx="2377550" cy="217985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r>
              <a:rPr lang="en-US" sz="1400" dirty="0" smtClean="0">
                <a:solidFill>
                  <a:srgbClr val="005073"/>
                </a:solidFill>
                <a:latin typeface="+mn-lt"/>
              </a:rPr>
              <a:t>Communication and Collaboration</a:t>
            </a: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345805" y="2050099"/>
            <a:ext cx="2377550" cy="107018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5881420" y="2071772"/>
            <a:ext cx="2373779" cy="217985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r>
              <a:rPr lang="en-US" sz="1400" dirty="0" smtClean="0">
                <a:solidFill>
                  <a:srgbClr val="005073"/>
                </a:solidFill>
                <a:latin typeface="+mn-lt"/>
              </a:rPr>
              <a:t>Test the IR Plan</a:t>
            </a: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5882468" y="2050099"/>
            <a:ext cx="2377550" cy="107018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810190" y="2071772"/>
            <a:ext cx="2377550" cy="217985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r>
              <a:rPr lang="en-US" sz="1400" dirty="0" smtClean="0">
                <a:solidFill>
                  <a:srgbClr val="005073"/>
                </a:solidFill>
                <a:latin typeface="+mn-lt"/>
              </a:rPr>
              <a:t>Incident Response Plan</a:t>
            </a: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809142" y="2050099"/>
            <a:ext cx="2377550" cy="107018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 smtClean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  <a:p>
            <a:pPr algn="ctr">
              <a:buClr>
                <a:srgbClr val="005073"/>
              </a:buClr>
            </a:pPr>
            <a:endParaRPr lang="en-US" sz="1400" dirty="0">
              <a:solidFill>
                <a:srgbClr val="005073"/>
              </a:solidFill>
              <a:latin typeface="+mn-lt"/>
            </a:endParaRPr>
          </a:p>
        </p:txBody>
      </p:sp>
      <p:sp>
        <p:nvSpPr>
          <p:cNvPr id="23" name="Round Same Side Corner Rectangle 22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Text Placeholder 3"/>
          <p:cNvSpPr txBox="1">
            <a:spLocks/>
          </p:cNvSpPr>
          <p:nvPr/>
        </p:nvSpPr>
        <p:spPr>
          <a:xfrm>
            <a:off x="893971" y="1661386"/>
            <a:ext cx="3423577" cy="1406207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5073"/>
              </a:buClr>
            </a:pPr>
            <a:endParaRPr lang="en-US" sz="1200" dirty="0" smtClean="0">
              <a:solidFill>
                <a:srgbClr val="005073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04" y="439132"/>
            <a:ext cx="541250" cy="574327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/>
        </p:nvSpPr>
        <p:spPr bwMode="auto">
          <a:xfrm>
            <a:off x="1235966" y="360378"/>
            <a:ext cx="7440862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200" b="0" i="0" u="none" kern="120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2pPr>
            <a:lvl3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3pPr>
            <a:lvl4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4pPr>
            <a:lvl5pPr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5pPr>
            <a:lvl6pPr marL="457189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378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566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754" algn="l" defTabSz="684196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000" dirty="0" smtClean="0"/>
              <a:t>Could this have been prevented or minimized?</a:t>
            </a:r>
          </a:p>
        </p:txBody>
      </p:sp>
      <p:sp>
        <p:nvSpPr>
          <p:cNvPr id="24" name="Oval 23"/>
          <p:cNvSpPr>
            <a:spLocks noChangeArrowheads="1"/>
          </p:cNvSpPr>
          <p:nvPr/>
        </p:nvSpPr>
        <p:spPr bwMode="auto">
          <a:xfrm>
            <a:off x="1477757" y="1612661"/>
            <a:ext cx="1042416" cy="1042416"/>
          </a:xfrm>
          <a:prstGeom prst="ellipse">
            <a:avLst/>
          </a:prstGeom>
          <a:solidFill>
            <a:schemeClr val="accent5"/>
          </a:solidFill>
          <a:ln w="12700"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sp>
        <p:nvSpPr>
          <p:cNvPr id="26" name="Oval 25"/>
          <p:cNvSpPr>
            <a:spLocks noChangeArrowheads="1"/>
          </p:cNvSpPr>
          <p:nvPr/>
        </p:nvSpPr>
        <p:spPr bwMode="auto">
          <a:xfrm>
            <a:off x="4013372" y="1612661"/>
            <a:ext cx="1042416" cy="1042416"/>
          </a:xfrm>
          <a:prstGeom prst="ellipse">
            <a:avLst/>
          </a:prstGeom>
          <a:solidFill>
            <a:schemeClr val="accent2"/>
          </a:solidFill>
          <a:ln w="12700"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sp>
        <p:nvSpPr>
          <p:cNvPr id="27" name="Oval 26"/>
          <p:cNvSpPr>
            <a:spLocks noChangeArrowheads="1"/>
          </p:cNvSpPr>
          <p:nvPr/>
        </p:nvSpPr>
        <p:spPr bwMode="auto">
          <a:xfrm>
            <a:off x="6548987" y="1612661"/>
            <a:ext cx="1042416" cy="1042416"/>
          </a:xfrm>
          <a:prstGeom prst="ellipse">
            <a:avLst/>
          </a:prstGeom>
          <a:solidFill>
            <a:schemeClr val="accent1"/>
          </a:solidFill>
          <a:ln w="12700"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grpSp>
        <p:nvGrpSpPr>
          <p:cNvPr id="28" name="Group 21"/>
          <p:cNvGrpSpPr>
            <a:grpSpLocks noChangeAspect="1"/>
          </p:cNvGrpSpPr>
          <p:nvPr/>
        </p:nvGrpSpPr>
        <p:grpSpPr bwMode="auto">
          <a:xfrm>
            <a:off x="1753367" y="1820779"/>
            <a:ext cx="505003" cy="625967"/>
            <a:chOff x="1556" y="444"/>
            <a:chExt cx="1027" cy="1273"/>
          </a:xfrm>
        </p:grpSpPr>
        <p:sp>
          <p:nvSpPr>
            <p:cNvPr id="29" name="Freeform 22"/>
            <p:cNvSpPr>
              <a:spLocks/>
            </p:cNvSpPr>
            <p:nvPr/>
          </p:nvSpPr>
          <p:spPr bwMode="auto">
            <a:xfrm>
              <a:off x="1556" y="444"/>
              <a:ext cx="1027" cy="1273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auto">
            <a:xfrm>
              <a:off x="1699" y="684"/>
              <a:ext cx="456" cy="95"/>
            </a:xfrm>
            <a:custGeom>
              <a:avLst/>
              <a:gdLst>
                <a:gd name="T0" fmla="*/ 172 w 192"/>
                <a:gd name="T1" fmla="*/ 40 h 40"/>
                <a:gd name="T2" fmla="*/ 20 w 192"/>
                <a:gd name="T3" fmla="*/ 40 h 40"/>
                <a:gd name="T4" fmla="*/ 0 w 192"/>
                <a:gd name="T5" fmla="*/ 20 h 40"/>
                <a:gd name="T6" fmla="*/ 20 w 192"/>
                <a:gd name="T7" fmla="*/ 0 h 40"/>
                <a:gd name="T8" fmla="*/ 172 w 192"/>
                <a:gd name="T9" fmla="*/ 0 h 40"/>
                <a:gd name="T10" fmla="*/ 192 w 192"/>
                <a:gd name="T11" fmla="*/ 20 h 40"/>
                <a:gd name="T12" fmla="*/ 172 w 19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0">
                  <a:moveTo>
                    <a:pt x="172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3" y="0"/>
                    <a:pt x="192" y="9"/>
                    <a:pt x="192" y="20"/>
                  </a:cubicBezTo>
                  <a:cubicBezTo>
                    <a:pt x="192" y="31"/>
                    <a:pt x="183" y="40"/>
                    <a:pt x="172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4"/>
            <p:cNvSpPr>
              <a:spLocks/>
            </p:cNvSpPr>
            <p:nvPr/>
          </p:nvSpPr>
          <p:spPr bwMode="auto">
            <a:xfrm>
              <a:off x="1699" y="91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5"/>
            <p:cNvSpPr>
              <a:spLocks/>
            </p:cNvSpPr>
            <p:nvPr/>
          </p:nvSpPr>
          <p:spPr bwMode="auto">
            <a:xfrm>
              <a:off x="1699" y="1152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6"/>
            <p:cNvSpPr>
              <a:spLocks/>
            </p:cNvSpPr>
            <p:nvPr/>
          </p:nvSpPr>
          <p:spPr bwMode="auto">
            <a:xfrm>
              <a:off x="1699" y="138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7"/>
            <p:cNvSpPr>
              <a:spLocks/>
            </p:cNvSpPr>
            <p:nvPr/>
          </p:nvSpPr>
          <p:spPr bwMode="auto">
            <a:xfrm>
              <a:off x="2267" y="444"/>
              <a:ext cx="316" cy="320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200097" y="1776858"/>
            <a:ext cx="675837" cy="646441"/>
            <a:chOff x="6493421" y="-20381"/>
            <a:chExt cx="1290462" cy="1234331"/>
          </a:xfrm>
        </p:grpSpPr>
        <p:grpSp>
          <p:nvGrpSpPr>
            <p:cNvPr id="36" name="Group 4"/>
            <p:cNvGrpSpPr>
              <a:grpSpLocks noChangeAspect="1"/>
            </p:cNvGrpSpPr>
            <p:nvPr/>
          </p:nvGrpSpPr>
          <p:grpSpPr bwMode="auto">
            <a:xfrm>
              <a:off x="6493421" y="299644"/>
              <a:ext cx="412156" cy="883191"/>
              <a:chOff x="598" y="1936"/>
              <a:chExt cx="287" cy="615"/>
            </a:xfrm>
            <a:solidFill>
              <a:schemeClr val="accent2"/>
            </a:solidFill>
          </p:grpSpPr>
          <p:sp>
            <p:nvSpPr>
              <p:cNvPr id="43" name="Freeform 6"/>
              <p:cNvSpPr>
                <a:spLocks/>
              </p:cNvSpPr>
              <p:nvPr/>
            </p:nvSpPr>
            <p:spPr bwMode="auto">
              <a:xfrm>
                <a:off x="598" y="2158"/>
                <a:ext cx="287" cy="393"/>
              </a:xfrm>
              <a:custGeom>
                <a:avLst/>
                <a:gdLst>
                  <a:gd name="T0" fmla="*/ 145 w 572"/>
                  <a:gd name="T1" fmla="*/ 788 h 788"/>
                  <a:gd name="T2" fmla="*/ 130 w 572"/>
                  <a:gd name="T3" fmla="*/ 786 h 788"/>
                  <a:gd name="T4" fmla="*/ 102 w 572"/>
                  <a:gd name="T5" fmla="*/ 780 h 788"/>
                  <a:gd name="T6" fmla="*/ 76 w 572"/>
                  <a:gd name="T7" fmla="*/ 769 h 788"/>
                  <a:gd name="T8" fmla="*/ 52 w 572"/>
                  <a:gd name="T9" fmla="*/ 754 h 788"/>
                  <a:gd name="T10" fmla="*/ 33 w 572"/>
                  <a:gd name="T11" fmla="*/ 734 h 788"/>
                  <a:gd name="T12" fmla="*/ 17 w 572"/>
                  <a:gd name="T13" fmla="*/ 711 h 788"/>
                  <a:gd name="T14" fmla="*/ 6 w 572"/>
                  <a:gd name="T15" fmla="*/ 684 h 788"/>
                  <a:gd name="T16" fmla="*/ 0 w 572"/>
                  <a:gd name="T17" fmla="*/ 655 h 788"/>
                  <a:gd name="T18" fmla="*/ 0 w 572"/>
                  <a:gd name="T19" fmla="*/ 145 h 788"/>
                  <a:gd name="T20" fmla="*/ 0 w 572"/>
                  <a:gd name="T21" fmla="*/ 131 h 788"/>
                  <a:gd name="T22" fmla="*/ 6 w 572"/>
                  <a:gd name="T23" fmla="*/ 102 h 788"/>
                  <a:gd name="T24" fmla="*/ 17 w 572"/>
                  <a:gd name="T25" fmla="*/ 77 h 788"/>
                  <a:gd name="T26" fmla="*/ 33 w 572"/>
                  <a:gd name="T27" fmla="*/ 53 h 788"/>
                  <a:gd name="T28" fmla="*/ 52 w 572"/>
                  <a:gd name="T29" fmla="*/ 34 h 788"/>
                  <a:gd name="T30" fmla="*/ 76 w 572"/>
                  <a:gd name="T31" fmla="*/ 18 h 788"/>
                  <a:gd name="T32" fmla="*/ 102 w 572"/>
                  <a:gd name="T33" fmla="*/ 6 h 788"/>
                  <a:gd name="T34" fmla="*/ 130 w 572"/>
                  <a:gd name="T35" fmla="*/ 2 h 788"/>
                  <a:gd name="T36" fmla="*/ 425 w 572"/>
                  <a:gd name="T37" fmla="*/ 0 h 788"/>
                  <a:gd name="T38" fmla="*/ 441 w 572"/>
                  <a:gd name="T39" fmla="*/ 2 h 788"/>
                  <a:gd name="T40" fmla="*/ 468 w 572"/>
                  <a:gd name="T41" fmla="*/ 6 h 788"/>
                  <a:gd name="T42" fmla="*/ 495 w 572"/>
                  <a:gd name="T43" fmla="*/ 18 h 788"/>
                  <a:gd name="T44" fmla="*/ 518 w 572"/>
                  <a:gd name="T45" fmla="*/ 34 h 788"/>
                  <a:gd name="T46" fmla="*/ 539 w 572"/>
                  <a:gd name="T47" fmla="*/ 53 h 788"/>
                  <a:gd name="T48" fmla="*/ 553 w 572"/>
                  <a:gd name="T49" fmla="*/ 77 h 788"/>
                  <a:gd name="T50" fmla="*/ 564 w 572"/>
                  <a:gd name="T51" fmla="*/ 102 h 788"/>
                  <a:gd name="T52" fmla="*/ 570 w 572"/>
                  <a:gd name="T53" fmla="*/ 131 h 788"/>
                  <a:gd name="T54" fmla="*/ 572 w 572"/>
                  <a:gd name="T55" fmla="*/ 641 h 788"/>
                  <a:gd name="T56" fmla="*/ 570 w 572"/>
                  <a:gd name="T57" fmla="*/ 655 h 788"/>
                  <a:gd name="T58" fmla="*/ 564 w 572"/>
                  <a:gd name="T59" fmla="*/ 684 h 788"/>
                  <a:gd name="T60" fmla="*/ 553 w 572"/>
                  <a:gd name="T61" fmla="*/ 711 h 788"/>
                  <a:gd name="T62" fmla="*/ 539 w 572"/>
                  <a:gd name="T63" fmla="*/ 734 h 788"/>
                  <a:gd name="T64" fmla="*/ 518 w 572"/>
                  <a:gd name="T65" fmla="*/ 754 h 788"/>
                  <a:gd name="T66" fmla="*/ 495 w 572"/>
                  <a:gd name="T67" fmla="*/ 769 h 788"/>
                  <a:gd name="T68" fmla="*/ 468 w 572"/>
                  <a:gd name="T69" fmla="*/ 780 h 788"/>
                  <a:gd name="T70" fmla="*/ 441 w 572"/>
                  <a:gd name="T71" fmla="*/ 786 h 788"/>
                  <a:gd name="T72" fmla="*/ 425 w 572"/>
                  <a:gd name="T73" fmla="*/ 788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2" h="788">
                    <a:moveTo>
                      <a:pt x="425" y="788"/>
                    </a:moveTo>
                    <a:lnTo>
                      <a:pt x="145" y="788"/>
                    </a:lnTo>
                    <a:lnTo>
                      <a:pt x="145" y="788"/>
                    </a:lnTo>
                    <a:lnTo>
                      <a:pt x="130" y="786"/>
                    </a:lnTo>
                    <a:lnTo>
                      <a:pt x="116" y="785"/>
                    </a:lnTo>
                    <a:lnTo>
                      <a:pt x="102" y="780"/>
                    </a:lnTo>
                    <a:lnTo>
                      <a:pt x="89" y="775"/>
                    </a:lnTo>
                    <a:lnTo>
                      <a:pt x="76" y="769"/>
                    </a:lnTo>
                    <a:lnTo>
                      <a:pt x="63" y="762"/>
                    </a:lnTo>
                    <a:lnTo>
                      <a:pt x="52" y="754"/>
                    </a:lnTo>
                    <a:lnTo>
                      <a:pt x="43" y="745"/>
                    </a:lnTo>
                    <a:lnTo>
                      <a:pt x="33" y="734"/>
                    </a:lnTo>
                    <a:lnTo>
                      <a:pt x="24" y="722"/>
                    </a:lnTo>
                    <a:lnTo>
                      <a:pt x="17" y="711"/>
                    </a:lnTo>
                    <a:lnTo>
                      <a:pt x="11" y="698"/>
                    </a:lnTo>
                    <a:lnTo>
                      <a:pt x="6" y="684"/>
                    </a:lnTo>
                    <a:lnTo>
                      <a:pt x="3" y="671"/>
                    </a:lnTo>
                    <a:lnTo>
                      <a:pt x="0" y="655"/>
                    </a:lnTo>
                    <a:lnTo>
                      <a:pt x="0" y="641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3" y="116"/>
                    </a:lnTo>
                    <a:lnTo>
                      <a:pt x="6" y="102"/>
                    </a:lnTo>
                    <a:lnTo>
                      <a:pt x="11" y="89"/>
                    </a:lnTo>
                    <a:lnTo>
                      <a:pt x="17" y="77"/>
                    </a:lnTo>
                    <a:lnTo>
                      <a:pt x="24" y="64"/>
                    </a:lnTo>
                    <a:lnTo>
                      <a:pt x="33" y="53"/>
                    </a:lnTo>
                    <a:lnTo>
                      <a:pt x="43" y="43"/>
                    </a:lnTo>
                    <a:lnTo>
                      <a:pt x="52" y="34"/>
                    </a:lnTo>
                    <a:lnTo>
                      <a:pt x="63" y="26"/>
                    </a:lnTo>
                    <a:lnTo>
                      <a:pt x="76" y="18"/>
                    </a:lnTo>
                    <a:lnTo>
                      <a:pt x="89" y="11"/>
                    </a:lnTo>
                    <a:lnTo>
                      <a:pt x="102" y="6"/>
                    </a:lnTo>
                    <a:lnTo>
                      <a:pt x="116" y="3"/>
                    </a:lnTo>
                    <a:lnTo>
                      <a:pt x="130" y="2"/>
                    </a:lnTo>
                    <a:lnTo>
                      <a:pt x="145" y="0"/>
                    </a:lnTo>
                    <a:lnTo>
                      <a:pt x="425" y="0"/>
                    </a:lnTo>
                    <a:lnTo>
                      <a:pt x="425" y="0"/>
                    </a:lnTo>
                    <a:lnTo>
                      <a:pt x="441" y="2"/>
                    </a:lnTo>
                    <a:lnTo>
                      <a:pt x="456" y="3"/>
                    </a:lnTo>
                    <a:lnTo>
                      <a:pt x="468" y="6"/>
                    </a:lnTo>
                    <a:lnTo>
                      <a:pt x="483" y="11"/>
                    </a:lnTo>
                    <a:lnTo>
                      <a:pt x="495" y="18"/>
                    </a:lnTo>
                    <a:lnTo>
                      <a:pt x="507" y="26"/>
                    </a:lnTo>
                    <a:lnTo>
                      <a:pt x="518" y="34"/>
                    </a:lnTo>
                    <a:lnTo>
                      <a:pt x="529" y="43"/>
                    </a:lnTo>
                    <a:lnTo>
                      <a:pt x="539" y="53"/>
                    </a:lnTo>
                    <a:lnTo>
                      <a:pt x="546" y="64"/>
                    </a:lnTo>
                    <a:lnTo>
                      <a:pt x="553" y="77"/>
                    </a:lnTo>
                    <a:lnTo>
                      <a:pt x="559" y="89"/>
                    </a:lnTo>
                    <a:lnTo>
                      <a:pt x="564" y="102"/>
                    </a:lnTo>
                    <a:lnTo>
                      <a:pt x="569" y="116"/>
                    </a:lnTo>
                    <a:lnTo>
                      <a:pt x="570" y="131"/>
                    </a:lnTo>
                    <a:lnTo>
                      <a:pt x="572" y="145"/>
                    </a:lnTo>
                    <a:lnTo>
                      <a:pt x="572" y="641"/>
                    </a:lnTo>
                    <a:lnTo>
                      <a:pt x="572" y="641"/>
                    </a:lnTo>
                    <a:lnTo>
                      <a:pt x="570" y="655"/>
                    </a:lnTo>
                    <a:lnTo>
                      <a:pt x="569" y="671"/>
                    </a:lnTo>
                    <a:lnTo>
                      <a:pt x="564" y="684"/>
                    </a:lnTo>
                    <a:lnTo>
                      <a:pt x="559" y="698"/>
                    </a:lnTo>
                    <a:lnTo>
                      <a:pt x="553" y="711"/>
                    </a:lnTo>
                    <a:lnTo>
                      <a:pt x="546" y="722"/>
                    </a:lnTo>
                    <a:lnTo>
                      <a:pt x="539" y="734"/>
                    </a:lnTo>
                    <a:lnTo>
                      <a:pt x="529" y="745"/>
                    </a:lnTo>
                    <a:lnTo>
                      <a:pt x="518" y="754"/>
                    </a:lnTo>
                    <a:lnTo>
                      <a:pt x="507" y="762"/>
                    </a:lnTo>
                    <a:lnTo>
                      <a:pt x="495" y="769"/>
                    </a:lnTo>
                    <a:lnTo>
                      <a:pt x="483" y="775"/>
                    </a:lnTo>
                    <a:lnTo>
                      <a:pt x="468" y="780"/>
                    </a:lnTo>
                    <a:lnTo>
                      <a:pt x="456" y="785"/>
                    </a:lnTo>
                    <a:lnTo>
                      <a:pt x="441" y="786"/>
                    </a:lnTo>
                    <a:lnTo>
                      <a:pt x="425" y="788"/>
                    </a:lnTo>
                    <a:lnTo>
                      <a:pt x="425" y="78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7"/>
              <p:cNvSpPr>
                <a:spLocks/>
              </p:cNvSpPr>
              <p:nvPr/>
            </p:nvSpPr>
            <p:spPr bwMode="auto">
              <a:xfrm>
                <a:off x="655" y="1936"/>
                <a:ext cx="172" cy="172"/>
              </a:xfrm>
              <a:custGeom>
                <a:avLst/>
                <a:gdLst>
                  <a:gd name="T0" fmla="*/ 0 w 344"/>
                  <a:gd name="T1" fmla="*/ 172 h 344"/>
                  <a:gd name="T2" fmla="*/ 3 w 344"/>
                  <a:gd name="T3" fmla="*/ 138 h 344"/>
                  <a:gd name="T4" fmla="*/ 14 w 344"/>
                  <a:gd name="T5" fmla="*/ 105 h 344"/>
                  <a:gd name="T6" fmla="*/ 30 w 344"/>
                  <a:gd name="T7" fmla="*/ 76 h 344"/>
                  <a:gd name="T8" fmla="*/ 51 w 344"/>
                  <a:gd name="T9" fmla="*/ 51 h 344"/>
                  <a:gd name="T10" fmla="*/ 76 w 344"/>
                  <a:gd name="T11" fmla="*/ 30 h 344"/>
                  <a:gd name="T12" fmla="*/ 105 w 344"/>
                  <a:gd name="T13" fmla="*/ 14 h 344"/>
                  <a:gd name="T14" fmla="*/ 137 w 344"/>
                  <a:gd name="T15" fmla="*/ 5 h 344"/>
                  <a:gd name="T16" fmla="*/ 172 w 344"/>
                  <a:gd name="T17" fmla="*/ 0 h 344"/>
                  <a:gd name="T18" fmla="*/ 190 w 344"/>
                  <a:gd name="T19" fmla="*/ 1 h 344"/>
                  <a:gd name="T20" fmla="*/ 223 w 344"/>
                  <a:gd name="T21" fmla="*/ 8 h 344"/>
                  <a:gd name="T22" fmla="*/ 255 w 344"/>
                  <a:gd name="T23" fmla="*/ 21 h 344"/>
                  <a:gd name="T24" fmla="*/ 282 w 344"/>
                  <a:gd name="T25" fmla="*/ 40 h 344"/>
                  <a:gd name="T26" fmla="*/ 304 w 344"/>
                  <a:gd name="T27" fmla="*/ 64 h 344"/>
                  <a:gd name="T28" fmla="*/ 323 w 344"/>
                  <a:gd name="T29" fmla="*/ 91 h 344"/>
                  <a:gd name="T30" fmla="*/ 336 w 344"/>
                  <a:gd name="T31" fmla="*/ 121 h 344"/>
                  <a:gd name="T32" fmla="*/ 344 w 344"/>
                  <a:gd name="T33" fmla="*/ 154 h 344"/>
                  <a:gd name="T34" fmla="*/ 344 w 344"/>
                  <a:gd name="T35" fmla="*/ 172 h 344"/>
                  <a:gd name="T36" fmla="*/ 341 w 344"/>
                  <a:gd name="T37" fmla="*/ 207 h 344"/>
                  <a:gd name="T38" fmla="*/ 331 w 344"/>
                  <a:gd name="T39" fmla="*/ 239 h 344"/>
                  <a:gd name="T40" fmla="*/ 316 w 344"/>
                  <a:gd name="T41" fmla="*/ 269 h 344"/>
                  <a:gd name="T42" fmla="*/ 295 w 344"/>
                  <a:gd name="T43" fmla="*/ 295 h 344"/>
                  <a:gd name="T44" fmla="*/ 269 w 344"/>
                  <a:gd name="T45" fmla="*/ 315 h 344"/>
                  <a:gd name="T46" fmla="*/ 239 w 344"/>
                  <a:gd name="T47" fmla="*/ 331 h 344"/>
                  <a:gd name="T48" fmla="*/ 207 w 344"/>
                  <a:gd name="T49" fmla="*/ 341 h 344"/>
                  <a:gd name="T50" fmla="*/ 172 w 344"/>
                  <a:gd name="T51" fmla="*/ 344 h 344"/>
                  <a:gd name="T52" fmla="*/ 154 w 344"/>
                  <a:gd name="T53" fmla="*/ 344 h 344"/>
                  <a:gd name="T54" fmla="*/ 121 w 344"/>
                  <a:gd name="T55" fmla="*/ 338 h 344"/>
                  <a:gd name="T56" fmla="*/ 91 w 344"/>
                  <a:gd name="T57" fmla="*/ 323 h 344"/>
                  <a:gd name="T58" fmla="*/ 64 w 344"/>
                  <a:gd name="T59" fmla="*/ 306 h 344"/>
                  <a:gd name="T60" fmla="*/ 40 w 344"/>
                  <a:gd name="T61" fmla="*/ 282 h 344"/>
                  <a:gd name="T62" fmla="*/ 21 w 344"/>
                  <a:gd name="T63" fmla="*/ 255 h 344"/>
                  <a:gd name="T64" fmla="*/ 8 w 344"/>
                  <a:gd name="T65" fmla="*/ 225 h 344"/>
                  <a:gd name="T66" fmla="*/ 1 w 344"/>
                  <a:gd name="T67" fmla="*/ 190 h 344"/>
                  <a:gd name="T68" fmla="*/ 0 w 344"/>
                  <a:gd name="T69" fmla="*/ 172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44">
                    <a:moveTo>
                      <a:pt x="0" y="172"/>
                    </a:moveTo>
                    <a:lnTo>
                      <a:pt x="0" y="172"/>
                    </a:lnTo>
                    <a:lnTo>
                      <a:pt x="1" y="154"/>
                    </a:lnTo>
                    <a:lnTo>
                      <a:pt x="3" y="138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1"/>
                    </a:lnTo>
                    <a:lnTo>
                      <a:pt x="30" y="76"/>
                    </a:lnTo>
                    <a:lnTo>
                      <a:pt x="40" y="64"/>
                    </a:lnTo>
                    <a:lnTo>
                      <a:pt x="51" y="51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1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7" y="5"/>
                    </a:lnTo>
                    <a:lnTo>
                      <a:pt x="154" y="1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90" y="1"/>
                    </a:lnTo>
                    <a:lnTo>
                      <a:pt x="207" y="5"/>
                    </a:lnTo>
                    <a:lnTo>
                      <a:pt x="223" y="8"/>
                    </a:lnTo>
                    <a:lnTo>
                      <a:pt x="239" y="14"/>
                    </a:lnTo>
                    <a:lnTo>
                      <a:pt x="255" y="21"/>
                    </a:lnTo>
                    <a:lnTo>
                      <a:pt x="269" y="30"/>
                    </a:lnTo>
                    <a:lnTo>
                      <a:pt x="282" y="40"/>
                    </a:lnTo>
                    <a:lnTo>
                      <a:pt x="295" y="51"/>
                    </a:lnTo>
                    <a:lnTo>
                      <a:pt x="304" y="64"/>
                    </a:lnTo>
                    <a:lnTo>
                      <a:pt x="316" y="76"/>
                    </a:lnTo>
                    <a:lnTo>
                      <a:pt x="323" y="91"/>
                    </a:lnTo>
                    <a:lnTo>
                      <a:pt x="331" y="105"/>
                    </a:lnTo>
                    <a:lnTo>
                      <a:pt x="336" y="121"/>
                    </a:lnTo>
                    <a:lnTo>
                      <a:pt x="341" y="138"/>
                    </a:lnTo>
                    <a:lnTo>
                      <a:pt x="344" y="154"/>
                    </a:lnTo>
                    <a:lnTo>
                      <a:pt x="344" y="172"/>
                    </a:lnTo>
                    <a:lnTo>
                      <a:pt x="344" y="172"/>
                    </a:lnTo>
                    <a:lnTo>
                      <a:pt x="344" y="190"/>
                    </a:lnTo>
                    <a:lnTo>
                      <a:pt x="341" y="207"/>
                    </a:lnTo>
                    <a:lnTo>
                      <a:pt x="336" y="225"/>
                    </a:lnTo>
                    <a:lnTo>
                      <a:pt x="331" y="239"/>
                    </a:lnTo>
                    <a:lnTo>
                      <a:pt x="323" y="255"/>
                    </a:lnTo>
                    <a:lnTo>
                      <a:pt x="316" y="269"/>
                    </a:lnTo>
                    <a:lnTo>
                      <a:pt x="304" y="282"/>
                    </a:lnTo>
                    <a:lnTo>
                      <a:pt x="295" y="295"/>
                    </a:lnTo>
                    <a:lnTo>
                      <a:pt x="282" y="306"/>
                    </a:lnTo>
                    <a:lnTo>
                      <a:pt x="269" y="315"/>
                    </a:lnTo>
                    <a:lnTo>
                      <a:pt x="255" y="323"/>
                    </a:lnTo>
                    <a:lnTo>
                      <a:pt x="239" y="331"/>
                    </a:lnTo>
                    <a:lnTo>
                      <a:pt x="223" y="338"/>
                    </a:lnTo>
                    <a:lnTo>
                      <a:pt x="207" y="341"/>
                    </a:lnTo>
                    <a:lnTo>
                      <a:pt x="190" y="344"/>
                    </a:lnTo>
                    <a:lnTo>
                      <a:pt x="172" y="344"/>
                    </a:lnTo>
                    <a:lnTo>
                      <a:pt x="172" y="344"/>
                    </a:lnTo>
                    <a:lnTo>
                      <a:pt x="154" y="344"/>
                    </a:lnTo>
                    <a:lnTo>
                      <a:pt x="137" y="341"/>
                    </a:lnTo>
                    <a:lnTo>
                      <a:pt x="121" y="338"/>
                    </a:lnTo>
                    <a:lnTo>
                      <a:pt x="105" y="331"/>
                    </a:lnTo>
                    <a:lnTo>
                      <a:pt x="91" y="323"/>
                    </a:lnTo>
                    <a:lnTo>
                      <a:pt x="76" y="315"/>
                    </a:lnTo>
                    <a:lnTo>
                      <a:pt x="64" y="306"/>
                    </a:lnTo>
                    <a:lnTo>
                      <a:pt x="51" y="295"/>
                    </a:lnTo>
                    <a:lnTo>
                      <a:pt x="40" y="282"/>
                    </a:lnTo>
                    <a:lnTo>
                      <a:pt x="30" y="269"/>
                    </a:lnTo>
                    <a:lnTo>
                      <a:pt x="21" y="255"/>
                    </a:lnTo>
                    <a:lnTo>
                      <a:pt x="14" y="239"/>
                    </a:lnTo>
                    <a:lnTo>
                      <a:pt x="8" y="225"/>
                    </a:lnTo>
                    <a:lnTo>
                      <a:pt x="3" y="207"/>
                    </a:lnTo>
                    <a:lnTo>
                      <a:pt x="1" y="190"/>
                    </a:lnTo>
                    <a:lnTo>
                      <a:pt x="0" y="172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7" name="Group 4"/>
            <p:cNvGrpSpPr>
              <a:grpSpLocks noChangeAspect="1"/>
            </p:cNvGrpSpPr>
            <p:nvPr/>
          </p:nvGrpSpPr>
          <p:grpSpPr bwMode="auto">
            <a:xfrm>
              <a:off x="7371727" y="299644"/>
              <a:ext cx="412156" cy="883191"/>
              <a:chOff x="598" y="1936"/>
              <a:chExt cx="287" cy="615"/>
            </a:xfrm>
            <a:solidFill>
              <a:schemeClr val="accent1"/>
            </a:solidFill>
          </p:grpSpPr>
          <p:sp>
            <p:nvSpPr>
              <p:cNvPr id="41" name="Freeform 6"/>
              <p:cNvSpPr>
                <a:spLocks/>
              </p:cNvSpPr>
              <p:nvPr/>
            </p:nvSpPr>
            <p:spPr bwMode="auto">
              <a:xfrm>
                <a:off x="598" y="2158"/>
                <a:ext cx="287" cy="393"/>
              </a:xfrm>
              <a:custGeom>
                <a:avLst/>
                <a:gdLst>
                  <a:gd name="T0" fmla="*/ 145 w 572"/>
                  <a:gd name="T1" fmla="*/ 788 h 788"/>
                  <a:gd name="T2" fmla="*/ 130 w 572"/>
                  <a:gd name="T3" fmla="*/ 786 h 788"/>
                  <a:gd name="T4" fmla="*/ 102 w 572"/>
                  <a:gd name="T5" fmla="*/ 780 h 788"/>
                  <a:gd name="T6" fmla="*/ 76 w 572"/>
                  <a:gd name="T7" fmla="*/ 769 h 788"/>
                  <a:gd name="T8" fmla="*/ 52 w 572"/>
                  <a:gd name="T9" fmla="*/ 754 h 788"/>
                  <a:gd name="T10" fmla="*/ 33 w 572"/>
                  <a:gd name="T11" fmla="*/ 734 h 788"/>
                  <a:gd name="T12" fmla="*/ 17 w 572"/>
                  <a:gd name="T13" fmla="*/ 711 h 788"/>
                  <a:gd name="T14" fmla="*/ 6 w 572"/>
                  <a:gd name="T15" fmla="*/ 684 h 788"/>
                  <a:gd name="T16" fmla="*/ 0 w 572"/>
                  <a:gd name="T17" fmla="*/ 655 h 788"/>
                  <a:gd name="T18" fmla="*/ 0 w 572"/>
                  <a:gd name="T19" fmla="*/ 145 h 788"/>
                  <a:gd name="T20" fmla="*/ 0 w 572"/>
                  <a:gd name="T21" fmla="*/ 131 h 788"/>
                  <a:gd name="T22" fmla="*/ 6 w 572"/>
                  <a:gd name="T23" fmla="*/ 102 h 788"/>
                  <a:gd name="T24" fmla="*/ 17 w 572"/>
                  <a:gd name="T25" fmla="*/ 77 h 788"/>
                  <a:gd name="T26" fmla="*/ 33 w 572"/>
                  <a:gd name="T27" fmla="*/ 53 h 788"/>
                  <a:gd name="T28" fmla="*/ 52 w 572"/>
                  <a:gd name="T29" fmla="*/ 34 h 788"/>
                  <a:gd name="T30" fmla="*/ 76 w 572"/>
                  <a:gd name="T31" fmla="*/ 18 h 788"/>
                  <a:gd name="T32" fmla="*/ 102 w 572"/>
                  <a:gd name="T33" fmla="*/ 6 h 788"/>
                  <a:gd name="T34" fmla="*/ 130 w 572"/>
                  <a:gd name="T35" fmla="*/ 2 h 788"/>
                  <a:gd name="T36" fmla="*/ 425 w 572"/>
                  <a:gd name="T37" fmla="*/ 0 h 788"/>
                  <a:gd name="T38" fmla="*/ 441 w 572"/>
                  <a:gd name="T39" fmla="*/ 2 h 788"/>
                  <a:gd name="T40" fmla="*/ 468 w 572"/>
                  <a:gd name="T41" fmla="*/ 6 h 788"/>
                  <a:gd name="T42" fmla="*/ 495 w 572"/>
                  <a:gd name="T43" fmla="*/ 18 h 788"/>
                  <a:gd name="T44" fmla="*/ 518 w 572"/>
                  <a:gd name="T45" fmla="*/ 34 h 788"/>
                  <a:gd name="T46" fmla="*/ 539 w 572"/>
                  <a:gd name="T47" fmla="*/ 53 h 788"/>
                  <a:gd name="T48" fmla="*/ 553 w 572"/>
                  <a:gd name="T49" fmla="*/ 77 h 788"/>
                  <a:gd name="T50" fmla="*/ 564 w 572"/>
                  <a:gd name="T51" fmla="*/ 102 h 788"/>
                  <a:gd name="T52" fmla="*/ 570 w 572"/>
                  <a:gd name="T53" fmla="*/ 131 h 788"/>
                  <a:gd name="T54" fmla="*/ 572 w 572"/>
                  <a:gd name="T55" fmla="*/ 641 h 788"/>
                  <a:gd name="T56" fmla="*/ 570 w 572"/>
                  <a:gd name="T57" fmla="*/ 655 h 788"/>
                  <a:gd name="T58" fmla="*/ 564 w 572"/>
                  <a:gd name="T59" fmla="*/ 684 h 788"/>
                  <a:gd name="T60" fmla="*/ 553 w 572"/>
                  <a:gd name="T61" fmla="*/ 711 h 788"/>
                  <a:gd name="T62" fmla="*/ 539 w 572"/>
                  <a:gd name="T63" fmla="*/ 734 h 788"/>
                  <a:gd name="T64" fmla="*/ 518 w 572"/>
                  <a:gd name="T65" fmla="*/ 754 h 788"/>
                  <a:gd name="T66" fmla="*/ 495 w 572"/>
                  <a:gd name="T67" fmla="*/ 769 h 788"/>
                  <a:gd name="T68" fmla="*/ 468 w 572"/>
                  <a:gd name="T69" fmla="*/ 780 h 788"/>
                  <a:gd name="T70" fmla="*/ 441 w 572"/>
                  <a:gd name="T71" fmla="*/ 786 h 788"/>
                  <a:gd name="T72" fmla="*/ 425 w 572"/>
                  <a:gd name="T73" fmla="*/ 788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2" h="788">
                    <a:moveTo>
                      <a:pt x="425" y="788"/>
                    </a:moveTo>
                    <a:lnTo>
                      <a:pt x="145" y="788"/>
                    </a:lnTo>
                    <a:lnTo>
                      <a:pt x="145" y="788"/>
                    </a:lnTo>
                    <a:lnTo>
                      <a:pt x="130" y="786"/>
                    </a:lnTo>
                    <a:lnTo>
                      <a:pt x="116" y="785"/>
                    </a:lnTo>
                    <a:lnTo>
                      <a:pt x="102" y="780"/>
                    </a:lnTo>
                    <a:lnTo>
                      <a:pt x="89" y="775"/>
                    </a:lnTo>
                    <a:lnTo>
                      <a:pt x="76" y="769"/>
                    </a:lnTo>
                    <a:lnTo>
                      <a:pt x="63" y="762"/>
                    </a:lnTo>
                    <a:lnTo>
                      <a:pt x="52" y="754"/>
                    </a:lnTo>
                    <a:lnTo>
                      <a:pt x="43" y="745"/>
                    </a:lnTo>
                    <a:lnTo>
                      <a:pt x="33" y="734"/>
                    </a:lnTo>
                    <a:lnTo>
                      <a:pt x="24" y="722"/>
                    </a:lnTo>
                    <a:lnTo>
                      <a:pt x="17" y="711"/>
                    </a:lnTo>
                    <a:lnTo>
                      <a:pt x="11" y="698"/>
                    </a:lnTo>
                    <a:lnTo>
                      <a:pt x="6" y="684"/>
                    </a:lnTo>
                    <a:lnTo>
                      <a:pt x="3" y="671"/>
                    </a:lnTo>
                    <a:lnTo>
                      <a:pt x="0" y="655"/>
                    </a:lnTo>
                    <a:lnTo>
                      <a:pt x="0" y="641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3" y="116"/>
                    </a:lnTo>
                    <a:lnTo>
                      <a:pt x="6" y="102"/>
                    </a:lnTo>
                    <a:lnTo>
                      <a:pt x="11" y="89"/>
                    </a:lnTo>
                    <a:lnTo>
                      <a:pt x="17" y="77"/>
                    </a:lnTo>
                    <a:lnTo>
                      <a:pt x="24" y="64"/>
                    </a:lnTo>
                    <a:lnTo>
                      <a:pt x="33" y="53"/>
                    </a:lnTo>
                    <a:lnTo>
                      <a:pt x="43" y="43"/>
                    </a:lnTo>
                    <a:lnTo>
                      <a:pt x="52" y="34"/>
                    </a:lnTo>
                    <a:lnTo>
                      <a:pt x="63" y="26"/>
                    </a:lnTo>
                    <a:lnTo>
                      <a:pt x="76" y="18"/>
                    </a:lnTo>
                    <a:lnTo>
                      <a:pt x="89" y="11"/>
                    </a:lnTo>
                    <a:lnTo>
                      <a:pt x="102" y="6"/>
                    </a:lnTo>
                    <a:lnTo>
                      <a:pt x="116" y="3"/>
                    </a:lnTo>
                    <a:lnTo>
                      <a:pt x="130" y="2"/>
                    </a:lnTo>
                    <a:lnTo>
                      <a:pt x="145" y="0"/>
                    </a:lnTo>
                    <a:lnTo>
                      <a:pt x="425" y="0"/>
                    </a:lnTo>
                    <a:lnTo>
                      <a:pt x="425" y="0"/>
                    </a:lnTo>
                    <a:lnTo>
                      <a:pt x="441" y="2"/>
                    </a:lnTo>
                    <a:lnTo>
                      <a:pt x="456" y="3"/>
                    </a:lnTo>
                    <a:lnTo>
                      <a:pt x="468" y="6"/>
                    </a:lnTo>
                    <a:lnTo>
                      <a:pt x="483" y="11"/>
                    </a:lnTo>
                    <a:lnTo>
                      <a:pt x="495" y="18"/>
                    </a:lnTo>
                    <a:lnTo>
                      <a:pt x="507" y="26"/>
                    </a:lnTo>
                    <a:lnTo>
                      <a:pt x="518" y="34"/>
                    </a:lnTo>
                    <a:lnTo>
                      <a:pt x="529" y="43"/>
                    </a:lnTo>
                    <a:lnTo>
                      <a:pt x="539" y="53"/>
                    </a:lnTo>
                    <a:lnTo>
                      <a:pt x="546" y="64"/>
                    </a:lnTo>
                    <a:lnTo>
                      <a:pt x="553" y="77"/>
                    </a:lnTo>
                    <a:lnTo>
                      <a:pt x="559" y="89"/>
                    </a:lnTo>
                    <a:lnTo>
                      <a:pt x="564" y="102"/>
                    </a:lnTo>
                    <a:lnTo>
                      <a:pt x="569" y="116"/>
                    </a:lnTo>
                    <a:lnTo>
                      <a:pt x="570" y="131"/>
                    </a:lnTo>
                    <a:lnTo>
                      <a:pt x="572" y="145"/>
                    </a:lnTo>
                    <a:lnTo>
                      <a:pt x="572" y="641"/>
                    </a:lnTo>
                    <a:lnTo>
                      <a:pt x="572" y="641"/>
                    </a:lnTo>
                    <a:lnTo>
                      <a:pt x="570" y="655"/>
                    </a:lnTo>
                    <a:lnTo>
                      <a:pt x="569" y="671"/>
                    </a:lnTo>
                    <a:lnTo>
                      <a:pt x="564" y="684"/>
                    </a:lnTo>
                    <a:lnTo>
                      <a:pt x="559" y="698"/>
                    </a:lnTo>
                    <a:lnTo>
                      <a:pt x="553" y="711"/>
                    </a:lnTo>
                    <a:lnTo>
                      <a:pt x="546" y="722"/>
                    </a:lnTo>
                    <a:lnTo>
                      <a:pt x="539" y="734"/>
                    </a:lnTo>
                    <a:lnTo>
                      <a:pt x="529" y="745"/>
                    </a:lnTo>
                    <a:lnTo>
                      <a:pt x="518" y="754"/>
                    </a:lnTo>
                    <a:lnTo>
                      <a:pt x="507" y="762"/>
                    </a:lnTo>
                    <a:lnTo>
                      <a:pt x="495" y="769"/>
                    </a:lnTo>
                    <a:lnTo>
                      <a:pt x="483" y="775"/>
                    </a:lnTo>
                    <a:lnTo>
                      <a:pt x="468" y="780"/>
                    </a:lnTo>
                    <a:lnTo>
                      <a:pt x="456" y="785"/>
                    </a:lnTo>
                    <a:lnTo>
                      <a:pt x="441" y="786"/>
                    </a:lnTo>
                    <a:lnTo>
                      <a:pt x="425" y="788"/>
                    </a:lnTo>
                    <a:lnTo>
                      <a:pt x="425" y="78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7"/>
              <p:cNvSpPr>
                <a:spLocks/>
              </p:cNvSpPr>
              <p:nvPr/>
            </p:nvSpPr>
            <p:spPr bwMode="auto">
              <a:xfrm>
                <a:off x="655" y="1936"/>
                <a:ext cx="172" cy="172"/>
              </a:xfrm>
              <a:custGeom>
                <a:avLst/>
                <a:gdLst>
                  <a:gd name="T0" fmla="*/ 0 w 344"/>
                  <a:gd name="T1" fmla="*/ 172 h 344"/>
                  <a:gd name="T2" fmla="*/ 3 w 344"/>
                  <a:gd name="T3" fmla="*/ 138 h 344"/>
                  <a:gd name="T4" fmla="*/ 14 w 344"/>
                  <a:gd name="T5" fmla="*/ 105 h 344"/>
                  <a:gd name="T6" fmla="*/ 30 w 344"/>
                  <a:gd name="T7" fmla="*/ 76 h 344"/>
                  <a:gd name="T8" fmla="*/ 51 w 344"/>
                  <a:gd name="T9" fmla="*/ 51 h 344"/>
                  <a:gd name="T10" fmla="*/ 76 w 344"/>
                  <a:gd name="T11" fmla="*/ 30 h 344"/>
                  <a:gd name="T12" fmla="*/ 105 w 344"/>
                  <a:gd name="T13" fmla="*/ 14 h 344"/>
                  <a:gd name="T14" fmla="*/ 137 w 344"/>
                  <a:gd name="T15" fmla="*/ 5 h 344"/>
                  <a:gd name="T16" fmla="*/ 172 w 344"/>
                  <a:gd name="T17" fmla="*/ 0 h 344"/>
                  <a:gd name="T18" fmla="*/ 190 w 344"/>
                  <a:gd name="T19" fmla="*/ 1 h 344"/>
                  <a:gd name="T20" fmla="*/ 223 w 344"/>
                  <a:gd name="T21" fmla="*/ 8 h 344"/>
                  <a:gd name="T22" fmla="*/ 255 w 344"/>
                  <a:gd name="T23" fmla="*/ 21 h 344"/>
                  <a:gd name="T24" fmla="*/ 282 w 344"/>
                  <a:gd name="T25" fmla="*/ 40 h 344"/>
                  <a:gd name="T26" fmla="*/ 304 w 344"/>
                  <a:gd name="T27" fmla="*/ 64 h 344"/>
                  <a:gd name="T28" fmla="*/ 323 w 344"/>
                  <a:gd name="T29" fmla="*/ 91 h 344"/>
                  <a:gd name="T30" fmla="*/ 336 w 344"/>
                  <a:gd name="T31" fmla="*/ 121 h 344"/>
                  <a:gd name="T32" fmla="*/ 344 w 344"/>
                  <a:gd name="T33" fmla="*/ 154 h 344"/>
                  <a:gd name="T34" fmla="*/ 344 w 344"/>
                  <a:gd name="T35" fmla="*/ 172 h 344"/>
                  <a:gd name="T36" fmla="*/ 341 w 344"/>
                  <a:gd name="T37" fmla="*/ 207 h 344"/>
                  <a:gd name="T38" fmla="*/ 331 w 344"/>
                  <a:gd name="T39" fmla="*/ 239 h 344"/>
                  <a:gd name="T40" fmla="*/ 316 w 344"/>
                  <a:gd name="T41" fmla="*/ 269 h 344"/>
                  <a:gd name="T42" fmla="*/ 295 w 344"/>
                  <a:gd name="T43" fmla="*/ 295 h 344"/>
                  <a:gd name="T44" fmla="*/ 269 w 344"/>
                  <a:gd name="T45" fmla="*/ 315 h 344"/>
                  <a:gd name="T46" fmla="*/ 239 w 344"/>
                  <a:gd name="T47" fmla="*/ 331 h 344"/>
                  <a:gd name="T48" fmla="*/ 207 w 344"/>
                  <a:gd name="T49" fmla="*/ 341 h 344"/>
                  <a:gd name="T50" fmla="*/ 172 w 344"/>
                  <a:gd name="T51" fmla="*/ 344 h 344"/>
                  <a:gd name="T52" fmla="*/ 154 w 344"/>
                  <a:gd name="T53" fmla="*/ 344 h 344"/>
                  <a:gd name="T54" fmla="*/ 121 w 344"/>
                  <a:gd name="T55" fmla="*/ 338 h 344"/>
                  <a:gd name="T56" fmla="*/ 91 w 344"/>
                  <a:gd name="T57" fmla="*/ 323 h 344"/>
                  <a:gd name="T58" fmla="*/ 64 w 344"/>
                  <a:gd name="T59" fmla="*/ 306 h 344"/>
                  <a:gd name="T60" fmla="*/ 40 w 344"/>
                  <a:gd name="T61" fmla="*/ 282 h 344"/>
                  <a:gd name="T62" fmla="*/ 21 w 344"/>
                  <a:gd name="T63" fmla="*/ 255 h 344"/>
                  <a:gd name="T64" fmla="*/ 8 w 344"/>
                  <a:gd name="T65" fmla="*/ 225 h 344"/>
                  <a:gd name="T66" fmla="*/ 1 w 344"/>
                  <a:gd name="T67" fmla="*/ 190 h 344"/>
                  <a:gd name="T68" fmla="*/ 0 w 344"/>
                  <a:gd name="T69" fmla="*/ 172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44">
                    <a:moveTo>
                      <a:pt x="0" y="172"/>
                    </a:moveTo>
                    <a:lnTo>
                      <a:pt x="0" y="172"/>
                    </a:lnTo>
                    <a:lnTo>
                      <a:pt x="1" y="154"/>
                    </a:lnTo>
                    <a:lnTo>
                      <a:pt x="3" y="138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1"/>
                    </a:lnTo>
                    <a:lnTo>
                      <a:pt x="30" y="76"/>
                    </a:lnTo>
                    <a:lnTo>
                      <a:pt x="40" y="64"/>
                    </a:lnTo>
                    <a:lnTo>
                      <a:pt x="51" y="51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1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7" y="5"/>
                    </a:lnTo>
                    <a:lnTo>
                      <a:pt x="154" y="1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90" y="1"/>
                    </a:lnTo>
                    <a:lnTo>
                      <a:pt x="207" y="5"/>
                    </a:lnTo>
                    <a:lnTo>
                      <a:pt x="223" y="8"/>
                    </a:lnTo>
                    <a:lnTo>
                      <a:pt x="239" y="14"/>
                    </a:lnTo>
                    <a:lnTo>
                      <a:pt x="255" y="21"/>
                    </a:lnTo>
                    <a:lnTo>
                      <a:pt x="269" y="30"/>
                    </a:lnTo>
                    <a:lnTo>
                      <a:pt x="282" y="40"/>
                    </a:lnTo>
                    <a:lnTo>
                      <a:pt x="295" y="51"/>
                    </a:lnTo>
                    <a:lnTo>
                      <a:pt x="304" y="64"/>
                    </a:lnTo>
                    <a:lnTo>
                      <a:pt x="316" y="76"/>
                    </a:lnTo>
                    <a:lnTo>
                      <a:pt x="323" y="91"/>
                    </a:lnTo>
                    <a:lnTo>
                      <a:pt x="331" y="105"/>
                    </a:lnTo>
                    <a:lnTo>
                      <a:pt x="336" y="121"/>
                    </a:lnTo>
                    <a:lnTo>
                      <a:pt x="341" y="138"/>
                    </a:lnTo>
                    <a:lnTo>
                      <a:pt x="344" y="154"/>
                    </a:lnTo>
                    <a:lnTo>
                      <a:pt x="344" y="172"/>
                    </a:lnTo>
                    <a:lnTo>
                      <a:pt x="344" y="172"/>
                    </a:lnTo>
                    <a:lnTo>
                      <a:pt x="344" y="190"/>
                    </a:lnTo>
                    <a:lnTo>
                      <a:pt x="341" y="207"/>
                    </a:lnTo>
                    <a:lnTo>
                      <a:pt x="336" y="225"/>
                    </a:lnTo>
                    <a:lnTo>
                      <a:pt x="331" y="239"/>
                    </a:lnTo>
                    <a:lnTo>
                      <a:pt x="323" y="255"/>
                    </a:lnTo>
                    <a:lnTo>
                      <a:pt x="316" y="269"/>
                    </a:lnTo>
                    <a:lnTo>
                      <a:pt x="304" y="282"/>
                    </a:lnTo>
                    <a:lnTo>
                      <a:pt x="295" y="295"/>
                    </a:lnTo>
                    <a:lnTo>
                      <a:pt x="282" y="306"/>
                    </a:lnTo>
                    <a:lnTo>
                      <a:pt x="269" y="315"/>
                    </a:lnTo>
                    <a:lnTo>
                      <a:pt x="255" y="323"/>
                    </a:lnTo>
                    <a:lnTo>
                      <a:pt x="239" y="331"/>
                    </a:lnTo>
                    <a:lnTo>
                      <a:pt x="223" y="338"/>
                    </a:lnTo>
                    <a:lnTo>
                      <a:pt x="207" y="341"/>
                    </a:lnTo>
                    <a:lnTo>
                      <a:pt x="190" y="344"/>
                    </a:lnTo>
                    <a:lnTo>
                      <a:pt x="172" y="344"/>
                    </a:lnTo>
                    <a:lnTo>
                      <a:pt x="172" y="344"/>
                    </a:lnTo>
                    <a:lnTo>
                      <a:pt x="154" y="344"/>
                    </a:lnTo>
                    <a:lnTo>
                      <a:pt x="137" y="341"/>
                    </a:lnTo>
                    <a:lnTo>
                      <a:pt x="121" y="338"/>
                    </a:lnTo>
                    <a:lnTo>
                      <a:pt x="105" y="331"/>
                    </a:lnTo>
                    <a:lnTo>
                      <a:pt x="91" y="323"/>
                    </a:lnTo>
                    <a:lnTo>
                      <a:pt x="76" y="315"/>
                    </a:lnTo>
                    <a:lnTo>
                      <a:pt x="64" y="306"/>
                    </a:lnTo>
                    <a:lnTo>
                      <a:pt x="51" y="295"/>
                    </a:lnTo>
                    <a:lnTo>
                      <a:pt x="40" y="282"/>
                    </a:lnTo>
                    <a:lnTo>
                      <a:pt x="30" y="269"/>
                    </a:lnTo>
                    <a:lnTo>
                      <a:pt x="21" y="255"/>
                    </a:lnTo>
                    <a:lnTo>
                      <a:pt x="14" y="239"/>
                    </a:lnTo>
                    <a:lnTo>
                      <a:pt x="8" y="225"/>
                    </a:lnTo>
                    <a:lnTo>
                      <a:pt x="3" y="207"/>
                    </a:lnTo>
                    <a:lnTo>
                      <a:pt x="1" y="190"/>
                    </a:lnTo>
                    <a:lnTo>
                      <a:pt x="0" y="172"/>
                    </a:lnTo>
                    <a:lnTo>
                      <a:pt x="0" y="172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8" name="Group 37"/>
            <p:cNvGrpSpPr>
              <a:grpSpLocks noChangeAspect="1"/>
            </p:cNvGrpSpPr>
            <p:nvPr/>
          </p:nvGrpSpPr>
          <p:grpSpPr bwMode="auto">
            <a:xfrm>
              <a:off x="6846910" y="-20381"/>
              <a:ext cx="576021" cy="1234331"/>
              <a:chOff x="598" y="1936"/>
              <a:chExt cx="287" cy="615"/>
            </a:xfrm>
            <a:solidFill>
              <a:schemeClr val="accent5"/>
            </a:solidFill>
          </p:grpSpPr>
          <p:sp>
            <p:nvSpPr>
              <p:cNvPr id="39" name="Freeform 6"/>
              <p:cNvSpPr>
                <a:spLocks/>
              </p:cNvSpPr>
              <p:nvPr/>
            </p:nvSpPr>
            <p:spPr bwMode="auto">
              <a:xfrm>
                <a:off x="598" y="2158"/>
                <a:ext cx="287" cy="393"/>
              </a:xfrm>
              <a:custGeom>
                <a:avLst/>
                <a:gdLst>
                  <a:gd name="T0" fmla="*/ 145 w 572"/>
                  <a:gd name="T1" fmla="*/ 788 h 788"/>
                  <a:gd name="T2" fmla="*/ 130 w 572"/>
                  <a:gd name="T3" fmla="*/ 786 h 788"/>
                  <a:gd name="T4" fmla="*/ 102 w 572"/>
                  <a:gd name="T5" fmla="*/ 780 h 788"/>
                  <a:gd name="T6" fmla="*/ 76 w 572"/>
                  <a:gd name="T7" fmla="*/ 769 h 788"/>
                  <a:gd name="T8" fmla="*/ 52 w 572"/>
                  <a:gd name="T9" fmla="*/ 754 h 788"/>
                  <a:gd name="T10" fmla="*/ 33 w 572"/>
                  <a:gd name="T11" fmla="*/ 734 h 788"/>
                  <a:gd name="T12" fmla="*/ 17 w 572"/>
                  <a:gd name="T13" fmla="*/ 711 h 788"/>
                  <a:gd name="T14" fmla="*/ 6 w 572"/>
                  <a:gd name="T15" fmla="*/ 684 h 788"/>
                  <a:gd name="T16" fmla="*/ 0 w 572"/>
                  <a:gd name="T17" fmla="*/ 655 h 788"/>
                  <a:gd name="T18" fmla="*/ 0 w 572"/>
                  <a:gd name="T19" fmla="*/ 145 h 788"/>
                  <a:gd name="T20" fmla="*/ 0 w 572"/>
                  <a:gd name="T21" fmla="*/ 131 h 788"/>
                  <a:gd name="T22" fmla="*/ 6 w 572"/>
                  <a:gd name="T23" fmla="*/ 102 h 788"/>
                  <a:gd name="T24" fmla="*/ 17 w 572"/>
                  <a:gd name="T25" fmla="*/ 77 h 788"/>
                  <a:gd name="T26" fmla="*/ 33 w 572"/>
                  <a:gd name="T27" fmla="*/ 53 h 788"/>
                  <a:gd name="T28" fmla="*/ 52 w 572"/>
                  <a:gd name="T29" fmla="*/ 34 h 788"/>
                  <a:gd name="T30" fmla="*/ 76 w 572"/>
                  <a:gd name="T31" fmla="*/ 18 h 788"/>
                  <a:gd name="T32" fmla="*/ 102 w 572"/>
                  <a:gd name="T33" fmla="*/ 6 h 788"/>
                  <a:gd name="T34" fmla="*/ 130 w 572"/>
                  <a:gd name="T35" fmla="*/ 2 h 788"/>
                  <a:gd name="T36" fmla="*/ 425 w 572"/>
                  <a:gd name="T37" fmla="*/ 0 h 788"/>
                  <a:gd name="T38" fmla="*/ 441 w 572"/>
                  <a:gd name="T39" fmla="*/ 2 h 788"/>
                  <a:gd name="T40" fmla="*/ 468 w 572"/>
                  <a:gd name="T41" fmla="*/ 6 h 788"/>
                  <a:gd name="T42" fmla="*/ 495 w 572"/>
                  <a:gd name="T43" fmla="*/ 18 h 788"/>
                  <a:gd name="T44" fmla="*/ 518 w 572"/>
                  <a:gd name="T45" fmla="*/ 34 h 788"/>
                  <a:gd name="T46" fmla="*/ 539 w 572"/>
                  <a:gd name="T47" fmla="*/ 53 h 788"/>
                  <a:gd name="T48" fmla="*/ 553 w 572"/>
                  <a:gd name="T49" fmla="*/ 77 h 788"/>
                  <a:gd name="T50" fmla="*/ 564 w 572"/>
                  <a:gd name="T51" fmla="*/ 102 h 788"/>
                  <a:gd name="T52" fmla="*/ 570 w 572"/>
                  <a:gd name="T53" fmla="*/ 131 h 788"/>
                  <a:gd name="T54" fmla="*/ 572 w 572"/>
                  <a:gd name="T55" fmla="*/ 641 h 788"/>
                  <a:gd name="T56" fmla="*/ 570 w 572"/>
                  <a:gd name="T57" fmla="*/ 655 h 788"/>
                  <a:gd name="T58" fmla="*/ 564 w 572"/>
                  <a:gd name="T59" fmla="*/ 684 h 788"/>
                  <a:gd name="T60" fmla="*/ 553 w 572"/>
                  <a:gd name="T61" fmla="*/ 711 h 788"/>
                  <a:gd name="T62" fmla="*/ 539 w 572"/>
                  <a:gd name="T63" fmla="*/ 734 h 788"/>
                  <a:gd name="T64" fmla="*/ 518 w 572"/>
                  <a:gd name="T65" fmla="*/ 754 h 788"/>
                  <a:gd name="T66" fmla="*/ 495 w 572"/>
                  <a:gd name="T67" fmla="*/ 769 h 788"/>
                  <a:gd name="T68" fmla="*/ 468 w 572"/>
                  <a:gd name="T69" fmla="*/ 780 h 788"/>
                  <a:gd name="T70" fmla="*/ 441 w 572"/>
                  <a:gd name="T71" fmla="*/ 786 h 788"/>
                  <a:gd name="T72" fmla="*/ 425 w 572"/>
                  <a:gd name="T73" fmla="*/ 788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2" h="788">
                    <a:moveTo>
                      <a:pt x="425" y="788"/>
                    </a:moveTo>
                    <a:lnTo>
                      <a:pt x="145" y="788"/>
                    </a:lnTo>
                    <a:lnTo>
                      <a:pt x="145" y="788"/>
                    </a:lnTo>
                    <a:lnTo>
                      <a:pt x="130" y="786"/>
                    </a:lnTo>
                    <a:lnTo>
                      <a:pt x="116" y="785"/>
                    </a:lnTo>
                    <a:lnTo>
                      <a:pt x="102" y="780"/>
                    </a:lnTo>
                    <a:lnTo>
                      <a:pt x="89" y="775"/>
                    </a:lnTo>
                    <a:lnTo>
                      <a:pt x="76" y="769"/>
                    </a:lnTo>
                    <a:lnTo>
                      <a:pt x="63" y="762"/>
                    </a:lnTo>
                    <a:lnTo>
                      <a:pt x="52" y="754"/>
                    </a:lnTo>
                    <a:lnTo>
                      <a:pt x="43" y="745"/>
                    </a:lnTo>
                    <a:lnTo>
                      <a:pt x="33" y="734"/>
                    </a:lnTo>
                    <a:lnTo>
                      <a:pt x="24" y="722"/>
                    </a:lnTo>
                    <a:lnTo>
                      <a:pt x="17" y="711"/>
                    </a:lnTo>
                    <a:lnTo>
                      <a:pt x="11" y="698"/>
                    </a:lnTo>
                    <a:lnTo>
                      <a:pt x="6" y="684"/>
                    </a:lnTo>
                    <a:lnTo>
                      <a:pt x="3" y="671"/>
                    </a:lnTo>
                    <a:lnTo>
                      <a:pt x="0" y="655"/>
                    </a:lnTo>
                    <a:lnTo>
                      <a:pt x="0" y="641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3" y="116"/>
                    </a:lnTo>
                    <a:lnTo>
                      <a:pt x="6" y="102"/>
                    </a:lnTo>
                    <a:lnTo>
                      <a:pt x="11" y="89"/>
                    </a:lnTo>
                    <a:lnTo>
                      <a:pt x="17" y="77"/>
                    </a:lnTo>
                    <a:lnTo>
                      <a:pt x="24" y="64"/>
                    </a:lnTo>
                    <a:lnTo>
                      <a:pt x="33" y="53"/>
                    </a:lnTo>
                    <a:lnTo>
                      <a:pt x="43" y="43"/>
                    </a:lnTo>
                    <a:lnTo>
                      <a:pt x="52" y="34"/>
                    </a:lnTo>
                    <a:lnTo>
                      <a:pt x="63" y="26"/>
                    </a:lnTo>
                    <a:lnTo>
                      <a:pt x="76" y="18"/>
                    </a:lnTo>
                    <a:lnTo>
                      <a:pt x="89" y="11"/>
                    </a:lnTo>
                    <a:lnTo>
                      <a:pt x="102" y="6"/>
                    </a:lnTo>
                    <a:lnTo>
                      <a:pt x="116" y="3"/>
                    </a:lnTo>
                    <a:lnTo>
                      <a:pt x="130" y="2"/>
                    </a:lnTo>
                    <a:lnTo>
                      <a:pt x="145" y="0"/>
                    </a:lnTo>
                    <a:lnTo>
                      <a:pt x="425" y="0"/>
                    </a:lnTo>
                    <a:lnTo>
                      <a:pt x="425" y="0"/>
                    </a:lnTo>
                    <a:lnTo>
                      <a:pt x="441" y="2"/>
                    </a:lnTo>
                    <a:lnTo>
                      <a:pt x="456" y="3"/>
                    </a:lnTo>
                    <a:lnTo>
                      <a:pt x="468" y="6"/>
                    </a:lnTo>
                    <a:lnTo>
                      <a:pt x="483" y="11"/>
                    </a:lnTo>
                    <a:lnTo>
                      <a:pt x="495" y="18"/>
                    </a:lnTo>
                    <a:lnTo>
                      <a:pt x="507" y="26"/>
                    </a:lnTo>
                    <a:lnTo>
                      <a:pt x="518" y="34"/>
                    </a:lnTo>
                    <a:lnTo>
                      <a:pt x="529" y="43"/>
                    </a:lnTo>
                    <a:lnTo>
                      <a:pt x="539" y="53"/>
                    </a:lnTo>
                    <a:lnTo>
                      <a:pt x="546" y="64"/>
                    </a:lnTo>
                    <a:lnTo>
                      <a:pt x="553" y="77"/>
                    </a:lnTo>
                    <a:lnTo>
                      <a:pt x="559" y="89"/>
                    </a:lnTo>
                    <a:lnTo>
                      <a:pt x="564" y="102"/>
                    </a:lnTo>
                    <a:lnTo>
                      <a:pt x="569" y="116"/>
                    </a:lnTo>
                    <a:lnTo>
                      <a:pt x="570" y="131"/>
                    </a:lnTo>
                    <a:lnTo>
                      <a:pt x="572" y="145"/>
                    </a:lnTo>
                    <a:lnTo>
                      <a:pt x="572" y="641"/>
                    </a:lnTo>
                    <a:lnTo>
                      <a:pt x="572" y="641"/>
                    </a:lnTo>
                    <a:lnTo>
                      <a:pt x="570" y="655"/>
                    </a:lnTo>
                    <a:lnTo>
                      <a:pt x="569" y="671"/>
                    </a:lnTo>
                    <a:lnTo>
                      <a:pt x="564" y="684"/>
                    </a:lnTo>
                    <a:lnTo>
                      <a:pt x="559" y="698"/>
                    </a:lnTo>
                    <a:lnTo>
                      <a:pt x="553" y="711"/>
                    </a:lnTo>
                    <a:lnTo>
                      <a:pt x="546" y="722"/>
                    </a:lnTo>
                    <a:lnTo>
                      <a:pt x="539" y="734"/>
                    </a:lnTo>
                    <a:lnTo>
                      <a:pt x="529" y="745"/>
                    </a:lnTo>
                    <a:lnTo>
                      <a:pt x="518" y="754"/>
                    </a:lnTo>
                    <a:lnTo>
                      <a:pt x="507" y="762"/>
                    </a:lnTo>
                    <a:lnTo>
                      <a:pt x="495" y="769"/>
                    </a:lnTo>
                    <a:lnTo>
                      <a:pt x="483" y="775"/>
                    </a:lnTo>
                    <a:lnTo>
                      <a:pt x="468" y="780"/>
                    </a:lnTo>
                    <a:lnTo>
                      <a:pt x="456" y="785"/>
                    </a:lnTo>
                    <a:lnTo>
                      <a:pt x="441" y="786"/>
                    </a:lnTo>
                    <a:lnTo>
                      <a:pt x="425" y="788"/>
                    </a:lnTo>
                    <a:lnTo>
                      <a:pt x="425" y="7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7"/>
              <p:cNvSpPr>
                <a:spLocks/>
              </p:cNvSpPr>
              <p:nvPr/>
            </p:nvSpPr>
            <p:spPr bwMode="auto">
              <a:xfrm>
                <a:off x="655" y="1936"/>
                <a:ext cx="172" cy="172"/>
              </a:xfrm>
              <a:custGeom>
                <a:avLst/>
                <a:gdLst>
                  <a:gd name="T0" fmla="*/ 0 w 344"/>
                  <a:gd name="T1" fmla="*/ 172 h 344"/>
                  <a:gd name="T2" fmla="*/ 3 w 344"/>
                  <a:gd name="T3" fmla="*/ 138 h 344"/>
                  <a:gd name="T4" fmla="*/ 14 w 344"/>
                  <a:gd name="T5" fmla="*/ 105 h 344"/>
                  <a:gd name="T6" fmla="*/ 30 w 344"/>
                  <a:gd name="T7" fmla="*/ 76 h 344"/>
                  <a:gd name="T8" fmla="*/ 51 w 344"/>
                  <a:gd name="T9" fmla="*/ 51 h 344"/>
                  <a:gd name="T10" fmla="*/ 76 w 344"/>
                  <a:gd name="T11" fmla="*/ 30 h 344"/>
                  <a:gd name="T12" fmla="*/ 105 w 344"/>
                  <a:gd name="T13" fmla="*/ 14 h 344"/>
                  <a:gd name="T14" fmla="*/ 137 w 344"/>
                  <a:gd name="T15" fmla="*/ 5 h 344"/>
                  <a:gd name="T16" fmla="*/ 172 w 344"/>
                  <a:gd name="T17" fmla="*/ 0 h 344"/>
                  <a:gd name="T18" fmla="*/ 190 w 344"/>
                  <a:gd name="T19" fmla="*/ 1 h 344"/>
                  <a:gd name="T20" fmla="*/ 223 w 344"/>
                  <a:gd name="T21" fmla="*/ 8 h 344"/>
                  <a:gd name="T22" fmla="*/ 255 w 344"/>
                  <a:gd name="T23" fmla="*/ 21 h 344"/>
                  <a:gd name="T24" fmla="*/ 282 w 344"/>
                  <a:gd name="T25" fmla="*/ 40 h 344"/>
                  <a:gd name="T26" fmla="*/ 304 w 344"/>
                  <a:gd name="T27" fmla="*/ 64 h 344"/>
                  <a:gd name="T28" fmla="*/ 323 w 344"/>
                  <a:gd name="T29" fmla="*/ 91 h 344"/>
                  <a:gd name="T30" fmla="*/ 336 w 344"/>
                  <a:gd name="T31" fmla="*/ 121 h 344"/>
                  <a:gd name="T32" fmla="*/ 344 w 344"/>
                  <a:gd name="T33" fmla="*/ 154 h 344"/>
                  <a:gd name="T34" fmla="*/ 344 w 344"/>
                  <a:gd name="T35" fmla="*/ 172 h 344"/>
                  <a:gd name="T36" fmla="*/ 341 w 344"/>
                  <a:gd name="T37" fmla="*/ 207 h 344"/>
                  <a:gd name="T38" fmla="*/ 331 w 344"/>
                  <a:gd name="T39" fmla="*/ 239 h 344"/>
                  <a:gd name="T40" fmla="*/ 316 w 344"/>
                  <a:gd name="T41" fmla="*/ 269 h 344"/>
                  <a:gd name="T42" fmla="*/ 295 w 344"/>
                  <a:gd name="T43" fmla="*/ 295 h 344"/>
                  <a:gd name="T44" fmla="*/ 269 w 344"/>
                  <a:gd name="T45" fmla="*/ 315 h 344"/>
                  <a:gd name="T46" fmla="*/ 239 w 344"/>
                  <a:gd name="T47" fmla="*/ 331 h 344"/>
                  <a:gd name="T48" fmla="*/ 207 w 344"/>
                  <a:gd name="T49" fmla="*/ 341 h 344"/>
                  <a:gd name="T50" fmla="*/ 172 w 344"/>
                  <a:gd name="T51" fmla="*/ 344 h 344"/>
                  <a:gd name="T52" fmla="*/ 154 w 344"/>
                  <a:gd name="T53" fmla="*/ 344 h 344"/>
                  <a:gd name="T54" fmla="*/ 121 w 344"/>
                  <a:gd name="T55" fmla="*/ 338 h 344"/>
                  <a:gd name="T56" fmla="*/ 91 w 344"/>
                  <a:gd name="T57" fmla="*/ 323 h 344"/>
                  <a:gd name="T58" fmla="*/ 64 w 344"/>
                  <a:gd name="T59" fmla="*/ 306 h 344"/>
                  <a:gd name="T60" fmla="*/ 40 w 344"/>
                  <a:gd name="T61" fmla="*/ 282 h 344"/>
                  <a:gd name="T62" fmla="*/ 21 w 344"/>
                  <a:gd name="T63" fmla="*/ 255 h 344"/>
                  <a:gd name="T64" fmla="*/ 8 w 344"/>
                  <a:gd name="T65" fmla="*/ 225 h 344"/>
                  <a:gd name="T66" fmla="*/ 1 w 344"/>
                  <a:gd name="T67" fmla="*/ 190 h 344"/>
                  <a:gd name="T68" fmla="*/ 0 w 344"/>
                  <a:gd name="T69" fmla="*/ 172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4" h="344">
                    <a:moveTo>
                      <a:pt x="0" y="172"/>
                    </a:moveTo>
                    <a:lnTo>
                      <a:pt x="0" y="172"/>
                    </a:lnTo>
                    <a:lnTo>
                      <a:pt x="1" y="154"/>
                    </a:lnTo>
                    <a:lnTo>
                      <a:pt x="3" y="138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1"/>
                    </a:lnTo>
                    <a:lnTo>
                      <a:pt x="30" y="76"/>
                    </a:lnTo>
                    <a:lnTo>
                      <a:pt x="40" y="64"/>
                    </a:lnTo>
                    <a:lnTo>
                      <a:pt x="51" y="51"/>
                    </a:lnTo>
                    <a:lnTo>
                      <a:pt x="64" y="40"/>
                    </a:lnTo>
                    <a:lnTo>
                      <a:pt x="76" y="30"/>
                    </a:lnTo>
                    <a:lnTo>
                      <a:pt x="91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7" y="5"/>
                    </a:lnTo>
                    <a:lnTo>
                      <a:pt x="154" y="1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90" y="1"/>
                    </a:lnTo>
                    <a:lnTo>
                      <a:pt x="207" y="5"/>
                    </a:lnTo>
                    <a:lnTo>
                      <a:pt x="223" y="8"/>
                    </a:lnTo>
                    <a:lnTo>
                      <a:pt x="239" y="14"/>
                    </a:lnTo>
                    <a:lnTo>
                      <a:pt x="255" y="21"/>
                    </a:lnTo>
                    <a:lnTo>
                      <a:pt x="269" y="30"/>
                    </a:lnTo>
                    <a:lnTo>
                      <a:pt x="282" y="40"/>
                    </a:lnTo>
                    <a:lnTo>
                      <a:pt x="295" y="51"/>
                    </a:lnTo>
                    <a:lnTo>
                      <a:pt x="304" y="64"/>
                    </a:lnTo>
                    <a:lnTo>
                      <a:pt x="316" y="76"/>
                    </a:lnTo>
                    <a:lnTo>
                      <a:pt x="323" y="91"/>
                    </a:lnTo>
                    <a:lnTo>
                      <a:pt x="331" y="105"/>
                    </a:lnTo>
                    <a:lnTo>
                      <a:pt x="336" y="121"/>
                    </a:lnTo>
                    <a:lnTo>
                      <a:pt x="341" y="138"/>
                    </a:lnTo>
                    <a:lnTo>
                      <a:pt x="344" y="154"/>
                    </a:lnTo>
                    <a:lnTo>
                      <a:pt x="344" y="172"/>
                    </a:lnTo>
                    <a:lnTo>
                      <a:pt x="344" y="172"/>
                    </a:lnTo>
                    <a:lnTo>
                      <a:pt x="344" y="190"/>
                    </a:lnTo>
                    <a:lnTo>
                      <a:pt x="341" y="207"/>
                    </a:lnTo>
                    <a:lnTo>
                      <a:pt x="336" y="225"/>
                    </a:lnTo>
                    <a:lnTo>
                      <a:pt x="331" y="239"/>
                    </a:lnTo>
                    <a:lnTo>
                      <a:pt x="323" y="255"/>
                    </a:lnTo>
                    <a:lnTo>
                      <a:pt x="316" y="269"/>
                    </a:lnTo>
                    <a:lnTo>
                      <a:pt x="304" y="282"/>
                    </a:lnTo>
                    <a:lnTo>
                      <a:pt x="295" y="295"/>
                    </a:lnTo>
                    <a:lnTo>
                      <a:pt x="282" y="306"/>
                    </a:lnTo>
                    <a:lnTo>
                      <a:pt x="269" y="315"/>
                    </a:lnTo>
                    <a:lnTo>
                      <a:pt x="255" y="323"/>
                    </a:lnTo>
                    <a:lnTo>
                      <a:pt x="239" y="331"/>
                    </a:lnTo>
                    <a:lnTo>
                      <a:pt x="223" y="338"/>
                    </a:lnTo>
                    <a:lnTo>
                      <a:pt x="207" y="341"/>
                    </a:lnTo>
                    <a:lnTo>
                      <a:pt x="190" y="344"/>
                    </a:lnTo>
                    <a:lnTo>
                      <a:pt x="172" y="344"/>
                    </a:lnTo>
                    <a:lnTo>
                      <a:pt x="172" y="344"/>
                    </a:lnTo>
                    <a:lnTo>
                      <a:pt x="154" y="344"/>
                    </a:lnTo>
                    <a:lnTo>
                      <a:pt x="137" y="341"/>
                    </a:lnTo>
                    <a:lnTo>
                      <a:pt x="121" y="338"/>
                    </a:lnTo>
                    <a:lnTo>
                      <a:pt x="105" y="331"/>
                    </a:lnTo>
                    <a:lnTo>
                      <a:pt x="91" y="323"/>
                    </a:lnTo>
                    <a:lnTo>
                      <a:pt x="76" y="315"/>
                    </a:lnTo>
                    <a:lnTo>
                      <a:pt x="64" y="306"/>
                    </a:lnTo>
                    <a:lnTo>
                      <a:pt x="51" y="295"/>
                    </a:lnTo>
                    <a:lnTo>
                      <a:pt x="40" y="282"/>
                    </a:lnTo>
                    <a:lnTo>
                      <a:pt x="30" y="269"/>
                    </a:lnTo>
                    <a:lnTo>
                      <a:pt x="21" y="255"/>
                    </a:lnTo>
                    <a:lnTo>
                      <a:pt x="14" y="239"/>
                    </a:lnTo>
                    <a:lnTo>
                      <a:pt x="8" y="225"/>
                    </a:lnTo>
                    <a:lnTo>
                      <a:pt x="3" y="207"/>
                    </a:lnTo>
                    <a:lnTo>
                      <a:pt x="1" y="190"/>
                    </a:lnTo>
                    <a:lnTo>
                      <a:pt x="0" y="172"/>
                    </a:lnTo>
                    <a:lnTo>
                      <a:pt x="0" y="1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8" name="Group 21"/>
          <p:cNvGrpSpPr>
            <a:grpSpLocks noChangeAspect="1"/>
          </p:cNvGrpSpPr>
          <p:nvPr/>
        </p:nvGrpSpPr>
        <p:grpSpPr bwMode="auto">
          <a:xfrm>
            <a:off x="6815807" y="1820779"/>
            <a:ext cx="505003" cy="625967"/>
            <a:chOff x="1556" y="444"/>
            <a:chExt cx="1027" cy="1273"/>
          </a:xfrm>
        </p:grpSpPr>
        <p:sp>
          <p:nvSpPr>
            <p:cNvPr id="49" name="Freeform 22"/>
            <p:cNvSpPr>
              <a:spLocks/>
            </p:cNvSpPr>
            <p:nvPr/>
          </p:nvSpPr>
          <p:spPr bwMode="auto">
            <a:xfrm>
              <a:off x="1556" y="444"/>
              <a:ext cx="1027" cy="1273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/>
            <p:cNvSpPr>
              <a:spLocks/>
            </p:cNvSpPr>
            <p:nvPr/>
          </p:nvSpPr>
          <p:spPr bwMode="auto">
            <a:xfrm>
              <a:off x="1699" y="684"/>
              <a:ext cx="456" cy="95"/>
            </a:xfrm>
            <a:custGeom>
              <a:avLst/>
              <a:gdLst>
                <a:gd name="T0" fmla="*/ 172 w 192"/>
                <a:gd name="T1" fmla="*/ 40 h 40"/>
                <a:gd name="T2" fmla="*/ 20 w 192"/>
                <a:gd name="T3" fmla="*/ 40 h 40"/>
                <a:gd name="T4" fmla="*/ 0 w 192"/>
                <a:gd name="T5" fmla="*/ 20 h 40"/>
                <a:gd name="T6" fmla="*/ 20 w 192"/>
                <a:gd name="T7" fmla="*/ 0 h 40"/>
                <a:gd name="T8" fmla="*/ 172 w 192"/>
                <a:gd name="T9" fmla="*/ 0 h 40"/>
                <a:gd name="T10" fmla="*/ 192 w 192"/>
                <a:gd name="T11" fmla="*/ 20 h 40"/>
                <a:gd name="T12" fmla="*/ 172 w 192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40">
                  <a:moveTo>
                    <a:pt x="172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72" y="0"/>
                    <a:pt x="172" y="0"/>
                    <a:pt x="172" y="0"/>
                  </a:cubicBezTo>
                  <a:cubicBezTo>
                    <a:pt x="183" y="0"/>
                    <a:pt x="192" y="9"/>
                    <a:pt x="192" y="20"/>
                  </a:cubicBezTo>
                  <a:cubicBezTo>
                    <a:pt x="192" y="31"/>
                    <a:pt x="183" y="40"/>
                    <a:pt x="172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/>
            <p:cNvSpPr>
              <a:spLocks/>
            </p:cNvSpPr>
            <p:nvPr/>
          </p:nvSpPr>
          <p:spPr bwMode="auto">
            <a:xfrm>
              <a:off x="1699" y="91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/>
            <p:cNvSpPr>
              <a:spLocks/>
            </p:cNvSpPr>
            <p:nvPr/>
          </p:nvSpPr>
          <p:spPr bwMode="auto">
            <a:xfrm>
              <a:off x="1699" y="1152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/>
            <p:cNvSpPr>
              <a:spLocks/>
            </p:cNvSpPr>
            <p:nvPr/>
          </p:nvSpPr>
          <p:spPr bwMode="auto">
            <a:xfrm>
              <a:off x="1699" y="1387"/>
              <a:ext cx="732" cy="95"/>
            </a:xfrm>
            <a:custGeom>
              <a:avLst/>
              <a:gdLst>
                <a:gd name="T0" fmla="*/ 288 w 308"/>
                <a:gd name="T1" fmla="*/ 40 h 40"/>
                <a:gd name="T2" fmla="*/ 20 w 308"/>
                <a:gd name="T3" fmla="*/ 40 h 40"/>
                <a:gd name="T4" fmla="*/ 0 w 308"/>
                <a:gd name="T5" fmla="*/ 20 h 40"/>
                <a:gd name="T6" fmla="*/ 20 w 308"/>
                <a:gd name="T7" fmla="*/ 0 h 40"/>
                <a:gd name="T8" fmla="*/ 288 w 308"/>
                <a:gd name="T9" fmla="*/ 0 h 40"/>
                <a:gd name="T10" fmla="*/ 308 w 308"/>
                <a:gd name="T11" fmla="*/ 20 h 40"/>
                <a:gd name="T12" fmla="*/ 288 w 308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0">
                  <a:moveTo>
                    <a:pt x="288" y="40"/>
                  </a:moveTo>
                  <a:cubicBezTo>
                    <a:pt x="20" y="40"/>
                    <a:pt x="20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99" y="0"/>
                    <a:pt x="308" y="9"/>
                    <a:pt x="308" y="20"/>
                  </a:cubicBezTo>
                  <a:cubicBezTo>
                    <a:pt x="308" y="31"/>
                    <a:pt x="299" y="40"/>
                    <a:pt x="288" y="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7"/>
            <p:cNvSpPr>
              <a:spLocks/>
            </p:cNvSpPr>
            <p:nvPr/>
          </p:nvSpPr>
          <p:spPr bwMode="auto">
            <a:xfrm>
              <a:off x="2267" y="444"/>
              <a:ext cx="316" cy="320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Freeform 690"/>
          <p:cNvSpPr>
            <a:spLocks noChangeAspect="1"/>
          </p:cNvSpPr>
          <p:nvPr/>
        </p:nvSpPr>
        <p:spPr bwMode="auto">
          <a:xfrm>
            <a:off x="7106124" y="2062094"/>
            <a:ext cx="358783" cy="341940"/>
          </a:xfrm>
          <a:custGeom>
            <a:avLst/>
            <a:gdLst>
              <a:gd name="T0" fmla="*/ 83 w 90"/>
              <a:gd name="T1" fmla="*/ 4 h 86"/>
              <a:gd name="T2" fmla="*/ 83 w 90"/>
              <a:gd name="T3" fmla="*/ 4 h 86"/>
              <a:gd name="T4" fmla="*/ 66 w 90"/>
              <a:gd name="T5" fmla="*/ 7 h 86"/>
              <a:gd name="T6" fmla="*/ 37 w 90"/>
              <a:gd name="T7" fmla="*/ 52 h 86"/>
              <a:gd name="T8" fmla="*/ 25 w 90"/>
              <a:gd name="T9" fmla="*/ 34 h 86"/>
              <a:gd name="T10" fmla="*/ 8 w 90"/>
              <a:gd name="T11" fmla="*/ 30 h 86"/>
              <a:gd name="T12" fmla="*/ 4 w 90"/>
              <a:gd name="T13" fmla="*/ 48 h 86"/>
              <a:gd name="T14" fmla="*/ 26 w 90"/>
              <a:gd name="T15" fmla="*/ 81 h 86"/>
              <a:gd name="T16" fmla="*/ 31 w 90"/>
              <a:gd name="T17" fmla="*/ 85 h 86"/>
              <a:gd name="T18" fmla="*/ 36 w 90"/>
              <a:gd name="T19" fmla="*/ 86 h 86"/>
              <a:gd name="T20" fmla="*/ 36 w 90"/>
              <a:gd name="T21" fmla="*/ 86 h 86"/>
              <a:gd name="T22" fmla="*/ 36 w 90"/>
              <a:gd name="T23" fmla="*/ 86 h 86"/>
              <a:gd name="T24" fmla="*/ 37 w 90"/>
              <a:gd name="T25" fmla="*/ 86 h 86"/>
              <a:gd name="T26" fmla="*/ 37 w 90"/>
              <a:gd name="T27" fmla="*/ 86 h 86"/>
              <a:gd name="T28" fmla="*/ 37 w 90"/>
              <a:gd name="T29" fmla="*/ 86 h 86"/>
              <a:gd name="T30" fmla="*/ 37 w 90"/>
              <a:gd name="T31" fmla="*/ 86 h 86"/>
              <a:gd name="T32" fmla="*/ 42 w 90"/>
              <a:gd name="T33" fmla="*/ 85 h 86"/>
              <a:gd name="T34" fmla="*/ 47 w 90"/>
              <a:gd name="T35" fmla="*/ 81 h 86"/>
              <a:gd name="T36" fmla="*/ 87 w 90"/>
              <a:gd name="T37" fmla="*/ 21 h 86"/>
              <a:gd name="T38" fmla="*/ 83 w 90"/>
              <a:gd name="T39" fmla="*/ 4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0" h="86">
                <a:moveTo>
                  <a:pt x="83" y="4"/>
                </a:moveTo>
                <a:cubicBezTo>
                  <a:pt x="83" y="4"/>
                  <a:pt x="83" y="4"/>
                  <a:pt x="83" y="4"/>
                </a:cubicBezTo>
                <a:cubicBezTo>
                  <a:pt x="78" y="0"/>
                  <a:pt x="70" y="2"/>
                  <a:pt x="66" y="7"/>
                </a:cubicBezTo>
                <a:cubicBezTo>
                  <a:pt x="37" y="52"/>
                  <a:pt x="37" y="52"/>
                  <a:pt x="37" y="52"/>
                </a:cubicBezTo>
                <a:cubicBezTo>
                  <a:pt x="25" y="34"/>
                  <a:pt x="25" y="34"/>
                  <a:pt x="25" y="34"/>
                </a:cubicBezTo>
                <a:cubicBezTo>
                  <a:pt x="21" y="28"/>
                  <a:pt x="13" y="27"/>
                  <a:pt x="8" y="30"/>
                </a:cubicBezTo>
                <a:cubicBezTo>
                  <a:pt x="2" y="34"/>
                  <a:pt x="0" y="42"/>
                  <a:pt x="4" y="48"/>
                </a:cubicBezTo>
                <a:cubicBezTo>
                  <a:pt x="26" y="81"/>
                  <a:pt x="26" y="81"/>
                  <a:pt x="26" y="81"/>
                </a:cubicBezTo>
                <a:cubicBezTo>
                  <a:pt x="27" y="83"/>
                  <a:pt x="29" y="84"/>
                  <a:pt x="31" y="85"/>
                </a:cubicBezTo>
                <a:cubicBezTo>
                  <a:pt x="33" y="86"/>
                  <a:pt x="34" y="86"/>
                  <a:pt x="36" y="86"/>
                </a:cubicBezTo>
                <a:cubicBezTo>
                  <a:pt x="36" y="86"/>
                  <a:pt x="36" y="86"/>
                  <a:pt x="36" y="86"/>
                </a:cubicBezTo>
                <a:cubicBezTo>
                  <a:pt x="36" y="86"/>
                  <a:pt x="36" y="86"/>
                  <a:pt x="36" y="86"/>
                </a:cubicBezTo>
                <a:cubicBezTo>
                  <a:pt x="37" y="86"/>
                  <a:pt x="37" y="86"/>
                  <a:pt x="37" y="86"/>
                </a:cubicBezTo>
                <a:cubicBezTo>
                  <a:pt x="37" y="86"/>
                  <a:pt x="37" y="86"/>
                  <a:pt x="37" y="86"/>
                </a:cubicBezTo>
                <a:cubicBezTo>
                  <a:pt x="37" y="86"/>
                  <a:pt x="37" y="86"/>
                  <a:pt x="37" y="86"/>
                </a:cubicBezTo>
                <a:cubicBezTo>
                  <a:pt x="37" y="86"/>
                  <a:pt x="37" y="86"/>
                  <a:pt x="37" y="86"/>
                </a:cubicBezTo>
                <a:cubicBezTo>
                  <a:pt x="39" y="86"/>
                  <a:pt x="40" y="86"/>
                  <a:pt x="42" y="85"/>
                </a:cubicBezTo>
                <a:cubicBezTo>
                  <a:pt x="44" y="84"/>
                  <a:pt x="46" y="83"/>
                  <a:pt x="47" y="81"/>
                </a:cubicBezTo>
                <a:cubicBezTo>
                  <a:pt x="87" y="21"/>
                  <a:pt x="87" y="21"/>
                  <a:pt x="87" y="21"/>
                </a:cubicBezTo>
                <a:cubicBezTo>
                  <a:pt x="90" y="15"/>
                  <a:pt x="89" y="8"/>
                  <a:pt x="83" y="4"/>
                </a:cubicBezTo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3188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368" y="441780"/>
            <a:ext cx="2847332" cy="1579902"/>
          </a:xfrm>
        </p:spPr>
        <p:txBody>
          <a:bodyPr/>
          <a:lstStyle/>
          <a:p>
            <a:r>
              <a:rPr lang="en-US" sz="2800" dirty="0" smtClean="0"/>
              <a:t>Where are you in your Digital Transformation journey? </a:t>
            </a:r>
            <a:endParaRPr lang="en-US" sz="2800" dirty="0"/>
          </a:p>
        </p:txBody>
      </p:sp>
      <p:sp>
        <p:nvSpPr>
          <p:cNvPr id="32" name="Freeform 37"/>
          <p:cNvSpPr>
            <a:spLocks noEditPoints="1"/>
          </p:cNvSpPr>
          <p:nvPr/>
        </p:nvSpPr>
        <p:spPr bwMode="auto">
          <a:xfrm flipH="1">
            <a:off x="1565835" y="1231731"/>
            <a:ext cx="5633390" cy="3001291"/>
          </a:xfrm>
          <a:custGeom>
            <a:avLst/>
            <a:gdLst>
              <a:gd name="T0" fmla="*/ 3016 w 3891"/>
              <a:gd name="T1" fmla="*/ 1830 h 2073"/>
              <a:gd name="T2" fmla="*/ 3088 w 3891"/>
              <a:gd name="T3" fmla="*/ 1965 h 2073"/>
              <a:gd name="T4" fmla="*/ 3608 w 3891"/>
              <a:gd name="T5" fmla="*/ 1993 h 2073"/>
              <a:gd name="T6" fmla="*/ 3824 w 3891"/>
              <a:gd name="T7" fmla="*/ 1865 h 2073"/>
              <a:gd name="T8" fmla="*/ 3477 w 3891"/>
              <a:gd name="T9" fmla="*/ 1754 h 2073"/>
              <a:gd name="T10" fmla="*/ 139 w 3891"/>
              <a:gd name="T11" fmla="*/ 1456 h 2073"/>
              <a:gd name="T12" fmla="*/ 139 w 3891"/>
              <a:gd name="T13" fmla="*/ 1592 h 2073"/>
              <a:gd name="T14" fmla="*/ 636 w 3891"/>
              <a:gd name="T15" fmla="*/ 1645 h 2073"/>
              <a:gd name="T16" fmla="*/ 920 w 3891"/>
              <a:gd name="T17" fmla="*/ 1524 h 2073"/>
              <a:gd name="T18" fmla="*/ 636 w 3891"/>
              <a:gd name="T19" fmla="*/ 1403 h 2073"/>
              <a:gd name="T20" fmla="*/ 1058 w 3891"/>
              <a:gd name="T21" fmla="*/ 108 h 2073"/>
              <a:gd name="T22" fmla="*/ 985 w 3891"/>
              <a:gd name="T23" fmla="*/ 243 h 2073"/>
              <a:gd name="T24" fmla="*/ 1445 w 3891"/>
              <a:gd name="T25" fmla="*/ 319 h 2073"/>
              <a:gd name="T26" fmla="*/ 1792 w 3891"/>
              <a:gd name="T27" fmla="*/ 208 h 2073"/>
              <a:gd name="T28" fmla="*/ 1577 w 3891"/>
              <a:gd name="T29" fmla="*/ 80 h 2073"/>
              <a:gd name="T30" fmla="*/ 1586 w 3891"/>
              <a:gd name="T31" fmla="*/ 19 h 2073"/>
              <a:gd name="T32" fmla="*/ 1855 w 3891"/>
              <a:gd name="T33" fmla="*/ 164 h 2073"/>
              <a:gd name="T34" fmla="*/ 1963 w 3891"/>
              <a:gd name="T35" fmla="*/ 205 h 2073"/>
              <a:gd name="T36" fmla="*/ 2332 w 3891"/>
              <a:gd name="T37" fmla="*/ 250 h 2073"/>
              <a:gd name="T38" fmla="*/ 2691 w 3891"/>
              <a:gd name="T39" fmla="*/ 371 h 2073"/>
              <a:gd name="T40" fmla="*/ 2716 w 3891"/>
              <a:gd name="T41" fmla="*/ 582 h 2073"/>
              <a:gd name="T42" fmla="*/ 2434 w 3891"/>
              <a:gd name="T43" fmla="*/ 789 h 2073"/>
              <a:gd name="T44" fmla="*/ 2073 w 3891"/>
              <a:gd name="T45" fmla="*/ 913 h 2073"/>
              <a:gd name="T46" fmla="*/ 1531 w 3891"/>
              <a:gd name="T47" fmla="*/ 1065 h 2073"/>
              <a:gd name="T48" fmla="*/ 1075 w 3891"/>
              <a:gd name="T49" fmla="*/ 1195 h 2073"/>
              <a:gd name="T50" fmla="*/ 688 w 3891"/>
              <a:gd name="T51" fmla="*/ 1348 h 2073"/>
              <a:gd name="T52" fmla="*/ 966 w 3891"/>
              <a:gd name="T53" fmla="*/ 1473 h 2073"/>
              <a:gd name="T54" fmla="*/ 857 w 3891"/>
              <a:gd name="T55" fmla="*/ 1654 h 2073"/>
              <a:gd name="T56" fmla="*/ 799 w 3891"/>
              <a:gd name="T57" fmla="*/ 1776 h 2073"/>
              <a:gd name="T58" fmla="*/ 1471 w 3891"/>
              <a:gd name="T59" fmla="*/ 1885 h 2073"/>
              <a:gd name="T60" fmla="*/ 2414 w 3891"/>
              <a:gd name="T61" fmla="*/ 1897 h 2073"/>
              <a:gd name="T62" fmla="*/ 2908 w 3891"/>
              <a:gd name="T63" fmla="*/ 1865 h 2073"/>
              <a:gd name="T64" fmla="*/ 3043 w 3891"/>
              <a:gd name="T65" fmla="*/ 1748 h 2073"/>
              <a:gd name="T66" fmla="*/ 3455 w 3891"/>
              <a:gd name="T67" fmla="*/ 1691 h 2073"/>
              <a:gd name="T68" fmla="*/ 3827 w 3891"/>
              <a:gd name="T69" fmla="*/ 1783 h 2073"/>
              <a:gd name="T70" fmla="*/ 3827 w 3891"/>
              <a:gd name="T71" fmla="*/ 1980 h 2073"/>
              <a:gd name="T72" fmla="*/ 3455 w 3891"/>
              <a:gd name="T73" fmla="*/ 2071 h 2073"/>
              <a:gd name="T74" fmla="*/ 3039 w 3891"/>
              <a:gd name="T75" fmla="*/ 2013 h 2073"/>
              <a:gd name="T76" fmla="*/ 2914 w 3891"/>
              <a:gd name="T77" fmla="*/ 1921 h 2073"/>
              <a:gd name="T78" fmla="*/ 2310 w 3891"/>
              <a:gd name="T79" fmla="*/ 1984 h 2073"/>
              <a:gd name="T80" fmla="*/ 1360 w 3891"/>
              <a:gd name="T81" fmla="*/ 1996 h 2073"/>
              <a:gd name="T82" fmla="*/ 553 w 3891"/>
              <a:gd name="T83" fmla="*/ 1837 h 2073"/>
              <a:gd name="T84" fmla="*/ 165 w 3891"/>
              <a:gd name="T85" fmla="*/ 1662 h 2073"/>
              <a:gd name="T86" fmla="*/ 2 w 3891"/>
              <a:gd name="T87" fmla="*/ 1511 h 2073"/>
              <a:gd name="T88" fmla="*/ 168 w 3891"/>
              <a:gd name="T89" fmla="*/ 1378 h 2073"/>
              <a:gd name="T90" fmla="*/ 606 w 3891"/>
              <a:gd name="T91" fmla="*/ 1188 h 2073"/>
              <a:gd name="T92" fmla="*/ 1084 w 3891"/>
              <a:gd name="T93" fmla="*/ 1032 h 2073"/>
              <a:gd name="T94" fmla="*/ 1615 w 3891"/>
              <a:gd name="T95" fmla="*/ 905 h 2073"/>
              <a:gd name="T96" fmla="*/ 2120 w 3891"/>
              <a:gd name="T97" fmla="*/ 782 h 2073"/>
              <a:gd name="T98" fmla="*/ 2523 w 3891"/>
              <a:gd name="T99" fmla="*/ 617 h 2073"/>
              <a:gd name="T100" fmla="*/ 2546 w 3891"/>
              <a:gd name="T101" fmla="*/ 419 h 2073"/>
              <a:gd name="T102" fmla="*/ 2155 w 3891"/>
              <a:gd name="T103" fmla="*/ 278 h 2073"/>
              <a:gd name="T104" fmla="*/ 1845 w 3891"/>
              <a:gd name="T105" fmla="*/ 243 h 2073"/>
              <a:gd name="T106" fmla="*/ 1550 w 3891"/>
              <a:gd name="T107" fmla="*/ 370 h 2073"/>
              <a:gd name="T108" fmla="*/ 1104 w 3891"/>
              <a:gd name="T109" fmla="*/ 354 h 2073"/>
              <a:gd name="T110" fmla="*/ 879 w 3891"/>
              <a:gd name="T111" fmla="*/ 191 h 2073"/>
              <a:gd name="T112" fmla="*/ 1104 w 3891"/>
              <a:gd name="T113" fmla="*/ 29 h 2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891" h="2073">
                <a:moveTo>
                  <a:pt x="3401" y="1753"/>
                </a:moveTo>
                <a:lnTo>
                  <a:pt x="3326" y="1754"/>
                </a:lnTo>
                <a:lnTo>
                  <a:pt x="3256" y="1761"/>
                </a:lnTo>
                <a:lnTo>
                  <a:pt x="3193" y="1770"/>
                </a:lnTo>
                <a:lnTo>
                  <a:pt x="3138" y="1783"/>
                </a:lnTo>
                <a:lnTo>
                  <a:pt x="3088" y="1798"/>
                </a:lnTo>
                <a:lnTo>
                  <a:pt x="3048" y="1814"/>
                </a:lnTo>
                <a:lnTo>
                  <a:pt x="3016" y="1830"/>
                </a:lnTo>
                <a:lnTo>
                  <a:pt x="2992" y="1847"/>
                </a:lnTo>
                <a:lnTo>
                  <a:pt x="2978" y="1865"/>
                </a:lnTo>
                <a:lnTo>
                  <a:pt x="2972" y="1881"/>
                </a:lnTo>
                <a:lnTo>
                  <a:pt x="2978" y="1898"/>
                </a:lnTo>
                <a:lnTo>
                  <a:pt x="2992" y="1914"/>
                </a:lnTo>
                <a:lnTo>
                  <a:pt x="3016" y="1932"/>
                </a:lnTo>
                <a:lnTo>
                  <a:pt x="3048" y="1949"/>
                </a:lnTo>
                <a:lnTo>
                  <a:pt x="3088" y="1965"/>
                </a:lnTo>
                <a:lnTo>
                  <a:pt x="3138" y="1980"/>
                </a:lnTo>
                <a:lnTo>
                  <a:pt x="3193" y="1993"/>
                </a:lnTo>
                <a:lnTo>
                  <a:pt x="3256" y="2001"/>
                </a:lnTo>
                <a:lnTo>
                  <a:pt x="3326" y="2007"/>
                </a:lnTo>
                <a:lnTo>
                  <a:pt x="3401" y="2010"/>
                </a:lnTo>
                <a:lnTo>
                  <a:pt x="3477" y="2007"/>
                </a:lnTo>
                <a:lnTo>
                  <a:pt x="3545" y="2001"/>
                </a:lnTo>
                <a:lnTo>
                  <a:pt x="3608" y="1993"/>
                </a:lnTo>
                <a:lnTo>
                  <a:pt x="3664" y="1980"/>
                </a:lnTo>
                <a:lnTo>
                  <a:pt x="3712" y="1965"/>
                </a:lnTo>
                <a:lnTo>
                  <a:pt x="3753" y="1949"/>
                </a:lnTo>
                <a:lnTo>
                  <a:pt x="3785" y="1932"/>
                </a:lnTo>
                <a:lnTo>
                  <a:pt x="3810" y="1914"/>
                </a:lnTo>
                <a:lnTo>
                  <a:pt x="3824" y="1898"/>
                </a:lnTo>
                <a:lnTo>
                  <a:pt x="3829" y="1881"/>
                </a:lnTo>
                <a:lnTo>
                  <a:pt x="3824" y="1865"/>
                </a:lnTo>
                <a:lnTo>
                  <a:pt x="3810" y="1847"/>
                </a:lnTo>
                <a:lnTo>
                  <a:pt x="3785" y="1830"/>
                </a:lnTo>
                <a:lnTo>
                  <a:pt x="3753" y="1814"/>
                </a:lnTo>
                <a:lnTo>
                  <a:pt x="3712" y="1798"/>
                </a:lnTo>
                <a:lnTo>
                  <a:pt x="3664" y="1783"/>
                </a:lnTo>
                <a:lnTo>
                  <a:pt x="3608" y="1770"/>
                </a:lnTo>
                <a:lnTo>
                  <a:pt x="3545" y="1761"/>
                </a:lnTo>
                <a:lnTo>
                  <a:pt x="3477" y="1754"/>
                </a:lnTo>
                <a:lnTo>
                  <a:pt x="3401" y="1753"/>
                </a:lnTo>
                <a:close/>
                <a:moveTo>
                  <a:pt x="491" y="1394"/>
                </a:moveTo>
                <a:lnTo>
                  <a:pt x="416" y="1397"/>
                </a:lnTo>
                <a:lnTo>
                  <a:pt x="347" y="1403"/>
                </a:lnTo>
                <a:lnTo>
                  <a:pt x="284" y="1413"/>
                </a:lnTo>
                <a:lnTo>
                  <a:pt x="227" y="1425"/>
                </a:lnTo>
                <a:lnTo>
                  <a:pt x="179" y="1440"/>
                </a:lnTo>
                <a:lnTo>
                  <a:pt x="139" y="1456"/>
                </a:lnTo>
                <a:lnTo>
                  <a:pt x="107" y="1473"/>
                </a:lnTo>
                <a:lnTo>
                  <a:pt x="83" y="1491"/>
                </a:lnTo>
                <a:lnTo>
                  <a:pt x="69" y="1508"/>
                </a:lnTo>
                <a:lnTo>
                  <a:pt x="63" y="1524"/>
                </a:lnTo>
                <a:lnTo>
                  <a:pt x="69" y="1540"/>
                </a:lnTo>
                <a:lnTo>
                  <a:pt x="83" y="1558"/>
                </a:lnTo>
                <a:lnTo>
                  <a:pt x="107" y="1575"/>
                </a:lnTo>
                <a:lnTo>
                  <a:pt x="139" y="1592"/>
                </a:lnTo>
                <a:lnTo>
                  <a:pt x="179" y="1608"/>
                </a:lnTo>
                <a:lnTo>
                  <a:pt x="227" y="1623"/>
                </a:lnTo>
                <a:lnTo>
                  <a:pt x="284" y="1635"/>
                </a:lnTo>
                <a:lnTo>
                  <a:pt x="347" y="1645"/>
                </a:lnTo>
                <a:lnTo>
                  <a:pt x="416" y="1651"/>
                </a:lnTo>
                <a:lnTo>
                  <a:pt x="491" y="1652"/>
                </a:lnTo>
                <a:lnTo>
                  <a:pt x="566" y="1651"/>
                </a:lnTo>
                <a:lnTo>
                  <a:pt x="636" y="1645"/>
                </a:lnTo>
                <a:lnTo>
                  <a:pt x="699" y="1635"/>
                </a:lnTo>
                <a:lnTo>
                  <a:pt x="755" y="1623"/>
                </a:lnTo>
                <a:lnTo>
                  <a:pt x="803" y="1608"/>
                </a:lnTo>
                <a:lnTo>
                  <a:pt x="844" y="1592"/>
                </a:lnTo>
                <a:lnTo>
                  <a:pt x="876" y="1575"/>
                </a:lnTo>
                <a:lnTo>
                  <a:pt x="899" y="1558"/>
                </a:lnTo>
                <a:lnTo>
                  <a:pt x="914" y="1540"/>
                </a:lnTo>
                <a:lnTo>
                  <a:pt x="920" y="1524"/>
                </a:lnTo>
                <a:lnTo>
                  <a:pt x="914" y="1508"/>
                </a:lnTo>
                <a:lnTo>
                  <a:pt x="899" y="1491"/>
                </a:lnTo>
                <a:lnTo>
                  <a:pt x="876" y="1473"/>
                </a:lnTo>
                <a:lnTo>
                  <a:pt x="844" y="1456"/>
                </a:lnTo>
                <a:lnTo>
                  <a:pt x="803" y="1440"/>
                </a:lnTo>
                <a:lnTo>
                  <a:pt x="755" y="1425"/>
                </a:lnTo>
                <a:lnTo>
                  <a:pt x="699" y="1413"/>
                </a:lnTo>
                <a:lnTo>
                  <a:pt x="636" y="1403"/>
                </a:lnTo>
                <a:lnTo>
                  <a:pt x="566" y="1397"/>
                </a:lnTo>
                <a:lnTo>
                  <a:pt x="491" y="1394"/>
                </a:lnTo>
                <a:close/>
                <a:moveTo>
                  <a:pt x="1369" y="63"/>
                </a:moveTo>
                <a:lnTo>
                  <a:pt x="1295" y="64"/>
                </a:lnTo>
                <a:lnTo>
                  <a:pt x="1225" y="71"/>
                </a:lnTo>
                <a:lnTo>
                  <a:pt x="1163" y="80"/>
                </a:lnTo>
                <a:lnTo>
                  <a:pt x="1106" y="93"/>
                </a:lnTo>
                <a:lnTo>
                  <a:pt x="1058" y="108"/>
                </a:lnTo>
                <a:lnTo>
                  <a:pt x="1017" y="124"/>
                </a:lnTo>
                <a:lnTo>
                  <a:pt x="985" y="140"/>
                </a:lnTo>
                <a:lnTo>
                  <a:pt x="962" y="157"/>
                </a:lnTo>
                <a:lnTo>
                  <a:pt x="947" y="175"/>
                </a:lnTo>
                <a:lnTo>
                  <a:pt x="942" y="191"/>
                </a:lnTo>
                <a:lnTo>
                  <a:pt x="947" y="208"/>
                </a:lnTo>
                <a:lnTo>
                  <a:pt x="962" y="226"/>
                </a:lnTo>
                <a:lnTo>
                  <a:pt x="985" y="243"/>
                </a:lnTo>
                <a:lnTo>
                  <a:pt x="1017" y="259"/>
                </a:lnTo>
                <a:lnTo>
                  <a:pt x="1058" y="275"/>
                </a:lnTo>
                <a:lnTo>
                  <a:pt x="1106" y="290"/>
                </a:lnTo>
                <a:lnTo>
                  <a:pt x="1163" y="303"/>
                </a:lnTo>
                <a:lnTo>
                  <a:pt x="1225" y="311"/>
                </a:lnTo>
                <a:lnTo>
                  <a:pt x="1295" y="319"/>
                </a:lnTo>
                <a:lnTo>
                  <a:pt x="1369" y="320"/>
                </a:lnTo>
                <a:lnTo>
                  <a:pt x="1445" y="319"/>
                </a:lnTo>
                <a:lnTo>
                  <a:pt x="1515" y="311"/>
                </a:lnTo>
                <a:lnTo>
                  <a:pt x="1577" y="303"/>
                </a:lnTo>
                <a:lnTo>
                  <a:pt x="1634" y="290"/>
                </a:lnTo>
                <a:lnTo>
                  <a:pt x="1682" y="275"/>
                </a:lnTo>
                <a:lnTo>
                  <a:pt x="1723" y="259"/>
                </a:lnTo>
                <a:lnTo>
                  <a:pt x="1755" y="243"/>
                </a:lnTo>
                <a:lnTo>
                  <a:pt x="1778" y="226"/>
                </a:lnTo>
                <a:lnTo>
                  <a:pt x="1792" y="208"/>
                </a:lnTo>
                <a:lnTo>
                  <a:pt x="1798" y="191"/>
                </a:lnTo>
                <a:lnTo>
                  <a:pt x="1792" y="175"/>
                </a:lnTo>
                <a:lnTo>
                  <a:pt x="1778" y="157"/>
                </a:lnTo>
                <a:lnTo>
                  <a:pt x="1755" y="140"/>
                </a:lnTo>
                <a:lnTo>
                  <a:pt x="1723" y="124"/>
                </a:lnTo>
                <a:lnTo>
                  <a:pt x="1682" y="108"/>
                </a:lnTo>
                <a:lnTo>
                  <a:pt x="1634" y="93"/>
                </a:lnTo>
                <a:lnTo>
                  <a:pt x="1577" y="80"/>
                </a:lnTo>
                <a:lnTo>
                  <a:pt x="1515" y="71"/>
                </a:lnTo>
                <a:lnTo>
                  <a:pt x="1445" y="64"/>
                </a:lnTo>
                <a:lnTo>
                  <a:pt x="1369" y="63"/>
                </a:lnTo>
                <a:close/>
                <a:moveTo>
                  <a:pt x="1369" y="0"/>
                </a:moveTo>
                <a:lnTo>
                  <a:pt x="1424" y="1"/>
                </a:lnTo>
                <a:lnTo>
                  <a:pt x="1480" y="4"/>
                </a:lnTo>
                <a:lnTo>
                  <a:pt x="1534" y="10"/>
                </a:lnTo>
                <a:lnTo>
                  <a:pt x="1586" y="19"/>
                </a:lnTo>
                <a:lnTo>
                  <a:pt x="1635" y="29"/>
                </a:lnTo>
                <a:lnTo>
                  <a:pt x="1682" y="42"/>
                </a:lnTo>
                <a:lnTo>
                  <a:pt x="1726" y="57"/>
                </a:lnTo>
                <a:lnTo>
                  <a:pt x="1763" y="74"/>
                </a:lnTo>
                <a:lnTo>
                  <a:pt x="1797" y="93"/>
                </a:lnTo>
                <a:lnTo>
                  <a:pt x="1823" y="115"/>
                </a:lnTo>
                <a:lnTo>
                  <a:pt x="1843" y="138"/>
                </a:lnTo>
                <a:lnTo>
                  <a:pt x="1855" y="164"/>
                </a:lnTo>
                <a:lnTo>
                  <a:pt x="1859" y="191"/>
                </a:lnTo>
                <a:lnTo>
                  <a:pt x="1861" y="194"/>
                </a:lnTo>
                <a:lnTo>
                  <a:pt x="1862" y="196"/>
                </a:lnTo>
                <a:lnTo>
                  <a:pt x="1864" y="198"/>
                </a:lnTo>
                <a:lnTo>
                  <a:pt x="1867" y="199"/>
                </a:lnTo>
                <a:lnTo>
                  <a:pt x="1891" y="199"/>
                </a:lnTo>
                <a:lnTo>
                  <a:pt x="1925" y="202"/>
                </a:lnTo>
                <a:lnTo>
                  <a:pt x="1963" y="205"/>
                </a:lnTo>
                <a:lnTo>
                  <a:pt x="2008" y="210"/>
                </a:lnTo>
                <a:lnTo>
                  <a:pt x="2056" y="215"/>
                </a:lnTo>
                <a:lnTo>
                  <a:pt x="2105" y="221"/>
                </a:lnTo>
                <a:lnTo>
                  <a:pt x="2155" y="227"/>
                </a:lnTo>
                <a:lnTo>
                  <a:pt x="2204" y="233"/>
                </a:lnTo>
                <a:lnTo>
                  <a:pt x="2251" y="240"/>
                </a:lnTo>
                <a:lnTo>
                  <a:pt x="2294" y="246"/>
                </a:lnTo>
                <a:lnTo>
                  <a:pt x="2332" y="250"/>
                </a:lnTo>
                <a:lnTo>
                  <a:pt x="2361" y="256"/>
                </a:lnTo>
                <a:lnTo>
                  <a:pt x="2384" y="259"/>
                </a:lnTo>
                <a:lnTo>
                  <a:pt x="2456" y="274"/>
                </a:lnTo>
                <a:lnTo>
                  <a:pt x="2518" y="290"/>
                </a:lnTo>
                <a:lnTo>
                  <a:pt x="2574" y="309"/>
                </a:lnTo>
                <a:lnTo>
                  <a:pt x="2620" y="327"/>
                </a:lnTo>
                <a:lnTo>
                  <a:pt x="2659" y="349"/>
                </a:lnTo>
                <a:lnTo>
                  <a:pt x="2691" y="371"/>
                </a:lnTo>
                <a:lnTo>
                  <a:pt x="2718" y="396"/>
                </a:lnTo>
                <a:lnTo>
                  <a:pt x="2735" y="421"/>
                </a:lnTo>
                <a:lnTo>
                  <a:pt x="2747" y="445"/>
                </a:lnTo>
                <a:lnTo>
                  <a:pt x="2751" y="473"/>
                </a:lnTo>
                <a:lnTo>
                  <a:pt x="2751" y="499"/>
                </a:lnTo>
                <a:lnTo>
                  <a:pt x="2745" y="527"/>
                </a:lnTo>
                <a:lnTo>
                  <a:pt x="2734" y="555"/>
                </a:lnTo>
                <a:lnTo>
                  <a:pt x="2716" y="582"/>
                </a:lnTo>
                <a:lnTo>
                  <a:pt x="2694" y="610"/>
                </a:lnTo>
                <a:lnTo>
                  <a:pt x="2670" y="638"/>
                </a:lnTo>
                <a:lnTo>
                  <a:pt x="2639" y="664"/>
                </a:lnTo>
                <a:lnTo>
                  <a:pt x="2604" y="691"/>
                </a:lnTo>
                <a:lnTo>
                  <a:pt x="2566" y="716"/>
                </a:lnTo>
                <a:lnTo>
                  <a:pt x="2526" y="742"/>
                </a:lnTo>
                <a:lnTo>
                  <a:pt x="2482" y="766"/>
                </a:lnTo>
                <a:lnTo>
                  <a:pt x="2434" y="789"/>
                </a:lnTo>
                <a:lnTo>
                  <a:pt x="2386" y="811"/>
                </a:lnTo>
                <a:lnTo>
                  <a:pt x="2334" y="831"/>
                </a:lnTo>
                <a:lnTo>
                  <a:pt x="2280" y="850"/>
                </a:lnTo>
                <a:lnTo>
                  <a:pt x="2254" y="859"/>
                </a:lnTo>
                <a:lnTo>
                  <a:pt x="2219" y="869"/>
                </a:lnTo>
                <a:lnTo>
                  <a:pt x="2176" y="882"/>
                </a:lnTo>
                <a:lnTo>
                  <a:pt x="2128" y="897"/>
                </a:lnTo>
                <a:lnTo>
                  <a:pt x="2073" y="913"/>
                </a:lnTo>
                <a:lnTo>
                  <a:pt x="2015" y="929"/>
                </a:lnTo>
                <a:lnTo>
                  <a:pt x="1952" y="948"/>
                </a:lnTo>
                <a:lnTo>
                  <a:pt x="1886" y="966"/>
                </a:lnTo>
                <a:lnTo>
                  <a:pt x="1817" y="985"/>
                </a:lnTo>
                <a:lnTo>
                  <a:pt x="1746" y="1006"/>
                </a:lnTo>
                <a:lnTo>
                  <a:pt x="1675" y="1026"/>
                </a:lnTo>
                <a:lnTo>
                  <a:pt x="1602" y="1047"/>
                </a:lnTo>
                <a:lnTo>
                  <a:pt x="1531" y="1065"/>
                </a:lnTo>
                <a:lnTo>
                  <a:pt x="1461" y="1086"/>
                </a:lnTo>
                <a:lnTo>
                  <a:pt x="1394" y="1105"/>
                </a:lnTo>
                <a:lnTo>
                  <a:pt x="1328" y="1122"/>
                </a:lnTo>
                <a:lnTo>
                  <a:pt x="1267" y="1140"/>
                </a:lnTo>
                <a:lnTo>
                  <a:pt x="1211" y="1156"/>
                </a:lnTo>
                <a:lnTo>
                  <a:pt x="1160" y="1170"/>
                </a:lnTo>
                <a:lnTo>
                  <a:pt x="1113" y="1183"/>
                </a:lnTo>
                <a:lnTo>
                  <a:pt x="1075" y="1195"/>
                </a:lnTo>
                <a:lnTo>
                  <a:pt x="1043" y="1204"/>
                </a:lnTo>
                <a:lnTo>
                  <a:pt x="1020" y="1211"/>
                </a:lnTo>
                <a:lnTo>
                  <a:pt x="971" y="1227"/>
                </a:lnTo>
                <a:lnTo>
                  <a:pt x="917" y="1245"/>
                </a:lnTo>
                <a:lnTo>
                  <a:pt x="860" y="1266"/>
                </a:lnTo>
                <a:lnTo>
                  <a:pt x="802" y="1291"/>
                </a:lnTo>
                <a:lnTo>
                  <a:pt x="744" y="1319"/>
                </a:lnTo>
                <a:lnTo>
                  <a:pt x="688" y="1348"/>
                </a:lnTo>
                <a:lnTo>
                  <a:pt x="736" y="1357"/>
                </a:lnTo>
                <a:lnTo>
                  <a:pt x="782" y="1368"/>
                </a:lnTo>
                <a:lnTo>
                  <a:pt x="824" y="1381"/>
                </a:lnTo>
                <a:lnTo>
                  <a:pt x="862" y="1396"/>
                </a:lnTo>
                <a:lnTo>
                  <a:pt x="896" y="1412"/>
                </a:lnTo>
                <a:lnTo>
                  <a:pt x="926" y="1431"/>
                </a:lnTo>
                <a:lnTo>
                  <a:pt x="949" y="1451"/>
                </a:lnTo>
                <a:lnTo>
                  <a:pt x="966" y="1473"/>
                </a:lnTo>
                <a:lnTo>
                  <a:pt x="978" y="1498"/>
                </a:lnTo>
                <a:lnTo>
                  <a:pt x="981" y="1524"/>
                </a:lnTo>
                <a:lnTo>
                  <a:pt x="978" y="1550"/>
                </a:lnTo>
                <a:lnTo>
                  <a:pt x="966" y="1575"/>
                </a:lnTo>
                <a:lnTo>
                  <a:pt x="947" y="1597"/>
                </a:lnTo>
                <a:lnTo>
                  <a:pt x="923" y="1619"/>
                </a:lnTo>
                <a:lnTo>
                  <a:pt x="894" y="1636"/>
                </a:lnTo>
                <a:lnTo>
                  <a:pt x="857" y="1654"/>
                </a:lnTo>
                <a:lnTo>
                  <a:pt x="818" y="1668"/>
                </a:lnTo>
                <a:lnTo>
                  <a:pt x="776" y="1681"/>
                </a:lnTo>
                <a:lnTo>
                  <a:pt x="729" y="1691"/>
                </a:lnTo>
                <a:lnTo>
                  <a:pt x="680" y="1700"/>
                </a:lnTo>
                <a:lnTo>
                  <a:pt x="629" y="1707"/>
                </a:lnTo>
                <a:lnTo>
                  <a:pt x="677" y="1731"/>
                </a:lnTo>
                <a:lnTo>
                  <a:pt x="732" y="1751"/>
                </a:lnTo>
                <a:lnTo>
                  <a:pt x="799" y="1776"/>
                </a:lnTo>
                <a:lnTo>
                  <a:pt x="870" y="1796"/>
                </a:lnTo>
                <a:lnTo>
                  <a:pt x="946" y="1814"/>
                </a:lnTo>
                <a:lnTo>
                  <a:pt x="1024" y="1830"/>
                </a:lnTo>
                <a:lnTo>
                  <a:pt x="1103" y="1843"/>
                </a:lnTo>
                <a:lnTo>
                  <a:pt x="1183" y="1854"/>
                </a:lnTo>
                <a:lnTo>
                  <a:pt x="1263" y="1865"/>
                </a:lnTo>
                <a:lnTo>
                  <a:pt x="1340" y="1873"/>
                </a:lnTo>
                <a:lnTo>
                  <a:pt x="1471" y="1885"/>
                </a:lnTo>
                <a:lnTo>
                  <a:pt x="1599" y="1892"/>
                </a:lnTo>
                <a:lnTo>
                  <a:pt x="1726" y="1898"/>
                </a:lnTo>
                <a:lnTo>
                  <a:pt x="1845" y="1902"/>
                </a:lnTo>
                <a:lnTo>
                  <a:pt x="1960" y="1905"/>
                </a:lnTo>
                <a:lnTo>
                  <a:pt x="2046" y="1907"/>
                </a:lnTo>
                <a:lnTo>
                  <a:pt x="2169" y="1905"/>
                </a:lnTo>
                <a:lnTo>
                  <a:pt x="2293" y="1901"/>
                </a:lnTo>
                <a:lnTo>
                  <a:pt x="2414" y="1897"/>
                </a:lnTo>
                <a:lnTo>
                  <a:pt x="2531" y="1891"/>
                </a:lnTo>
                <a:lnTo>
                  <a:pt x="2643" y="1884"/>
                </a:lnTo>
                <a:lnTo>
                  <a:pt x="2750" y="1878"/>
                </a:lnTo>
                <a:lnTo>
                  <a:pt x="2827" y="1873"/>
                </a:lnTo>
                <a:lnTo>
                  <a:pt x="2899" y="1869"/>
                </a:lnTo>
                <a:lnTo>
                  <a:pt x="2902" y="1868"/>
                </a:lnTo>
                <a:lnTo>
                  <a:pt x="2905" y="1866"/>
                </a:lnTo>
                <a:lnTo>
                  <a:pt x="2908" y="1865"/>
                </a:lnTo>
                <a:lnTo>
                  <a:pt x="2911" y="1862"/>
                </a:lnTo>
                <a:lnTo>
                  <a:pt x="2914" y="1859"/>
                </a:lnTo>
                <a:lnTo>
                  <a:pt x="2914" y="1857"/>
                </a:lnTo>
                <a:lnTo>
                  <a:pt x="2926" y="1831"/>
                </a:lnTo>
                <a:lnTo>
                  <a:pt x="2946" y="1806"/>
                </a:lnTo>
                <a:lnTo>
                  <a:pt x="2972" y="1785"/>
                </a:lnTo>
                <a:lnTo>
                  <a:pt x="3004" y="1766"/>
                </a:lnTo>
                <a:lnTo>
                  <a:pt x="3043" y="1748"/>
                </a:lnTo>
                <a:lnTo>
                  <a:pt x="3086" y="1732"/>
                </a:lnTo>
                <a:lnTo>
                  <a:pt x="3132" y="1721"/>
                </a:lnTo>
                <a:lnTo>
                  <a:pt x="3183" y="1709"/>
                </a:lnTo>
                <a:lnTo>
                  <a:pt x="3235" y="1700"/>
                </a:lnTo>
                <a:lnTo>
                  <a:pt x="3289" y="1694"/>
                </a:lnTo>
                <a:lnTo>
                  <a:pt x="3344" y="1691"/>
                </a:lnTo>
                <a:lnTo>
                  <a:pt x="3401" y="1690"/>
                </a:lnTo>
                <a:lnTo>
                  <a:pt x="3455" y="1691"/>
                </a:lnTo>
                <a:lnTo>
                  <a:pt x="3510" y="1694"/>
                </a:lnTo>
                <a:lnTo>
                  <a:pt x="3564" y="1700"/>
                </a:lnTo>
                <a:lnTo>
                  <a:pt x="3616" y="1709"/>
                </a:lnTo>
                <a:lnTo>
                  <a:pt x="3666" y="1719"/>
                </a:lnTo>
                <a:lnTo>
                  <a:pt x="3712" y="1732"/>
                </a:lnTo>
                <a:lnTo>
                  <a:pt x="3756" y="1747"/>
                </a:lnTo>
                <a:lnTo>
                  <a:pt x="3794" y="1764"/>
                </a:lnTo>
                <a:lnTo>
                  <a:pt x="3827" y="1783"/>
                </a:lnTo>
                <a:lnTo>
                  <a:pt x="3854" y="1805"/>
                </a:lnTo>
                <a:lnTo>
                  <a:pt x="3874" y="1828"/>
                </a:lnTo>
                <a:lnTo>
                  <a:pt x="3887" y="1853"/>
                </a:lnTo>
                <a:lnTo>
                  <a:pt x="3891" y="1881"/>
                </a:lnTo>
                <a:lnTo>
                  <a:pt x="3887" y="1908"/>
                </a:lnTo>
                <a:lnTo>
                  <a:pt x="3874" y="1935"/>
                </a:lnTo>
                <a:lnTo>
                  <a:pt x="3854" y="1958"/>
                </a:lnTo>
                <a:lnTo>
                  <a:pt x="3827" y="1980"/>
                </a:lnTo>
                <a:lnTo>
                  <a:pt x="3794" y="1999"/>
                </a:lnTo>
                <a:lnTo>
                  <a:pt x="3756" y="2016"/>
                </a:lnTo>
                <a:lnTo>
                  <a:pt x="3712" y="2031"/>
                </a:lnTo>
                <a:lnTo>
                  <a:pt x="3666" y="2044"/>
                </a:lnTo>
                <a:lnTo>
                  <a:pt x="3616" y="2054"/>
                </a:lnTo>
                <a:lnTo>
                  <a:pt x="3564" y="2061"/>
                </a:lnTo>
                <a:lnTo>
                  <a:pt x="3510" y="2067"/>
                </a:lnTo>
                <a:lnTo>
                  <a:pt x="3455" y="2071"/>
                </a:lnTo>
                <a:lnTo>
                  <a:pt x="3401" y="2073"/>
                </a:lnTo>
                <a:lnTo>
                  <a:pt x="3344" y="2071"/>
                </a:lnTo>
                <a:lnTo>
                  <a:pt x="3289" y="2067"/>
                </a:lnTo>
                <a:lnTo>
                  <a:pt x="3234" y="2061"/>
                </a:lnTo>
                <a:lnTo>
                  <a:pt x="3180" y="2052"/>
                </a:lnTo>
                <a:lnTo>
                  <a:pt x="3131" y="2042"/>
                </a:lnTo>
                <a:lnTo>
                  <a:pt x="3083" y="2029"/>
                </a:lnTo>
                <a:lnTo>
                  <a:pt x="3039" y="2013"/>
                </a:lnTo>
                <a:lnTo>
                  <a:pt x="3001" y="1996"/>
                </a:lnTo>
                <a:lnTo>
                  <a:pt x="2969" y="1975"/>
                </a:lnTo>
                <a:lnTo>
                  <a:pt x="2943" y="1952"/>
                </a:lnTo>
                <a:lnTo>
                  <a:pt x="2924" y="1929"/>
                </a:lnTo>
                <a:lnTo>
                  <a:pt x="2923" y="1926"/>
                </a:lnTo>
                <a:lnTo>
                  <a:pt x="2920" y="1924"/>
                </a:lnTo>
                <a:lnTo>
                  <a:pt x="2917" y="1923"/>
                </a:lnTo>
                <a:lnTo>
                  <a:pt x="2914" y="1921"/>
                </a:lnTo>
                <a:lnTo>
                  <a:pt x="2911" y="1920"/>
                </a:lnTo>
                <a:lnTo>
                  <a:pt x="2908" y="1920"/>
                </a:lnTo>
                <a:lnTo>
                  <a:pt x="2834" y="1930"/>
                </a:lnTo>
                <a:lnTo>
                  <a:pt x="2748" y="1940"/>
                </a:lnTo>
                <a:lnTo>
                  <a:pt x="2654" y="1952"/>
                </a:lnTo>
                <a:lnTo>
                  <a:pt x="2547" y="1964"/>
                </a:lnTo>
                <a:lnTo>
                  <a:pt x="2434" y="1974"/>
                </a:lnTo>
                <a:lnTo>
                  <a:pt x="2310" y="1984"/>
                </a:lnTo>
                <a:lnTo>
                  <a:pt x="2178" y="1993"/>
                </a:lnTo>
                <a:lnTo>
                  <a:pt x="2038" y="2001"/>
                </a:lnTo>
                <a:lnTo>
                  <a:pt x="1931" y="2004"/>
                </a:lnTo>
                <a:lnTo>
                  <a:pt x="1830" y="2007"/>
                </a:lnTo>
                <a:lnTo>
                  <a:pt x="1736" y="2007"/>
                </a:lnTo>
                <a:lnTo>
                  <a:pt x="1606" y="2006"/>
                </a:lnTo>
                <a:lnTo>
                  <a:pt x="1483" y="2001"/>
                </a:lnTo>
                <a:lnTo>
                  <a:pt x="1360" y="1996"/>
                </a:lnTo>
                <a:lnTo>
                  <a:pt x="1232" y="1985"/>
                </a:lnTo>
                <a:lnTo>
                  <a:pt x="1112" y="1971"/>
                </a:lnTo>
                <a:lnTo>
                  <a:pt x="997" y="1955"/>
                </a:lnTo>
                <a:lnTo>
                  <a:pt x="889" y="1935"/>
                </a:lnTo>
                <a:lnTo>
                  <a:pt x="787" y="1911"/>
                </a:lnTo>
                <a:lnTo>
                  <a:pt x="690" y="1885"/>
                </a:lnTo>
                <a:lnTo>
                  <a:pt x="595" y="1853"/>
                </a:lnTo>
                <a:lnTo>
                  <a:pt x="553" y="1837"/>
                </a:lnTo>
                <a:lnTo>
                  <a:pt x="508" y="1817"/>
                </a:lnTo>
                <a:lnTo>
                  <a:pt x="463" y="1793"/>
                </a:lnTo>
                <a:lnTo>
                  <a:pt x="418" y="1767"/>
                </a:lnTo>
                <a:lnTo>
                  <a:pt x="376" y="1737"/>
                </a:lnTo>
                <a:lnTo>
                  <a:pt x="336" y="1703"/>
                </a:lnTo>
                <a:lnTo>
                  <a:pt x="275" y="1693"/>
                </a:lnTo>
                <a:lnTo>
                  <a:pt x="219" y="1678"/>
                </a:lnTo>
                <a:lnTo>
                  <a:pt x="165" y="1662"/>
                </a:lnTo>
                <a:lnTo>
                  <a:pt x="117" y="1642"/>
                </a:lnTo>
                <a:lnTo>
                  <a:pt x="76" y="1620"/>
                </a:lnTo>
                <a:lnTo>
                  <a:pt x="41" y="1597"/>
                </a:lnTo>
                <a:lnTo>
                  <a:pt x="15" y="1571"/>
                </a:lnTo>
                <a:lnTo>
                  <a:pt x="5" y="1555"/>
                </a:lnTo>
                <a:lnTo>
                  <a:pt x="0" y="1539"/>
                </a:lnTo>
                <a:lnTo>
                  <a:pt x="0" y="1524"/>
                </a:lnTo>
                <a:lnTo>
                  <a:pt x="2" y="1511"/>
                </a:lnTo>
                <a:lnTo>
                  <a:pt x="3" y="1504"/>
                </a:lnTo>
                <a:lnTo>
                  <a:pt x="5" y="1499"/>
                </a:lnTo>
                <a:lnTo>
                  <a:pt x="16" y="1475"/>
                </a:lnTo>
                <a:lnTo>
                  <a:pt x="35" y="1451"/>
                </a:lnTo>
                <a:lnTo>
                  <a:pt x="60" y="1429"/>
                </a:lnTo>
                <a:lnTo>
                  <a:pt x="91" y="1410"/>
                </a:lnTo>
                <a:lnTo>
                  <a:pt x="127" y="1393"/>
                </a:lnTo>
                <a:lnTo>
                  <a:pt x="168" y="1378"/>
                </a:lnTo>
                <a:lnTo>
                  <a:pt x="213" y="1365"/>
                </a:lnTo>
                <a:lnTo>
                  <a:pt x="261" y="1354"/>
                </a:lnTo>
                <a:lnTo>
                  <a:pt x="310" y="1345"/>
                </a:lnTo>
                <a:lnTo>
                  <a:pt x="363" y="1339"/>
                </a:lnTo>
                <a:lnTo>
                  <a:pt x="415" y="1295"/>
                </a:lnTo>
                <a:lnTo>
                  <a:pt x="475" y="1256"/>
                </a:lnTo>
                <a:lnTo>
                  <a:pt x="539" y="1220"/>
                </a:lnTo>
                <a:lnTo>
                  <a:pt x="606" y="1188"/>
                </a:lnTo>
                <a:lnTo>
                  <a:pt x="675" y="1157"/>
                </a:lnTo>
                <a:lnTo>
                  <a:pt x="748" y="1131"/>
                </a:lnTo>
                <a:lnTo>
                  <a:pt x="821" y="1106"/>
                </a:lnTo>
                <a:lnTo>
                  <a:pt x="894" y="1084"/>
                </a:lnTo>
                <a:lnTo>
                  <a:pt x="965" y="1064"/>
                </a:lnTo>
                <a:lnTo>
                  <a:pt x="997" y="1054"/>
                </a:lnTo>
                <a:lnTo>
                  <a:pt x="1038" y="1044"/>
                </a:lnTo>
                <a:lnTo>
                  <a:pt x="1084" y="1032"/>
                </a:lnTo>
                <a:lnTo>
                  <a:pt x="1138" y="1019"/>
                </a:lnTo>
                <a:lnTo>
                  <a:pt x="1198" y="1004"/>
                </a:lnTo>
                <a:lnTo>
                  <a:pt x="1260" y="990"/>
                </a:lnTo>
                <a:lnTo>
                  <a:pt x="1327" y="974"/>
                </a:lnTo>
                <a:lnTo>
                  <a:pt x="1397" y="958"/>
                </a:lnTo>
                <a:lnTo>
                  <a:pt x="1468" y="940"/>
                </a:lnTo>
                <a:lnTo>
                  <a:pt x="1541" y="923"/>
                </a:lnTo>
                <a:lnTo>
                  <a:pt x="1615" y="905"/>
                </a:lnTo>
                <a:lnTo>
                  <a:pt x="1688" y="888"/>
                </a:lnTo>
                <a:lnTo>
                  <a:pt x="1759" y="872"/>
                </a:lnTo>
                <a:lnTo>
                  <a:pt x="1829" y="854"/>
                </a:lnTo>
                <a:lnTo>
                  <a:pt x="1896" y="838"/>
                </a:lnTo>
                <a:lnTo>
                  <a:pt x="1960" y="822"/>
                </a:lnTo>
                <a:lnTo>
                  <a:pt x="2019" y="808"/>
                </a:lnTo>
                <a:lnTo>
                  <a:pt x="2073" y="795"/>
                </a:lnTo>
                <a:lnTo>
                  <a:pt x="2120" y="782"/>
                </a:lnTo>
                <a:lnTo>
                  <a:pt x="2160" y="771"/>
                </a:lnTo>
                <a:lnTo>
                  <a:pt x="2194" y="761"/>
                </a:lnTo>
                <a:lnTo>
                  <a:pt x="2219" y="753"/>
                </a:lnTo>
                <a:lnTo>
                  <a:pt x="2300" y="725"/>
                </a:lnTo>
                <a:lnTo>
                  <a:pt x="2371" y="699"/>
                </a:lnTo>
                <a:lnTo>
                  <a:pt x="2431" y="671"/>
                </a:lnTo>
                <a:lnTo>
                  <a:pt x="2482" y="643"/>
                </a:lnTo>
                <a:lnTo>
                  <a:pt x="2523" y="617"/>
                </a:lnTo>
                <a:lnTo>
                  <a:pt x="2555" y="591"/>
                </a:lnTo>
                <a:lnTo>
                  <a:pt x="2576" y="565"/>
                </a:lnTo>
                <a:lnTo>
                  <a:pt x="2591" y="539"/>
                </a:lnTo>
                <a:lnTo>
                  <a:pt x="2597" y="514"/>
                </a:lnTo>
                <a:lnTo>
                  <a:pt x="2595" y="489"/>
                </a:lnTo>
                <a:lnTo>
                  <a:pt x="2587" y="466"/>
                </a:lnTo>
                <a:lnTo>
                  <a:pt x="2569" y="442"/>
                </a:lnTo>
                <a:lnTo>
                  <a:pt x="2546" y="419"/>
                </a:lnTo>
                <a:lnTo>
                  <a:pt x="2517" y="399"/>
                </a:lnTo>
                <a:lnTo>
                  <a:pt x="2480" y="378"/>
                </a:lnTo>
                <a:lnTo>
                  <a:pt x="2438" y="358"/>
                </a:lnTo>
                <a:lnTo>
                  <a:pt x="2392" y="339"/>
                </a:lnTo>
                <a:lnTo>
                  <a:pt x="2339" y="322"/>
                </a:lnTo>
                <a:lnTo>
                  <a:pt x="2281" y="306"/>
                </a:lnTo>
                <a:lnTo>
                  <a:pt x="2220" y="291"/>
                </a:lnTo>
                <a:lnTo>
                  <a:pt x="2155" y="278"/>
                </a:lnTo>
                <a:lnTo>
                  <a:pt x="2085" y="265"/>
                </a:lnTo>
                <a:lnTo>
                  <a:pt x="2012" y="255"/>
                </a:lnTo>
                <a:lnTo>
                  <a:pt x="1936" y="244"/>
                </a:lnTo>
                <a:lnTo>
                  <a:pt x="1858" y="237"/>
                </a:lnTo>
                <a:lnTo>
                  <a:pt x="1855" y="237"/>
                </a:lnTo>
                <a:lnTo>
                  <a:pt x="1852" y="239"/>
                </a:lnTo>
                <a:lnTo>
                  <a:pt x="1848" y="240"/>
                </a:lnTo>
                <a:lnTo>
                  <a:pt x="1845" y="243"/>
                </a:lnTo>
                <a:lnTo>
                  <a:pt x="1843" y="244"/>
                </a:lnTo>
                <a:lnTo>
                  <a:pt x="1820" y="271"/>
                </a:lnTo>
                <a:lnTo>
                  <a:pt x="1790" y="294"/>
                </a:lnTo>
                <a:lnTo>
                  <a:pt x="1752" y="314"/>
                </a:lnTo>
                <a:lnTo>
                  <a:pt x="1708" y="332"/>
                </a:lnTo>
                <a:lnTo>
                  <a:pt x="1659" y="348"/>
                </a:lnTo>
                <a:lnTo>
                  <a:pt x="1606" y="359"/>
                </a:lnTo>
                <a:lnTo>
                  <a:pt x="1550" y="370"/>
                </a:lnTo>
                <a:lnTo>
                  <a:pt x="1490" y="377"/>
                </a:lnTo>
                <a:lnTo>
                  <a:pt x="1430" y="381"/>
                </a:lnTo>
                <a:lnTo>
                  <a:pt x="1369" y="383"/>
                </a:lnTo>
                <a:lnTo>
                  <a:pt x="1315" y="381"/>
                </a:lnTo>
                <a:lnTo>
                  <a:pt x="1260" y="378"/>
                </a:lnTo>
                <a:lnTo>
                  <a:pt x="1206" y="373"/>
                </a:lnTo>
                <a:lnTo>
                  <a:pt x="1154" y="364"/>
                </a:lnTo>
                <a:lnTo>
                  <a:pt x="1104" y="354"/>
                </a:lnTo>
                <a:lnTo>
                  <a:pt x="1058" y="341"/>
                </a:lnTo>
                <a:lnTo>
                  <a:pt x="1014" y="326"/>
                </a:lnTo>
                <a:lnTo>
                  <a:pt x="976" y="309"/>
                </a:lnTo>
                <a:lnTo>
                  <a:pt x="943" y="290"/>
                </a:lnTo>
                <a:lnTo>
                  <a:pt x="917" y="268"/>
                </a:lnTo>
                <a:lnTo>
                  <a:pt x="896" y="244"/>
                </a:lnTo>
                <a:lnTo>
                  <a:pt x="883" y="218"/>
                </a:lnTo>
                <a:lnTo>
                  <a:pt x="879" y="191"/>
                </a:lnTo>
                <a:lnTo>
                  <a:pt x="883" y="164"/>
                </a:lnTo>
                <a:lnTo>
                  <a:pt x="896" y="138"/>
                </a:lnTo>
                <a:lnTo>
                  <a:pt x="917" y="115"/>
                </a:lnTo>
                <a:lnTo>
                  <a:pt x="943" y="93"/>
                </a:lnTo>
                <a:lnTo>
                  <a:pt x="976" y="74"/>
                </a:lnTo>
                <a:lnTo>
                  <a:pt x="1014" y="57"/>
                </a:lnTo>
                <a:lnTo>
                  <a:pt x="1058" y="42"/>
                </a:lnTo>
                <a:lnTo>
                  <a:pt x="1104" y="29"/>
                </a:lnTo>
                <a:lnTo>
                  <a:pt x="1154" y="19"/>
                </a:lnTo>
                <a:lnTo>
                  <a:pt x="1206" y="10"/>
                </a:lnTo>
                <a:lnTo>
                  <a:pt x="1260" y="4"/>
                </a:lnTo>
                <a:lnTo>
                  <a:pt x="1315" y="1"/>
                </a:lnTo>
                <a:lnTo>
                  <a:pt x="136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1891034" y="2865816"/>
            <a:ext cx="775096" cy="1099799"/>
            <a:chOff x="1891034" y="2889803"/>
            <a:chExt cx="775096" cy="1099799"/>
          </a:xfrm>
        </p:grpSpPr>
        <p:grpSp>
          <p:nvGrpSpPr>
            <p:cNvPr id="38" name="Group 37"/>
            <p:cNvGrpSpPr>
              <a:grpSpLocks noChangeAspect="1"/>
            </p:cNvGrpSpPr>
            <p:nvPr/>
          </p:nvGrpSpPr>
          <p:grpSpPr>
            <a:xfrm>
              <a:off x="1891034" y="2889803"/>
              <a:ext cx="775096" cy="1099799"/>
              <a:chOff x="3574665" y="4349496"/>
              <a:chExt cx="295991" cy="419987"/>
            </a:xfrm>
            <a:solidFill>
              <a:schemeClr val="accent1"/>
            </a:solidFill>
          </p:grpSpPr>
          <p:sp>
            <p:nvSpPr>
              <p:cNvPr id="40" name="Freeform 609"/>
              <p:cNvSpPr>
                <a:spLocks/>
              </p:cNvSpPr>
              <p:nvPr/>
            </p:nvSpPr>
            <p:spPr bwMode="auto">
              <a:xfrm>
                <a:off x="3574665" y="4349496"/>
                <a:ext cx="295991" cy="419987"/>
              </a:xfrm>
              <a:custGeom>
                <a:avLst/>
                <a:gdLst>
                  <a:gd name="T0" fmla="*/ 63 w 125"/>
                  <a:gd name="T1" fmla="*/ 178 h 178"/>
                  <a:gd name="T2" fmla="*/ 0 w 125"/>
                  <a:gd name="T3" fmla="*/ 62 h 178"/>
                  <a:gd name="T4" fmla="*/ 63 w 125"/>
                  <a:gd name="T5" fmla="*/ 0 h 178"/>
                  <a:gd name="T6" fmla="*/ 125 w 125"/>
                  <a:gd name="T7" fmla="*/ 62 h 178"/>
                  <a:gd name="T8" fmla="*/ 63 w 12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78">
                    <a:moveTo>
                      <a:pt x="63" y="178"/>
                    </a:moveTo>
                    <a:cubicBezTo>
                      <a:pt x="63" y="178"/>
                      <a:pt x="0" y="96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97" y="0"/>
                      <a:pt x="125" y="28"/>
                      <a:pt x="125" y="62"/>
                    </a:cubicBezTo>
                    <a:cubicBezTo>
                      <a:pt x="125" y="96"/>
                      <a:pt x="63" y="178"/>
                      <a:pt x="63" y="17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610"/>
              <p:cNvSpPr>
                <a:spLocks noChangeArrowheads="1"/>
              </p:cNvSpPr>
              <p:nvPr/>
            </p:nvSpPr>
            <p:spPr bwMode="auto">
              <a:xfrm>
                <a:off x="3648662" y="4410494"/>
                <a:ext cx="150995" cy="1489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9052" y="2991906"/>
              <a:ext cx="519060" cy="519060"/>
            </a:xfrm>
            <a:prstGeom prst="rect">
              <a:avLst/>
            </a:prstGeom>
          </p:spPr>
        </p:pic>
      </p:grpSp>
      <p:sp>
        <p:nvSpPr>
          <p:cNvPr id="30" name="Rectangle 29"/>
          <p:cNvSpPr/>
          <p:nvPr/>
        </p:nvSpPr>
        <p:spPr>
          <a:xfrm>
            <a:off x="408898" y="2811633"/>
            <a:ext cx="13523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CiscoSansTT ExtraLight"/>
              </a:rPr>
              <a:t>Evaluating</a:t>
            </a:r>
            <a:r>
              <a:rPr lang="en-US" dirty="0">
                <a:solidFill>
                  <a:srgbClr val="282828"/>
                </a:solidFill>
                <a:latin typeface="CiscoSansTT ExtraLight"/>
              </a:rPr>
              <a:t> </a:t>
            </a:r>
            <a:r>
              <a:rPr lang="en-US" dirty="0">
                <a:solidFill>
                  <a:schemeClr val="bg1"/>
                </a:solidFill>
                <a:latin typeface="CiscoSansTT ExtraLight"/>
              </a:rPr>
              <a:t>if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 are </a:t>
            </a:r>
            <a:r>
              <a:rPr lang="en-US" dirty="0">
                <a:solidFill>
                  <a:schemeClr val="bg1"/>
                </a:solidFill>
                <a:latin typeface="CiscoSansTT ExtraLight"/>
              </a:rPr>
              <a:t>ready?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258231" y="2343991"/>
            <a:ext cx="1658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  <a:latin typeface="CiscoSansTT ExtraLight"/>
              </a:rPr>
              <a:t>Building &amp; Assessing your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secure foundation?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909320" y="487383"/>
            <a:ext cx="2257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Maintaining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r</a:t>
            </a:r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digital solution?  </a:t>
            </a:r>
            <a:endParaRPr lang="en-US" dirty="0">
              <a:solidFill>
                <a:schemeClr val="bg1"/>
              </a:solidFill>
              <a:latin typeface="CiscoSansTT Extra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834274" y="441780"/>
            <a:ext cx="775096" cy="1099799"/>
            <a:chOff x="4834274" y="441780"/>
            <a:chExt cx="775096" cy="1099799"/>
          </a:xfrm>
        </p:grpSpPr>
        <p:grpSp>
          <p:nvGrpSpPr>
            <p:cNvPr id="48" name="Group 47"/>
            <p:cNvGrpSpPr>
              <a:grpSpLocks noChangeAspect="1"/>
            </p:cNvGrpSpPr>
            <p:nvPr/>
          </p:nvGrpSpPr>
          <p:grpSpPr>
            <a:xfrm>
              <a:off x="4834274" y="441780"/>
              <a:ext cx="775096" cy="1099799"/>
              <a:chOff x="3574665" y="4349496"/>
              <a:chExt cx="295991" cy="419987"/>
            </a:xfrm>
            <a:solidFill>
              <a:schemeClr val="accent1"/>
            </a:solidFill>
          </p:grpSpPr>
          <p:sp>
            <p:nvSpPr>
              <p:cNvPr id="49" name="Freeform 609"/>
              <p:cNvSpPr>
                <a:spLocks/>
              </p:cNvSpPr>
              <p:nvPr/>
            </p:nvSpPr>
            <p:spPr bwMode="auto">
              <a:xfrm>
                <a:off x="3574665" y="4349496"/>
                <a:ext cx="295991" cy="419987"/>
              </a:xfrm>
              <a:custGeom>
                <a:avLst/>
                <a:gdLst>
                  <a:gd name="T0" fmla="*/ 63 w 125"/>
                  <a:gd name="T1" fmla="*/ 178 h 178"/>
                  <a:gd name="T2" fmla="*/ 0 w 125"/>
                  <a:gd name="T3" fmla="*/ 62 h 178"/>
                  <a:gd name="T4" fmla="*/ 63 w 125"/>
                  <a:gd name="T5" fmla="*/ 0 h 178"/>
                  <a:gd name="T6" fmla="*/ 125 w 125"/>
                  <a:gd name="T7" fmla="*/ 62 h 178"/>
                  <a:gd name="T8" fmla="*/ 63 w 12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78">
                    <a:moveTo>
                      <a:pt x="63" y="178"/>
                    </a:moveTo>
                    <a:cubicBezTo>
                      <a:pt x="63" y="178"/>
                      <a:pt x="0" y="96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97" y="0"/>
                      <a:pt x="125" y="28"/>
                      <a:pt x="125" y="62"/>
                    </a:cubicBezTo>
                    <a:cubicBezTo>
                      <a:pt x="125" y="96"/>
                      <a:pt x="63" y="178"/>
                      <a:pt x="63" y="178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Oval 610"/>
              <p:cNvSpPr>
                <a:spLocks noChangeArrowheads="1"/>
              </p:cNvSpPr>
              <p:nvPr/>
            </p:nvSpPr>
            <p:spPr bwMode="auto">
              <a:xfrm>
                <a:off x="3648662" y="4410494"/>
                <a:ext cx="150995" cy="1489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7141" y="539432"/>
              <a:ext cx="541250" cy="574327"/>
            </a:xfrm>
            <a:prstGeom prst="rect">
              <a:avLst/>
            </a:prstGeom>
            <a:solidFill>
              <a:schemeClr val="accent5"/>
            </a:solidFill>
          </p:spPr>
        </p:pic>
      </p:grpSp>
      <p:sp>
        <p:nvSpPr>
          <p:cNvPr id="23" name="Rectangle 22"/>
          <p:cNvSpPr/>
          <p:nvPr/>
        </p:nvSpPr>
        <p:spPr>
          <a:xfrm>
            <a:off x="175197" y="2611896"/>
            <a:ext cx="1486947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91440"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00BCEB"/>
                </a:solidFill>
                <a:latin typeface="CiscoSansTT ExtraLight"/>
              </a:rPr>
              <a:t>People </a:t>
            </a:r>
          </a:p>
          <a:p>
            <a:pPr indent="-91440"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00BCEB"/>
                </a:solidFill>
                <a:latin typeface="CiscoSansTT ExtraLight"/>
              </a:rPr>
              <a:t>Process </a:t>
            </a:r>
          </a:p>
          <a:p>
            <a:pPr indent="-91440"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00BCEB"/>
                </a:solidFill>
                <a:latin typeface="CiscoSansTT ExtraLight"/>
              </a:rPr>
              <a:t>Technology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027725" y="2088608"/>
            <a:ext cx="1953902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6EBE4A"/>
                </a:solidFill>
                <a:latin typeface="CiscoSansTT ExtraLight"/>
              </a:rPr>
              <a:t>Segmentation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6EBE4A"/>
                </a:solidFill>
                <a:latin typeface="CiscoSansTT ExtraLight"/>
              </a:rPr>
              <a:t>Manage Passwords and Patching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rgbClr val="6EBE4A"/>
                </a:solidFill>
                <a:latin typeface="CiscoSansTT ExtraLight"/>
              </a:rPr>
              <a:t>Visibility</a:t>
            </a:r>
            <a:endParaRPr lang="en-US" dirty="0" smtClean="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569296" y="192557"/>
            <a:ext cx="2621864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Descriptive IR Plan</a:t>
            </a:r>
            <a:endParaRPr lang="en-US" dirty="0">
              <a:solidFill>
                <a:schemeClr val="accent5"/>
              </a:solidFill>
              <a:latin typeface="CiscoSansTT ExtraLight"/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Communication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Periodic Table Top Exercises</a:t>
            </a:r>
            <a:endParaRPr lang="en-US" dirty="0">
              <a:solidFill>
                <a:schemeClr val="accent5"/>
              </a:solidFill>
              <a:latin typeface="CiscoSansTT ExtraLight"/>
            </a:endParaRPr>
          </a:p>
        </p:txBody>
      </p:sp>
      <p:sp>
        <p:nvSpPr>
          <p:cNvPr id="27" name="Title 2"/>
          <p:cNvSpPr txBox="1">
            <a:spLocks/>
          </p:cNvSpPr>
          <p:nvPr/>
        </p:nvSpPr>
        <p:spPr bwMode="auto">
          <a:xfrm>
            <a:off x="482696" y="370515"/>
            <a:ext cx="2847332" cy="71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61715" tIns="34288" rIns="61715" bIns="34288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685748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Ciscolight" pitchFamily="2" charset="0"/>
              <a:buNone/>
              <a:defRPr lang="en-US" sz="4500" b="0" i="0" u="none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800" dirty="0" smtClean="0"/>
              <a:t>Remember</a:t>
            </a:r>
            <a:r>
              <a:rPr lang="mr-IN" sz="2800" dirty="0" smtClean="0"/>
              <a:t>…</a:t>
            </a:r>
            <a:endParaRPr lang="en-US" sz="2800" dirty="0"/>
          </a:p>
        </p:txBody>
      </p:sp>
      <p:grpSp>
        <p:nvGrpSpPr>
          <p:cNvPr id="29" name="Group 28"/>
          <p:cNvGrpSpPr/>
          <p:nvPr/>
        </p:nvGrpSpPr>
        <p:grpSpPr>
          <a:xfrm>
            <a:off x="6100590" y="2336609"/>
            <a:ext cx="775096" cy="1099799"/>
            <a:chOff x="6100590" y="2343991"/>
            <a:chExt cx="775096" cy="1099799"/>
          </a:xfrm>
        </p:grpSpPr>
        <p:grpSp>
          <p:nvGrpSpPr>
            <p:cNvPr id="31" name="Group 30"/>
            <p:cNvGrpSpPr/>
            <p:nvPr/>
          </p:nvGrpSpPr>
          <p:grpSpPr>
            <a:xfrm>
              <a:off x="6100590" y="2343991"/>
              <a:ext cx="775096" cy="1099799"/>
              <a:chOff x="6123791" y="2343991"/>
              <a:chExt cx="775096" cy="1099799"/>
            </a:xfrm>
          </p:grpSpPr>
          <p:grpSp>
            <p:nvGrpSpPr>
              <p:cNvPr id="75" name="Group 74"/>
              <p:cNvGrpSpPr>
                <a:grpSpLocks noChangeAspect="1"/>
              </p:cNvGrpSpPr>
              <p:nvPr/>
            </p:nvGrpSpPr>
            <p:grpSpPr>
              <a:xfrm>
                <a:off x="6123791" y="2343991"/>
                <a:ext cx="775096" cy="1099799"/>
                <a:chOff x="3574665" y="4349496"/>
                <a:chExt cx="295991" cy="419987"/>
              </a:xfrm>
              <a:solidFill>
                <a:schemeClr val="accent1"/>
              </a:solidFill>
            </p:grpSpPr>
            <p:sp>
              <p:nvSpPr>
                <p:cNvPr id="77" name="Freeform 609"/>
                <p:cNvSpPr>
                  <a:spLocks/>
                </p:cNvSpPr>
                <p:nvPr/>
              </p:nvSpPr>
              <p:spPr bwMode="auto">
                <a:xfrm>
                  <a:off x="3574665" y="4349496"/>
                  <a:ext cx="295991" cy="419987"/>
                </a:xfrm>
                <a:custGeom>
                  <a:avLst/>
                  <a:gdLst>
                    <a:gd name="T0" fmla="*/ 63 w 125"/>
                    <a:gd name="T1" fmla="*/ 178 h 178"/>
                    <a:gd name="T2" fmla="*/ 0 w 125"/>
                    <a:gd name="T3" fmla="*/ 62 h 178"/>
                    <a:gd name="T4" fmla="*/ 63 w 125"/>
                    <a:gd name="T5" fmla="*/ 0 h 178"/>
                    <a:gd name="T6" fmla="*/ 125 w 125"/>
                    <a:gd name="T7" fmla="*/ 62 h 178"/>
                    <a:gd name="T8" fmla="*/ 63 w 125"/>
                    <a:gd name="T9" fmla="*/ 178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5" h="178">
                      <a:moveTo>
                        <a:pt x="63" y="178"/>
                      </a:moveTo>
                      <a:cubicBezTo>
                        <a:pt x="63" y="178"/>
                        <a:pt x="0" y="96"/>
                        <a:pt x="0" y="62"/>
                      </a:cubicBezTo>
                      <a:cubicBezTo>
                        <a:pt x="0" y="28"/>
                        <a:pt x="28" y="0"/>
                        <a:pt x="63" y="0"/>
                      </a:cubicBezTo>
                      <a:cubicBezTo>
                        <a:pt x="97" y="0"/>
                        <a:pt x="125" y="28"/>
                        <a:pt x="125" y="62"/>
                      </a:cubicBezTo>
                      <a:cubicBezTo>
                        <a:pt x="125" y="96"/>
                        <a:pt x="63" y="178"/>
                        <a:pt x="63" y="178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8" name="Oval 610"/>
                <p:cNvSpPr>
                  <a:spLocks noChangeArrowheads="1"/>
                </p:cNvSpPr>
                <p:nvPr/>
              </p:nvSpPr>
              <p:spPr bwMode="auto">
                <a:xfrm>
                  <a:off x="3648662" y="4410494"/>
                  <a:ext cx="150995" cy="148995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pic>
            <p:nvPicPr>
              <p:cNvPr id="76" name="Picture 75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2417" y="2472846"/>
                <a:ext cx="519060" cy="519060"/>
              </a:xfrm>
              <a:prstGeom prst="rect">
                <a:avLst/>
              </a:prstGeom>
            </p:spPr>
          </p:pic>
        </p:grpSp>
        <p:grpSp>
          <p:nvGrpSpPr>
            <p:cNvPr id="33" name="Group 10"/>
            <p:cNvGrpSpPr>
              <a:grpSpLocks noChangeAspect="1"/>
            </p:cNvGrpSpPr>
            <p:nvPr/>
          </p:nvGrpSpPr>
          <p:grpSpPr bwMode="auto">
            <a:xfrm>
              <a:off x="6229491" y="2472495"/>
              <a:ext cx="519040" cy="519765"/>
              <a:chOff x="2546" y="1891"/>
              <a:chExt cx="717" cy="718"/>
            </a:xfrm>
            <a:solidFill>
              <a:schemeClr val="bg2"/>
            </a:solidFill>
          </p:grpSpPr>
          <p:sp>
            <p:nvSpPr>
              <p:cNvPr id="34" name="Freeform 13"/>
              <p:cNvSpPr>
                <a:spLocks/>
              </p:cNvSpPr>
              <p:nvPr/>
            </p:nvSpPr>
            <p:spPr bwMode="auto">
              <a:xfrm>
                <a:off x="2546" y="1891"/>
                <a:ext cx="717" cy="71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3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4"/>
              <p:cNvSpPr>
                <a:spLocks/>
              </p:cNvSpPr>
              <p:nvPr/>
            </p:nvSpPr>
            <p:spPr bwMode="auto">
              <a:xfrm>
                <a:off x="2806" y="2122"/>
                <a:ext cx="70" cy="71"/>
              </a:xfrm>
              <a:custGeom>
                <a:avLst/>
                <a:gdLst>
                  <a:gd name="T0" fmla="*/ 105 w 140"/>
                  <a:gd name="T1" fmla="*/ 9 h 140"/>
                  <a:gd name="T2" fmla="*/ 105 w 140"/>
                  <a:gd name="T3" fmla="*/ 9 h 140"/>
                  <a:gd name="T4" fmla="*/ 118 w 140"/>
                  <a:gd name="T5" fmla="*/ 17 h 140"/>
                  <a:gd name="T6" fmla="*/ 127 w 140"/>
                  <a:gd name="T7" fmla="*/ 27 h 140"/>
                  <a:gd name="T8" fmla="*/ 134 w 140"/>
                  <a:gd name="T9" fmla="*/ 40 h 140"/>
                  <a:gd name="T10" fmla="*/ 139 w 140"/>
                  <a:gd name="T11" fmla="*/ 53 h 140"/>
                  <a:gd name="T12" fmla="*/ 140 w 140"/>
                  <a:gd name="T13" fmla="*/ 65 h 140"/>
                  <a:gd name="T14" fmla="*/ 140 w 140"/>
                  <a:gd name="T15" fmla="*/ 80 h 140"/>
                  <a:gd name="T16" fmla="*/ 137 w 140"/>
                  <a:gd name="T17" fmla="*/ 92 h 140"/>
                  <a:gd name="T18" fmla="*/ 132 w 140"/>
                  <a:gd name="T19" fmla="*/ 105 h 140"/>
                  <a:gd name="T20" fmla="*/ 132 w 140"/>
                  <a:gd name="T21" fmla="*/ 105 h 140"/>
                  <a:gd name="T22" fmla="*/ 123 w 140"/>
                  <a:gd name="T23" fmla="*/ 116 h 140"/>
                  <a:gd name="T24" fmla="*/ 113 w 140"/>
                  <a:gd name="T25" fmla="*/ 126 h 140"/>
                  <a:gd name="T26" fmla="*/ 102 w 140"/>
                  <a:gd name="T27" fmla="*/ 134 h 140"/>
                  <a:gd name="T28" fmla="*/ 89 w 140"/>
                  <a:gd name="T29" fmla="*/ 139 h 140"/>
                  <a:gd name="T30" fmla="*/ 75 w 140"/>
                  <a:gd name="T31" fmla="*/ 140 h 140"/>
                  <a:gd name="T32" fmla="*/ 62 w 140"/>
                  <a:gd name="T33" fmla="*/ 140 h 140"/>
                  <a:gd name="T34" fmla="*/ 48 w 140"/>
                  <a:gd name="T35" fmla="*/ 137 h 140"/>
                  <a:gd name="T36" fmla="*/ 35 w 140"/>
                  <a:gd name="T37" fmla="*/ 131 h 140"/>
                  <a:gd name="T38" fmla="*/ 35 w 140"/>
                  <a:gd name="T39" fmla="*/ 131 h 140"/>
                  <a:gd name="T40" fmla="*/ 24 w 140"/>
                  <a:gd name="T41" fmla="*/ 123 h 140"/>
                  <a:gd name="T42" fmla="*/ 14 w 140"/>
                  <a:gd name="T43" fmla="*/ 113 h 140"/>
                  <a:gd name="T44" fmla="*/ 8 w 140"/>
                  <a:gd name="T45" fmla="*/ 100 h 140"/>
                  <a:gd name="T46" fmla="*/ 3 w 140"/>
                  <a:gd name="T47" fmla="*/ 88 h 140"/>
                  <a:gd name="T48" fmla="*/ 0 w 140"/>
                  <a:gd name="T49" fmla="*/ 75 h 140"/>
                  <a:gd name="T50" fmla="*/ 0 w 140"/>
                  <a:gd name="T51" fmla="*/ 62 h 140"/>
                  <a:gd name="T52" fmla="*/ 3 w 140"/>
                  <a:gd name="T53" fmla="*/ 48 h 140"/>
                  <a:gd name="T54" fmla="*/ 9 w 140"/>
                  <a:gd name="T55" fmla="*/ 35 h 140"/>
                  <a:gd name="T56" fmla="*/ 9 w 140"/>
                  <a:gd name="T57" fmla="*/ 35 h 140"/>
                  <a:gd name="T58" fmla="*/ 17 w 140"/>
                  <a:gd name="T59" fmla="*/ 24 h 140"/>
                  <a:gd name="T60" fmla="*/ 29 w 140"/>
                  <a:gd name="T61" fmla="*/ 14 h 140"/>
                  <a:gd name="T62" fmla="*/ 40 w 140"/>
                  <a:gd name="T63" fmla="*/ 6 h 140"/>
                  <a:gd name="T64" fmla="*/ 53 w 140"/>
                  <a:gd name="T65" fmla="*/ 1 h 140"/>
                  <a:gd name="T66" fmla="*/ 65 w 140"/>
                  <a:gd name="T67" fmla="*/ 0 h 140"/>
                  <a:gd name="T68" fmla="*/ 80 w 140"/>
                  <a:gd name="T69" fmla="*/ 0 h 140"/>
                  <a:gd name="T70" fmla="*/ 92 w 140"/>
                  <a:gd name="T71" fmla="*/ 3 h 140"/>
                  <a:gd name="T72" fmla="*/ 105 w 140"/>
                  <a:gd name="T73" fmla="*/ 9 h 140"/>
                  <a:gd name="T74" fmla="*/ 105 w 140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0">
                    <a:moveTo>
                      <a:pt x="105" y="9"/>
                    </a:moveTo>
                    <a:lnTo>
                      <a:pt x="105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40"/>
                    </a:lnTo>
                    <a:lnTo>
                      <a:pt x="139" y="53"/>
                    </a:lnTo>
                    <a:lnTo>
                      <a:pt x="140" y="65"/>
                    </a:lnTo>
                    <a:lnTo>
                      <a:pt x="140" y="80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3" y="116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8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3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15"/>
              <p:cNvSpPr>
                <a:spLocks/>
              </p:cNvSpPr>
              <p:nvPr/>
            </p:nvSpPr>
            <p:spPr bwMode="auto">
              <a:xfrm>
                <a:off x="2834" y="2391"/>
                <a:ext cx="70" cy="70"/>
              </a:xfrm>
              <a:custGeom>
                <a:avLst/>
                <a:gdLst>
                  <a:gd name="T0" fmla="*/ 105 w 140"/>
                  <a:gd name="T1" fmla="*/ 10 h 141"/>
                  <a:gd name="T2" fmla="*/ 105 w 140"/>
                  <a:gd name="T3" fmla="*/ 10 h 141"/>
                  <a:gd name="T4" fmla="*/ 118 w 140"/>
                  <a:gd name="T5" fmla="*/ 18 h 141"/>
                  <a:gd name="T6" fmla="*/ 126 w 140"/>
                  <a:gd name="T7" fmla="*/ 27 h 141"/>
                  <a:gd name="T8" fmla="*/ 134 w 140"/>
                  <a:gd name="T9" fmla="*/ 40 h 141"/>
                  <a:gd name="T10" fmla="*/ 138 w 140"/>
                  <a:gd name="T11" fmla="*/ 51 h 141"/>
                  <a:gd name="T12" fmla="*/ 140 w 140"/>
                  <a:gd name="T13" fmla="*/ 66 h 141"/>
                  <a:gd name="T14" fmla="*/ 140 w 140"/>
                  <a:gd name="T15" fmla="*/ 78 h 141"/>
                  <a:gd name="T16" fmla="*/ 137 w 140"/>
                  <a:gd name="T17" fmla="*/ 93 h 141"/>
                  <a:gd name="T18" fmla="*/ 130 w 140"/>
                  <a:gd name="T19" fmla="*/ 105 h 141"/>
                  <a:gd name="T20" fmla="*/ 130 w 140"/>
                  <a:gd name="T21" fmla="*/ 105 h 141"/>
                  <a:gd name="T22" fmla="*/ 122 w 140"/>
                  <a:gd name="T23" fmla="*/ 117 h 141"/>
                  <a:gd name="T24" fmla="*/ 113 w 140"/>
                  <a:gd name="T25" fmla="*/ 126 h 141"/>
                  <a:gd name="T26" fmla="*/ 102 w 140"/>
                  <a:gd name="T27" fmla="*/ 134 h 141"/>
                  <a:gd name="T28" fmla="*/ 89 w 140"/>
                  <a:gd name="T29" fmla="*/ 139 h 141"/>
                  <a:gd name="T30" fmla="*/ 75 w 140"/>
                  <a:gd name="T31" fmla="*/ 141 h 141"/>
                  <a:gd name="T32" fmla="*/ 62 w 140"/>
                  <a:gd name="T33" fmla="*/ 141 h 141"/>
                  <a:gd name="T34" fmla="*/ 48 w 140"/>
                  <a:gd name="T35" fmla="*/ 137 h 141"/>
                  <a:gd name="T36" fmla="*/ 35 w 140"/>
                  <a:gd name="T37" fmla="*/ 131 h 141"/>
                  <a:gd name="T38" fmla="*/ 35 w 140"/>
                  <a:gd name="T39" fmla="*/ 131 h 141"/>
                  <a:gd name="T40" fmla="*/ 24 w 140"/>
                  <a:gd name="T41" fmla="*/ 123 h 141"/>
                  <a:gd name="T42" fmla="*/ 14 w 140"/>
                  <a:gd name="T43" fmla="*/ 113 h 141"/>
                  <a:gd name="T44" fmla="*/ 6 w 140"/>
                  <a:gd name="T45" fmla="*/ 101 h 141"/>
                  <a:gd name="T46" fmla="*/ 1 w 140"/>
                  <a:gd name="T47" fmla="*/ 88 h 141"/>
                  <a:gd name="T48" fmla="*/ 0 w 140"/>
                  <a:gd name="T49" fmla="*/ 75 h 141"/>
                  <a:gd name="T50" fmla="*/ 0 w 140"/>
                  <a:gd name="T51" fmla="*/ 61 h 141"/>
                  <a:gd name="T52" fmla="*/ 3 w 140"/>
                  <a:gd name="T53" fmla="*/ 48 h 141"/>
                  <a:gd name="T54" fmla="*/ 9 w 140"/>
                  <a:gd name="T55" fmla="*/ 35 h 141"/>
                  <a:gd name="T56" fmla="*/ 9 w 140"/>
                  <a:gd name="T57" fmla="*/ 35 h 141"/>
                  <a:gd name="T58" fmla="*/ 17 w 140"/>
                  <a:gd name="T59" fmla="*/ 24 h 141"/>
                  <a:gd name="T60" fmla="*/ 27 w 140"/>
                  <a:gd name="T61" fmla="*/ 15 h 141"/>
                  <a:gd name="T62" fmla="*/ 40 w 140"/>
                  <a:gd name="T63" fmla="*/ 7 h 141"/>
                  <a:gd name="T64" fmla="*/ 52 w 140"/>
                  <a:gd name="T65" fmla="*/ 2 h 141"/>
                  <a:gd name="T66" fmla="*/ 65 w 140"/>
                  <a:gd name="T67" fmla="*/ 0 h 141"/>
                  <a:gd name="T68" fmla="*/ 79 w 140"/>
                  <a:gd name="T69" fmla="*/ 0 h 141"/>
                  <a:gd name="T70" fmla="*/ 92 w 140"/>
                  <a:gd name="T71" fmla="*/ 3 h 141"/>
                  <a:gd name="T72" fmla="*/ 105 w 140"/>
                  <a:gd name="T73" fmla="*/ 10 h 141"/>
                  <a:gd name="T74" fmla="*/ 105 w 140"/>
                  <a:gd name="T75" fmla="*/ 1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1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6" y="27"/>
                    </a:lnTo>
                    <a:lnTo>
                      <a:pt x="134" y="40"/>
                    </a:lnTo>
                    <a:lnTo>
                      <a:pt x="138" y="51"/>
                    </a:lnTo>
                    <a:lnTo>
                      <a:pt x="140" y="66"/>
                    </a:lnTo>
                    <a:lnTo>
                      <a:pt x="140" y="78"/>
                    </a:lnTo>
                    <a:lnTo>
                      <a:pt x="137" y="93"/>
                    </a:lnTo>
                    <a:lnTo>
                      <a:pt x="130" y="105"/>
                    </a:lnTo>
                    <a:lnTo>
                      <a:pt x="130" y="105"/>
                    </a:lnTo>
                    <a:lnTo>
                      <a:pt x="122" y="117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1"/>
                    </a:lnTo>
                    <a:lnTo>
                      <a:pt x="62" y="141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1"/>
                    </a:lnTo>
                    <a:lnTo>
                      <a:pt x="1" y="88"/>
                    </a:lnTo>
                    <a:lnTo>
                      <a:pt x="0" y="75"/>
                    </a:lnTo>
                    <a:lnTo>
                      <a:pt x="0" y="61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7" y="15"/>
                    </a:lnTo>
                    <a:lnTo>
                      <a:pt x="40" y="7"/>
                    </a:lnTo>
                    <a:lnTo>
                      <a:pt x="52" y="2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16"/>
              <p:cNvSpPr>
                <a:spLocks/>
              </p:cNvSpPr>
              <p:nvPr/>
            </p:nvSpPr>
            <p:spPr bwMode="auto">
              <a:xfrm>
                <a:off x="2674" y="2282"/>
                <a:ext cx="70" cy="71"/>
              </a:xfrm>
              <a:custGeom>
                <a:avLst/>
                <a:gdLst>
                  <a:gd name="T0" fmla="*/ 105 w 141"/>
                  <a:gd name="T1" fmla="*/ 9 h 142"/>
                  <a:gd name="T2" fmla="*/ 105 w 141"/>
                  <a:gd name="T3" fmla="*/ 9 h 142"/>
                  <a:gd name="T4" fmla="*/ 117 w 141"/>
                  <a:gd name="T5" fmla="*/ 17 h 142"/>
                  <a:gd name="T6" fmla="*/ 126 w 141"/>
                  <a:gd name="T7" fmla="*/ 28 h 142"/>
                  <a:gd name="T8" fmla="*/ 134 w 141"/>
                  <a:gd name="T9" fmla="*/ 40 h 142"/>
                  <a:gd name="T10" fmla="*/ 139 w 141"/>
                  <a:gd name="T11" fmla="*/ 52 h 142"/>
                  <a:gd name="T12" fmla="*/ 141 w 141"/>
                  <a:gd name="T13" fmla="*/ 65 h 142"/>
                  <a:gd name="T14" fmla="*/ 141 w 141"/>
                  <a:gd name="T15" fmla="*/ 80 h 142"/>
                  <a:gd name="T16" fmla="*/ 137 w 141"/>
                  <a:gd name="T17" fmla="*/ 92 h 142"/>
                  <a:gd name="T18" fmla="*/ 131 w 141"/>
                  <a:gd name="T19" fmla="*/ 107 h 142"/>
                  <a:gd name="T20" fmla="*/ 131 w 141"/>
                  <a:gd name="T21" fmla="*/ 107 h 142"/>
                  <a:gd name="T22" fmla="*/ 123 w 141"/>
                  <a:gd name="T23" fmla="*/ 118 h 142"/>
                  <a:gd name="T24" fmla="*/ 113 w 141"/>
                  <a:gd name="T25" fmla="*/ 127 h 142"/>
                  <a:gd name="T26" fmla="*/ 101 w 141"/>
                  <a:gd name="T27" fmla="*/ 134 h 142"/>
                  <a:gd name="T28" fmla="*/ 88 w 141"/>
                  <a:gd name="T29" fmla="*/ 139 h 142"/>
                  <a:gd name="T30" fmla="*/ 75 w 141"/>
                  <a:gd name="T31" fmla="*/ 142 h 142"/>
                  <a:gd name="T32" fmla="*/ 62 w 141"/>
                  <a:gd name="T33" fmla="*/ 140 h 142"/>
                  <a:gd name="T34" fmla="*/ 48 w 141"/>
                  <a:gd name="T35" fmla="*/ 139 h 142"/>
                  <a:gd name="T36" fmla="*/ 35 w 141"/>
                  <a:gd name="T37" fmla="*/ 132 h 142"/>
                  <a:gd name="T38" fmla="*/ 35 w 141"/>
                  <a:gd name="T39" fmla="*/ 132 h 142"/>
                  <a:gd name="T40" fmla="*/ 24 w 141"/>
                  <a:gd name="T41" fmla="*/ 124 h 142"/>
                  <a:gd name="T42" fmla="*/ 15 w 141"/>
                  <a:gd name="T43" fmla="*/ 113 h 142"/>
                  <a:gd name="T44" fmla="*/ 7 w 141"/>
                  <a:gd name="T45" fmla="*/ 102 h 142"/>
                  <a:gd name="T46" fmla="*/ 2 w 141"/>
                  <a:gd name="T47" fmla="*/ 89 h 142"/>
                  <a:gd name="T48" fmla="*/ 0 w 141"/>
                  <a:gd name="T49" fmla="*/ 76 h 142"/>
                  <a:gd name="T50" fmla="*/ 0 w 141"/>
                  <a:gd name="T51" fmla="*/ 62 h 142"/>
                  <a:gd name="T52" fmla="*/ 3 w 141"/>
                  <a:gd name="T53" fmla="*/ 49 h 142"/>
                  <a:gd name="T54" fmla="*/ 10 w 141"/>
                  <a:gd name="T55" fmla="*/ 35 h 142"/>
                  <a:gd name="T56" fmla="*/ 10 w 141"/>
                  <a:gd name="T57" fmla="*/ 35 h 142"/>
                  <a:gd name="T58" fmla="*/ 18 w 141"/>
                  <a:gd name="T59" fmla="*/ 24 h 142"/>
                  <a:gd name="T60" fmla="*/ 27 w 141"/>
                  <a:gd name="T61" fmla="*/ 14 h 142"/>
                  <a:gd name="T62" fmla="*/ 40 w 141"/>
                  <a:gd name="T63" fmla="*/ 8 h 142"/>
                  <a:gd name="T64" fmla="*/ 53 w 141"/>
                  <a:gd name="T65" fmla="*/ 3 h 142"/>
                  <a:gd name="T66" fmla="*/ 66 w 141"/>
                  <a:gd name="T67" fmla="*/ 0 h 142"/>
                  <a:gd name="T68" fmla="*/ 78 w 141"/>
                  <a:gd name="T69" fmla="*/ 1 h 142"/>
                  <a:gd name="T70" fmla="*/ 93 w 141"/>
                  <a:gd name="T71" fmla="*/ 5 h 142"/>
                  <a:gd name="T72" fmla="*/ 105 w 141"/>
                  <a:gd name="T73" fmla="*/ 9 h 142"/>
                  <a:gd name="T74" fmla="*/ 105 w 141"/>
                  <a:gd name="T7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1" h="142">
                    <a:moveTo>
                      <a:pt x="105" y="9"/>
                    </a:moveTo>
                    <a:lnTo>
                      <a:pt x="105" y="9"/>
                    </a:lnTo>
                    <a:lnTo>
                      <a:pt x="117" y="17"/>
                    </a:lnTo>
                    <a:lnTo>
                      <a:pt x="126" y="28"/>
                    </a:lnTo>
                    <a:lnTo>
                      <a:pt x="134" y="40"/>
                    </a:lnTo>
                    <a:lnTo>
                      <a:pt x="139" y="52"/>
                    </a:lnTo>
                    <a:lnTo>
                      <a:pt x="141" y="65"/>
                    </a:lnTo>
                    <a:lnTo>
                      <a:pt x="141" y="80"/>
                    </a:lnTo>
                    <a:lnTo>
                      <a:pt x="137" y="92"/>
                    </a:lnTo>
                    <a:lnTo>
                      <a:pt x="131" y="107"/>
                    </a:lnTo>
                    <a:lnTo>
                      <a:pt x="131" y="107"/>
                    </a:lnTo>
                    <a:lnTo>
                      <a:pt x="123" y="118"/>
                    </a:lnTo>
                    <a:lnTo>
                      <a:pt x="113" y="127"/>
                    </a:lnTo>
                    <a:lnTo>
                      <a:pt x="101" y="134"/>
                    </a:lnTo>
                    <a:lnTo>
                      <a:pt x="88" y="139"/>
                    </a:lnTo>
                    <a:lnTo>
                      <a:pt x="75" y="142"/>
                    </a:lnTo>
                    <a:lnTo>
                      <a:pt x="62" y="140"/>
                    </a:lnTo>
                    <a:lnTo>
                      <a:pt x="48" y="139"/>
                    </a:lnTo>
                    <a:lnTo>
                      <a:pt x="35" y="132"/>
                    </a:lnTo>
                    <a:lnTo>
                      <a:pt x="35" y="132"/>
                    </a:lnTo>
                    <a:lnTo>
                      <a:pt x="24" y="124"/>
                    </a:lnTo>
                    <a:lnTo>
                      <a:pt x="15" y="113"/>
                    </a:lnTo>
                    <a:lnTo>
                      <a:pt x="7" y="102"/>
                    </a:lnTo>
                    <a:lnTo>
                      <a:pt x="2" y="89"/>
                    </a:lnTo>
                    <a:lnTo>
                      <a:pt x="0" y="76"/>
                    </a:lnTo>
                    <a:lnTo>
                      <a:pt x="0" y="62"/>
                    </a:lnTo>
                    <a:lnTo>
                      <a:pt x="3" y="49"/>
                    </a:lnTo>
                    <a:lnTo>
                      <a:pt x="10" y="35"/>
                    </a:lnTo>
                    <a:lnTo>
                      <a:pt x="10" y="35"/>
                    </a:lnTo>
                    <a:lnTo>
                      <a:pt x="18" y="24"/>
                    </a:lnTo>
                    <a:lnTo>
                      <a:pt x="27" y="14"/>
                    </a:lnTo>
                    <a:lnTo>
                      <a:pt x="40" y="8"/>
                    </a:lnTo>
                    <a:lnTo>
                      <a:pt x="53" y="3"/>
                    </a:lnTo>
                    <a:lnTo>
                      <a:pt x="66" y="0"/>
                    </a:lnTo>
                    <a:lnTo>
                      <a:pt x="78" y="1"/>
                    </a:lnTo>
                    <a:lnTo>
                      <a:pt x="93" y="5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2869" y="1968"/>
                <a:ext cx="71" cy="70"/>
              </a:xfrm>
              <a:custGeom>
                <a:avLst/>
                <a:gdLst>
                  <a:gd name="T0" fmla="*/ 107 w 142"/>
                  <a:gd name="T1" fmla="*/ 9 h 140"/>
                  <a:gd name="T2" fmla="*/ 107 w 142"/>
                  <a:gd name="T3" fmla="*/ 9 h 140"/>
                  <a:gd name="T4" fmla="*/ 118 w 142"/>
                  <a:gd name="T5" fmla="*/ 17 h 140"/>
                  <a:gd name="T6" fmla="*/ 127 w 142"/>
                  <a:gd name="T7" fmla="*/ 27 h 140"/>
                  <a:gd name="T8" fmla="*/ 134 w 142"/>
                  <a:gd name="T9" fmla="*/ 38 h 140"/>
                  <a:gd name="T10" fmla="*/ 139 w 142"/>
                  <a:gd name="T11" fmla="*/ 51 h 140"/>
                  <a:gd name="T12" fmla="*/ 142 w 142"/>
                  <a:gd name="T13" fmla="*/ 65 h 140"/>
                  <a:gd name="T14" fmla="*/ 140 w 142"/>
                  <a:gd name="T15" fmla="*/ 78 h 140"/>
                  <a:gd name="T16" fmla="*/ 137 w 142"/>
                  <a:gd name="T17" fmla="*/ 92 h 140"/>
                  <a:gd name="T18" fmla="*/ 132 w 142"/>
                  <a:gd name="T19" fmla="*/ 105 h 140"/>
                  <a:gd name="T20" fmla="*/ 132 w 142"/>
                  <a:gd name="T21" fmla="*/ 105 h 140"/>
                  <a:gd name="T22" fmla="*/ 124 w 142"/>
                  <a:gd name="T23" fmla="*/ 116 h 140"/>
                  <a:gd name="T24" fmla="*/ 113 w 142"/>
                  <a:gd name="T25" fmla="*/ 126 h 140"/>
                  <a:gd name="T26" fmla="*/ 102 w 142"/>
                  <a:gd name="T27" fmla="*/ 133 h 140"/>
                  <a:gd name="T28" fmla="*/ 89 w 142"/>
                  <a:gd name="T29" fmla="*/ 138 h 140"/>
                  <a:gd name="T30" fmla="*/ 76 w 142"/>
                  <a:gd name="T31" fmla="*/ 140 h 140"/>
                  <a:gd name="T32" fmla="*/ 62 w 142"/>
                  <a:gd name="T33" fmla="*/ 140 h 140"/>
                  <a:gd name="T34" fmla="*/ 48 w 142"/>
                  <a:gd name="T35" fmla="*/ 137 h 140"/>
                  <a:gd name="T36" fmla="*/ 35 w 142"/>
                  <a:gd name="T37" fmla="*/ 130 h 140"/>
                  <a:gd name="T38" fmla="*/ 35 w 142"/>
                  <a:gd name="T39" fmla="*/ 130 h 140"/>
                  <a:gd name="T40" fmla="*/ 24 w 142"/>
                  <a:gd name="T41" fmla="*/ 122 h 140"/>
                  <a:gd name="T42" fmla="*/ 14 w 142"/>
                  <a:gd name="T43" fmla="*/ 113 h 140"/>
                  <a:gd name="T44" fmla="*/ 8 w 142"/>
                  <a:gd name="T45" fmla="*/ 100 h 140"/>
                  <a:gd name="T46" fmla="*/ 3 w 142"/>
                  <a:gd name="T47" fmla="*/ 87 h 140"/>
                  <a:gd name="T48" fmla="*/ 0 w 142"/>
                  <a:gd name="T49" fmla="*/ 74 h 140"/>
                  <a:gd name="T50" fmla="*/ 0 w 142"/>
                  <a:gd name="T51" fmla="*/ 60 h 140"/>
                  <a:gd name="T52" fmla="*/ 3 w 142"/>
                  <a:gd name="T53" fmla="*/ 47 h 140"/>
                  <a:gd name="T54" fmla="*/ 9 w 142"/>
                  <a:gd name="T55" fmla="*/ 35 h 140"/>
                  <a:gd name="T56" fmla="*/ 9 w 142"/>
                  <a:gd name="T57" fmla="*/ 35 h 140"/>
                  <a:gd name="T58" fmla="*/ 17 w 142"/>
                  <a:gd name="T59" fmla="*/ 22 h 140"/>
                  <a:gd name="T60" fmla="*/ 29 w 142"/>
                  <a:gd name="T61" fmla="*/ 14 h 140"/>
                  <a:gd name="T62" fmla="*/ 40 w 142"/>
                  <a:gd name="T63" fmla="*/ 6 h 140"/>
                  <a:gd name="T64" fmla="*/ 52 w 142"/>
                  <a:gd name="T65" fmla="*/ 1 h 140"/>
                  <a:gd name="T66" fmla="*/ 65 w 142"/>
                  <a:gd name="T67" fmla="*/ 0 h 140"/>
                  <a:gd name="T68" fmla="*/ 80 w 142"/>
                  <a:gd name="T69" fmla="*/ 0 h 140"/>
                  <a:gd name="T70" fmla="*/ 92 w 142"/>
                  <a:gd name="T71" fmla="*/ 3 h 140"/>
                  <a:gd name="T72" fmla="*/ 107 w 142"/>
                  <a:gd name="T73" fmla="*/ 9 h 140"/>
                  <a:gd name="T74" fmla="*/ 107 w 142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2" h="140">
                    <a:moveTo>
                      <a:pt x="107" y="9"/>
                    </a:moveTo>
                    <a:lnTo>
                      <a:pt x="107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38"/>
                    </a:lnTo>
                    <a:lnTo>
                      <a:pt x="139" y="51"/>
                    </a:lnTo>
                    <a:lnTo>
                      <a:pt x="142" y="65"/>
                    </a:lnTo>
                    <a:lnTo>
                      <a:pt x="140" y="78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4" y="116"/>
                    </a:lnTo>
                    <a:lnTo>
                      <a:pt x="113" y="126"/>
                    </a:lnTo>
                    <a:lnTo>
                      <a:pt x="102" y="133"/>
                    </a:lnTo>
                    <a:lnTo>
                      <a:pt x="89" y="138"/>
                    </a:lnTo>
                    <a:lnTo>
                      <a:pt x="76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0"/>
                    </a:lnTo>
                    <a:lnTo>
                      <a:pt x="35" y="130"/>
                    </a:lnTo>
                    <a:lnTo>
                      <a:pt x="24" y="122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7"/>
                    </a:lnTo>
                    <a:lnTo>
                      <a:pt x="0" y="74"/>
                    </a:lnTo>
                    <a:lnTo>
                      <a:pt x="0" y="60"/>
                    </a:lnTo>
                    <a:lnTo>
                      <a:pt x="3" y="47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2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2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7" y="9"/>
                    </a:lnTo>
                    <a:lnTo>
                      <a:pt x="10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18"/>
              <p:cNvSpPr>
                <a:spLocks/>
              </p:cNvSpPr>
              <p:nvPr/>
            </p:nvSpPr>
            <p:spPr bwMode="auto">
              <a:xfrm>
                <a:off x="3015" y="2045"/>
                <a:ext cx="70" cy="71"/>
              </a:xfrm>
              <a:custGeom>
                <a:avLst/>
                <a:gdLst>
                  <a:gd name="T0" fmla="*/ 105 w 140"/>
                  <a:gd name="T1" fmla="*/ 10 h 142"/>
                  <a:gd name="T2" fmla="*/ 105 w 140"/>
                  <a:gd name="T3" fmla="*/ 10 h 142"/>
                  <a:gd name="T4" fmla="*/ 118 w 140"/>
                  <a:gd name="T5" fmla="*/ 18 h 142"/>
                  <a:gd name="T6" fmla="*/ 127 w 140"/>
                  <a:gd name="T7" fmla="*/ 29 h 142"/>
                  <a:gd name="T8" fmla="*/ 134 w 140"/>
                  <a:gd name="T9" fmla="*/ 40 h 142"/>
                  <a:gd name="T10" fmla="*/ 138 w 140"/>
                  <a:gd name="T11" fmla="*/ 53 h 142"/>
                  <a:gd name="T12" fmla="*/ 140 w 140"/>
                  <a:gd name="T13" fmla="*/ 66 h 142"/>
                  <a:gd name="T14" fmla="*/ 140 w 140"/>
                  <a:gd name="T15" fmla="*/ 80 h 142"/>
                  <a:gd name="T16" fmla="*/ 137 w 140"/>
                  <a:gd name="T17" fmla="*/ 93 h 142"/>
                  <a:gd name="T18" fmla="*/ 132 w 140"/>
                  <a:gd name="T19" fmla="*/ 107 h 142"/>
                  <a:gd name="T20" fmla="*/ 132 w 140"/>
                  <a:gd name="T21" fmla="*/ 107 h 142"/>
                  <a:gd name="T22" fmla="*/ 122 w 140"/>
                  <a:gd name="T23" fmla="*/ 118 h 142"/>
                  <a:gd name="T24" fmla="*/ 113 w 140"/>
                  <a:gd name="T25" fmla="*/ 128 h 142"/>
                  <a:gd name="T26" fmla="*/ 102 w 140"/>
                  <a:gd name="T27" fmla="*/ 134 h 142"/>
                  <a:gd name="T28" fmla="*/ 89 w 140"/>
                  <a:gd name="T29" fmla="*/ 139 h 142"/>
                  <a:gd name="T30" fmla="*/ 75 w 140"/>
                  <a:gd name="T31" fmla="*/ 142 h 142"/>
                  <a:gd name="T32" fmla="*/ 62 w 140"/>
                  <a:gd name="T33" fmla="*/ 141 h 142"/>
                  <a:gd name="T34" fmla="*/ 47 w 140"/>
                  <a:gd name="T35" fmla="*/ 137 h 142"/>
                  <a:gd name="T36" fmla="*/ 35 w 140"/>
                  <a:gd name="T37" fmla="*/ 133 h 142"/>
                  <a:gd name="T38" fmla="*/ 35 w 140"/>
                  <a:gd name="T39" fmla="*/ 133 h 142"/>
                  <a:gd name="T40" fmla="*/ 24 w 140"/>
                  <a:gd name="T41" fmla="*/ 123 h 142"/>
                  <a:gd name="T42" fmla="*/ 14 w 140"/>
                  <a:gd name="T43" fmla="*/ 113 h 142"/>
                  <a:gd name="T44" fmla="*/ 6 w 140"/>
                  <a:gd name="T45" fmla="*/ 102 h 142"/>
                  <a:gd name="T46" fmla="*/ 1 w 140"/>
                  <a:gd name="T47" fmla="*/ 90 h 142"/>
                  <a:gd name="T48" fmla="*/ 0 w 140"/>
                  <a:gd name="T49" fmla="*/ 75 h 142"/>
                  <a:gd name="T50" fmla="*/ 0 w 140"/>
                  <a:gd name="T51" fmla="*/ 62 h 142"/>
                  <a:gd name="T52" fmla="*/ 3 w 140"/>
                  <a:gd name="T53" fmla="*/ 48 h 142"/>
                  <a:gd name="T54" fmla="*/ 9 w 140"/>
                  <a:gd name="T55" fmla="*/ 35 h 142"/>
                  <a:gd name="T56" fmla="*/ 9 w 140"/>
                  <a:gd name="T57" fmla="*/ 35 h 142"/>
                  <a:gd name="T58" fmla="*/ 17 w 140"/>
                  <a:gd name="T59" fmla="*/ 24 h 142"/>
                  <a:gd name="T60" fmla="*/ 28 w 140"/>
                  <a:gd name="T61" fmla="*/ 15 h 142"/>
                  <a:gd name="T62" fmla="*/ 40 w 140"/>
                  <a:gd name="T63" fmla="*/ 8 h 142"/>
                  <a:gd name="T64" fmla="*/ 52 w 140"/>
                  <a:gd name="T65" fmla="*/ 3 h 142"/>
                  <a:gd name="T66" fmla="*/ 65 w 140"/>
                  <a:gd name="T67" fmla="*/ 0 h 142"/>
                  <a:gd name="T68" fmla="*/ 79 w 140"/>
                  <a:gd name="T69" fmla="*/ 0 h 142"/>
                  <a:gd name="T70" fmla="*/ 92 w 140"/>
                  <a:gd name="T71" fmla="*/ 3 h 142"/>
                  <a:gd name="T72" fmla="*/ 105 w 140"/>
                  <a:gd name="T73" fmla="*/ 10 h 142"/>
                  <a:gd name="T74" fmla="*/ 105 w 140"/>
                  <a:gd name="T75" fmla="*/ 1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2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7" y="29"/>
                    </a:lnTo>
                    <a:lnTo>
                      <a:pt x="134" y="40"/>
                    </a:lnTo>
                    <a:lnTo>
                      <a:pt x="138" y="53"/>
                    </a:lnTo>
                    <a:lnTo>
                      <a:pt x="140" y="66"/>
                    </a:lnTo>
                    <a:lnTo>
                      <a:pt x="140" y="80"/>
                    </a:lnTo>
                    <a:lnTo>
                      <a:pt x="137" y="93"/>
                    </a:lnTo>
                    <a:lnTo>
                      <a:pt x="132" y="107"/>
                    </a:lnTo>
                    <a:lnTo>
                      <a:pt x="132" y="107"/>
                    </a:lnTo>
                    <a:lnTo>
                      <a:pt x="122" y="118"/>
                    </a:lnTo>
                    <a:lnTo>
                      <a:pt x="113" y="128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2"/>
                    </a:lnTo>
                    <a:lnTo>
                      <a:pt x="62" y="141"/>
                    </a:lnTo>
                    <a:lnTo>
                      <a:pt x="47" y="137"/>
                    </a:lnTo>
                    <a:lnTo>
                      <a:pt x="35" y="133"/>
                    </a:lnTo>
                    <a:lnTo>
                      <a:pt x="35" y="133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2"/>
                    </a:lnTo>
                    <a:lnTo>
                      <a:pt x="1" y="90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8" y="15"/>
                    </a:lnTo>
                    <a:lnTo>
                      <a:pt x="40" y="8"/>
                    </a:lnTo>
                    <a:lnTo>
                      <a:pt x="52" y="3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19"/>
              <p:cNvSpPr>
                <a:spLocks/>
              </p:cNvSpPr>
              <p:nvPr/>
            </p:nvSpPr>
            <p:spPr bwMode="auto">
              <a:xfrm>
                <a:off x="2708" y="2153"/>
                <a:ext cx="120" cy="162"/>
              </a:xfrm>
              <a:custGeom>
                <a:avLst/>
                <a:gdLst>
                  <a:gd name="T0" fmla="*/ 225 w 241"/>
                  <a:gd name="T1" fmla="*/ 74 h 326"/>
                  <a:gd name="T2" fmla="*/ 225 w 241"/>
                  <a:gd name="T3" fmla="*/ 74 h 326"/>
                  <a:gd name="T4" fmla="*/ 233 w 241"/>
                  <a:gd name="T5" fmla="*/ 37 h 326"/>
                  <a:gd name="T6" fmla="*/ 241 w 241"/>
                  <a:gd name="T7" fmla="*/ 0 h 326"/>
                  <a:gd name="T8" fmla="*/ 241 w 241"/>
                  <a:gd name="T9" fmla="*/ 0 h 326"/>
                  <a:gd name="T10" fmla="*/ 201 w 241"/>
                  <a:gd name="T11" fmla="*/ 32 h 326"/>
                  <a:gd name="T12" fmla="*/ 164 w 241"/>
                  <a:gd name="T13" fmla="*/ 66 h 326"/>
                  <a:gd name="T14" fmla="*/ 131 w 241"/>
                  <a:gd name="T15" fmla="*/ 101 h 326"/>
                  <a:gd name="T16" fmla="*/ 100 w 241"/>
                  <a:gd name="T17" fmla="*/ 138 h 326"/>
                  <a:gd name="T18" fmla="*/ 72 w 241"/>
                  <a:gd name="T19" fmla="*/ 174 h 326"/>
                  <a:gd name="T20" fmla="*/ 44 w 241"/>
                  <a:gd name="T21" fmla="*/ 213 h 326"/>
                  <a:gd name="T22" fmla="*/ 21 w 241"/>
                  <a:gd name="T23" fmla="*/ 251 h 326"/>
                  <a:gd name="T24" fmla="*/ 0 w 241"/>
                  <a:gd name="T25" fmla="*/ 287 h 326"/>
                  <a:gd name="T26" fmla="*/ 0 w 241"/>
                  <a:gd name="T27" fmla="*/ 287 h 326"/>
                  <a:gd name="T28" fmla="*/ 33 w 241"/>
                  <a:gd name="T29" fmla="*/ 326 h 326"/>
                  <a:gd name="T30" fmla="*/ 33 w 241"/>
                  <a:gd name="T31" fmla="*/ 326 h 326"/>
                  <a:gd name="T32" fmla="*/ 51 w 241"/>
                  <a:gd name="T33" fmla="*/ 294 h 326"/>
                  <a:gd name="T34" fmla="*/ 70 w 241"/>
                  <a:gd name="T35" fmla="*/ 260 h 326"/>
                  <a:gd name="T36" fmla="*/ 92 w 241"/>
                  <a:gd name="T37" fmla="*/ 228 h 326"/>
                  <a:gd name="T38" fmla="*/ 115 w 241"/>
                  <a:gd name="T39" fmla="*/ 197 h 326"/>
                  <a:gd name="T40" fmla="*/ 140 w 241"/>
                  <a:gd name="T41" fmla="*/ 165 h 326"/>
                  <a:gd name="T42" fmla="*/ 166 w 241"/>
                  <a:gd name="T43" fmla="*/ 133 h 326"/>
                  <a:gd name="T44" fmla="*/ 194 w 241"/>
                  <a:gd name="T45" fmla="*/ 103 h 326"/>
                  <a:gd name="T46" fmla="*/ 225 w 241"/>
                  <a:gd name="T47" fmla="*/ 74 h 326"/>
                  <a:gd name="T48" fmla="*/ 225 w 241"/>
                  <a:gd name="T49" fmla="*/ 7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1" h="326">
                    <a:moveTo>
                      <a:pt x="225" y="74"/>
                    </a:moveTo>
                    <a:lnTo>
                      <a:pt x="225" y="74"/>
                    </a:lnTo>
                    <a:lnTo>
                      <a:pt x="233" y="37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01" y="32"/>
                    </a:lnTo>
                    <a:lnTo>
                      <a:pt x="164" y="66"/>
                    </a:lnTo>
                    <a:lnTo>
                      <a:pt x="131" y="101"/>
                    </a:lnTo>
                    <a:lnTo>
                      <a:pt x="100" y="138"/>
                    </a:lnTo>
                    <a:lnTo>
                      <a:pt x="72" y="174"/>
                    </a:lnTo>
                    <a:lnTo>
                      <a:pt x="44" y="213"/>
                    </a:lnTo>
                    <a:lnTo>
                      <a:pt x="21" y="251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33" y="326"/>
                    </a:lnTo>
                    <a:lnTo>
                      <a:pt x="33" y="326"/>
                    </a:lnTo>
                    <a:lnTo>
                      <a:pt x="51" y="294"/>
                    </a:lnTo>
                    <a:lnTo>
                      <a:pt x="70" y="260"/>
                    </a:lnTo>
                    <a:lnTo>
                      <a:pt x="92" y="228"/>
                    </a:lnTo>
                    <a:lnTo>
                      <a:pt x="115" y="197"/>
                    </a:lnTo>
                    <a:lnTo>
                      <a:pt x="140" y="165"/>
                    </a:lnTo>
                    <a:lnTo>
                      <a:pt x="166" y="133"/>
                    </a:lnTo>
                    <a:lnTo>
                      <a:pt x="194" y="103"/>
                    </a:lnTo>
                    <a:lnTo>
                      <a:pt x="225" y="74"/>
                    </a:lnTo>
                    <a:lnTo>
                      <a:pt x="225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0"/>
              <p:cNvSpPr>
                <a:spLocks/>
              </p:cNvSpPr>
              <p:nvPr/>
            </p:nvSpPr>
            <p:spPr bwMode="auto">
              <a:xfrm>
                <a:off x="2849" y="2072"/>
                <a:ext cx="195" cy="94"/>
              </a:xfrm>
              <a:custGeom>
                <a:avLst/>
                <a:gdLst>
                  <a:gd name="T0" fmla="*/ 19 w 391"/>
                  <a:gd name="T1" fmla="*/ 120 h 189"/>
                  <a:gd name="T2" fmla="*/ 19 w 391"/>
                  <a:gd name="T3" fmla="*/ 120 h 189"/>
                  <a:gd name="T4" fmla="*/ 10 w 391"/>
                  <a:gd name="T5" fmla="*/ 154 h 189"/>
                  <a:gd name="T6" fmla="*/ 0 w 391"/>
                  <a:gd name="T7" fmla="*/ 189 h 189"/>
                  <a:gd name="T8" fmla="*/ 0 w 391"/>
                  <a:gd name="T9" fmla="*/ 189 h 189"/>
                  <a:gd name="T10" fmla="*/ 24 w 391"/>
                  <a:gd name="T11" fmla="*/ 173 h 189"/>
                  <a:gd name="T12" fmla="*/ 48 w 391"/>
                  <a:gd name="T13" fmla="*/ 158 h 189"/>
                  <a:gd name="T14" fmla="*/ 72 w 391"/>
                  <a:gd name="T15" fmla="*/ 144 h 189"/>
                  <a:gd name="T16" fmla="*/ 96 w 391"/>
                  <a:gd name="T17" fmla="*/ 131 h 189"/>
                  <a:gd name="T18" fmla="*/ 145 w 391"/>
                  <a:gd name="T19" fmla="*/ 107 h 189"/>
                  <a:gd name="T20" fmla="*/ 196 w 391"/>
                  <a:gd name="T21" fmla="*/ 88 h 189"/>
                  <a:gd name="T22" fmla="*/ 246 w 391"/>
                  <a:gd name="T23" fmla="*/ 72 h 189"/>
                  <a:gd name="T24" fmla="*/ 295 w 391"/>
                  <a:gd name="T25" fmla="*/ 58 h 189"/>
                  <a:gd name="T26" fmla="*/ 344 w 391"/>
                  <a:gd name="T27" fmla="*/ 48 h 189"/>
                  <a:gd name="T28" fmla="*/ 391 w 391"/>
                  <a:gd name="T29" fmla="*/ 40 h 189"/>
                  <a:gd name="T30" fmla="*/ 391 w 391"/>
                  <a:gd name="T31" fmla="*/ 40 h 189"/>
                  <a:gd name="T32" fmla="*/ 365 w 391"/>
                  <a:gd name="T33" fmla="*/ 20 h 189"/>
                  <a:gd name="T34" fmla="*/ 340 w 391"/>
                  <a:gd name="T35" fmla="*/ 0 h 189"/>
                  <a:gd name="T36" fmla="*/ 340 w 391"/>
                  <a:gd name="T37" fmla="*/ 0 h 189"/>
                  <a:gd name="T38" fmla="*/ 301 w 391"/>
                  <a:gd name="T39" fmla="*/ 8 h 189"/>
                  <a:gd name="T40" fmla="*/ 262 w 391"/>
                  <a:gd name="T41" fmla="*/ 18 h 189"/>
                  <a:gd name="T42" fmla="*/ 220 w 391"/>
                  <a:gd name="T43" fmla="*/ 29 h 189"/>
                  <a:gd name="T44" fmla="*/ 180 w 391"/>
                  <a:gd name="T45" fmla="*/ 43 h 189"/>
                  <a:gd name="T46" fmla="*/ 139 w 391"/>
                  <a:gd name="T47" fmla="*/ 59 h 189"/>
                  <a:gd name="T48" fmla="*/ 99 w 391"/>
                  <a:gd name="T49" fmla="*/ 77 h 189"/>
                  <a:gd name="T50" fmla="*/ 59 w 391"/>
                  <a:gd name="T51" fmla="*/ 98 h 189"/>
                  <a:gd name="T52" fmla="*/ 19 w 391"/>
                  <a:gd name="T53" fmla="*/ 120 h 189"/>
                  <a:gd name="T54" fmla="*/ 19 w 391"/>
                  <a:gd name="T55" fmla="*/ 12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1" h="189">
                    <a:moveTo>
                      <a:pt x="19" y="120"/>
                    </a:moveTo>
                    <a:lnTo>
                      <a:pt x="19" y="120"/>
                    </a:lnTo>
                    <a:lnTo>
                      <a:pt x="10" y="154"/>
                    </a:lnTo>
                    <a:lnTo>
                      <a:pt x="0" y="189"/>
                    </a:lnTo>
                    <a:lnTo>
                      <a:pt x="0" y="189"/>
                    </a:lnTo>
                    <a:lnTo>
                      <a:pt x="24" y="173"/>
                    </a:lnTo>
                    <a:lnTo>
                      <a:pt x="48" y="158"/>
                    </a:lnTo>
                    <a:lnTo>
                      <a:pt x="72" y="144"/>
                    </a:lnTo>
                    <a:lnTo>
                      <a:pt x="96" y="131"/>
                    </a:lnTo>
                    <a:lnTo>
                      <a:pt x="145" y="107"/>
                    </a:lnTo>
                    <a:lnTo>
                      <a:pt x="196" y="88"/>
                    </a:lnTo>
                    <a:lnTo>
                      <a:pt x="246" y="72"/>
                    </a:lnTo>
                    <a:lnTo>
                      <a:pt x="295" y="58"/>
                    </a:lnTo>
                    <a:lnTo>
                      <a:pt x="344" y="48"/>
                    </a:lnTo>
                    <a:lnTo>
                      <a:pt x="391" y="40"/>
                    </a:lnTo>
                    <a:lnTo>
                      <a:pt x="391" y="40"/>
                    </a:lnTo>
                    <a:lnTo>
                      <a:pt x="365" y="20"/>
                    </a:lnTo>
                    <a:lnTo>
                      <a:pt x="340" y="0"/>
                    </a:lnTo>
                    <a:lnTo>
                      <a:pt x="340" y="0"/>
                    </a:lnTo>
                    <a:lnTo>
                      <a:pt x="301" y="8"/>
                    </a:lnTo>
                    <a:lnTo>
                      <a:pt x="262" y="18"/>
                    </a:lnTo>
                    <a:lnTo>
                      <a:pt x="220" y="29"/>
                    </a:lnTo>
                    <a:lnTo>
                      <a:pt x="180" y="43"/>
                    </a:lnTo>
                    <a:lnTo>
                      <a:pt x="139" y="59"/>
                    </a:lnTo>
                    <a:lnTo>
                      <a:pt x="99" y="77"/>
                    </a:lnTo>
                    <a:lnTo>
                      <a:pt x="59" y="98"/>
                    </a:lnTo>
                    <a:lnTo>
                      <a:pt x="19" y="120"/>
                    </a:lnTo>
                    <a:lnTo>
                      <a:pt x="19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1"/>
              <p:cNvSpPr>
                <a:spLocks/>
              </p:cNvSpPr>
              <p:nvPr/>
            </p:nvSpPr>
            <p:spPr bwMode="auto">
              <a:xfrm>
                <a:off x="3051" y="2061"/>
                <a:ext cx="125" cy="27"/>
              </a:xfrm>
              <a:custGeom>
                <a:avLst/>
                <a:gdLst>
                  <a:gd name="T0" fmla="*/ 0 w 251"/>
                  <a:gd name="T1" fmla="*/ 11 h 54"/>
                  <a:gd name="T2" fmla="*/ 0 w 251"/>
                  <a:gd name="T3" fmla="*/ 11 h 54"/>
                  <a:gd name="T4" fmla="*/ 34 w 251"/>
                  <a:gd name="T5" fmla="*/ 40 h 54"/>
                  <a:gd name="T6" fmla="*/ 34 w 251"/>
                  <a:gd name="T7" fmla="*/ 40 h 54"/>
                  <a:gd name="T8" fmla="*/ 48 w 251"/>
                  <a:gd name="T9" fmla="*/ 54 h 54"/>
                  <a:gd name="T10" fmla="*/ 48 w 251"/>
                  <a:gd name="T11" fmla="*/ 54 h 54"/>
                  <a:gd name="T12" fmla="*/ 83 w 251"/>
                  <a:gd name="T13" fmla="*/ 51 h 54"/>
                  <a:gd name="T14" fmla="*/ 117 w 251"/>
                  <a:gd name="T15" fmla="*/ 50 h 54"/>
                  <a:gd name="T16" fmla="*/ 174 w 251"/>
                  <a:gd name="T17" fmla="*/ 48 h 54"/>
                  <a:gd name="T18" fmla="*/ 220 w 251"/>
                  <a:gd name="T19" fmla="*/ 48 h 54"/>
                  <a:gd name="T20" fmla="*/ 251 w 251"/>
                  <a:gd name="T21" fmla="*/ 51 h 54"/>
                  <a:gd name="T22" fmla="*/ 251 w 251"/>
                  <a:gd name="T23" fmla="*/ 51 h 54"/>
                  <a:gd name="T24" fmla="*/ 235 w 251"/>
                  <a:gd name="T25" fmla="*/ 26 h 54"/>
                  <a:gd name="T26" fmla="*/ 217 w 251"/>
                  <a:gd name="T27" fmla="*/ 2 h 54"/>
                  <a:gd name="T28" fmla="*/ 217 w 251"/>
                  <a:gd name="T29" fmla="*/ 2 h 54"/>
                  <a:gd name="T30" fmla="*/ 176 w 251"/>
                  <a:gd name="T31" fmla="*/ 0 h 54"/>
                  <a:gd name="T32" fmla="*/ 125 w 251"/>
                  <a:gd name="T33" fmla="*/ 2 h 54"/>
                  <a:gd name="T34" fmla="*/ 66 w 251"/>
                  <a:gd name="T35" fmla="*/ 5 h 54"/>
                  <a:gd name="T36" fmla="*/ 0 w 251"/>
                  <a:gd name="T37" fmla="*/ 11 h 54"/>
                  <a:gd name="T38" fmla="*/ 0 w 251"/>
                  <a:gd name="T39" fmla="*/ 1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1" h="54">
                    <a:moveTo>
                      <a:pt x="0" y="11"/>
                    </a:moveTo>
                    <a:lnTo>
                      <a:pt x="0" y="11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83" y="51"/>
                    </a:lnTo>
                    <a:lnTo>
                      <a:pt x="117" y="50"/>
                    </a:lnTo>
                    <a:lnTo>
                      <a:pt x="174" y="48"/>
                    </a:lnTo>
                    <a:lnTo>
                      <a:pt x="220" y="48"/>
                    </a:lnTo>
                    <a:lnTo>
                      <a:pt x="251" y="51"/>
                    </a:lnTo>
                    <a:lnTo>
                      <a:pt x="251" y="51"/>
                    </a:lnTo>
                    <a:lnTo>
                      <a:pt x="235" y="26"/>
                    </a:lnTo>
                    <a:lnTo>
                      <a:pt x="217" y="2"/>
                    </a:lnTo>
                    <a:lnTo>
                      <a:pt x="217" y="2"/>
                    </a:lnTo>
                    <a:lnTo>
                      <a:pt x="176" y="0"/>
                    </a:lnTo>
                    <a:lnTo>
                      <a:pt x="125" y="2"/>
                    </a:lnTo>
                    <a:lnTo>
                      <a:pt x="66" y="5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2"/>
              <p:cNvSpPr>
                <a:spLocks/>
              </p:cNvSpPr>
              <p:nvPr/>
            </p:nvSpPr>
            <p:spPr bwMode="auto">
              <a:xfrm>
                <a:off x="2653" y="2319"/>
                <a:ext cx="60" cy="138"/>
              </a:xfrm>
              <a:custGeom>
                <a:avLst/>
                <a:gdLst>
                  <a:gd name="T0" fmla="*/ 86 w 121"/>
                  <a:gd name="T1" fmla="*/ 0 h 276"/>
                  <a:gd name="T2" fmla="*/ 86 w 121"/>
                  <a:gd name="T3" fmla="*/ 0 h 276"/>
                  <a:gd name="T4" fmla="*/ 70 w 121"/>
                  <a:gd name="T5" fmla="*/ 33 h 276"/>
                  <a:gd name="T6" fmla="*/ 56 w 121"/>
                  <a:gd name="T7" fmla="*/ 67 h 276"/>
                  <a:gd name="T8" fmla="*/ 32 w 121"/>
                  <a:gd name="T9" fmla="*/ 127 h 276"/>
                  <a:gd name="T10" fmla="*/ 13 w 121"/>
                  <a:gd name="T11" fmla="*/ 183 h 276"/>
                  <a:gd name="T12" fmla="*/ 0 w 121"/>
                  <a:gd name="T13" fmla="*/ 228 h 276"/>
                  <a:gd name="T14" fmla="*/ 0 w 121"/>
                  <a:gd name="T15" fmla="*/ 228 h 276"/>
                  <a:gd name="T16" fmla="*/ 17 w 121"/>
                  <a:gd name="T17" fmla="*/ 252 h 276"/>
                  <a:gd name="T18" fmla="*/ 36 w 121"/>
                  <a:gd name="T19" fmla="*/ 276 h 276"/>
                  <a:gd name="T20" fmla="*/ 36 w 121"/>
                  <a:gd name="T21" fmla="*/ 276 h 276"/>
                  <a:gd name="T22" fmla="*/ 48 w 121"/>
                  <a:gd name="T23" fmla="*/ 234 h 276"/>
                  <a:gd name="T24" fmla="*/ 64 w 121"/>
                  <a:gd name="T25" fmla="*/ 180 h 276"/>
                  <a:gd name="T26" fmla="*/ 75 w 121"/>
                  <a:gd name="T27" fmla="*/ 146 h 276"/>
                  <a:gd name="T28" fmla="*/ 87 w 121"/>
                  <a:gd name="T29" fmla="*/ 113 h 276"/>
                  <a:gd name="T30" fmla="*/ 103 w 121"/>
                  <a:gd name="T31" fmla="*/ 76 h 276"/>
                  <a:gd name="T32" fmla="*/ 121 w 121"/>
                  <a:gd name="T33" fmla="*/ 38 h 276"/>
                  <a:gd name="T34" fmla="*/ 121 w 121"/>
                  <a:gd name="T35" fmla="*/ 38 h 276"/>
                  <a:gd name="T36" fmla="*/ 86 w 121"/>
                  <a:gd name="T37" fmla="*/ 0 h 276"/>
                  <a:gd name="T38" fmla="*/ 86 w 121"/>
                  <a:gd name="T39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1" h="276">
                    <a:moveTo>
                      <a:pt x="86" y="0"/>
                    </a:moveTo>
                    <a:lnTo>
                      <a:pt x="86" y="0"/>
                    </a:lnTo>
                    <a:lnTo>
                      <a:pt x="70" y="33"/>
                    </a:lnTo>
                    <a:lnTo>
                      <a:pt x="56" y="67"/>
                    </a:lnTo>
                    <a:lnTo>
                      <a:pt x="32" y="127"/>
                    </a:lnTo>
                    <a:lnTo>
                      <a:pt x="13" y="183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17" y="252"/>
                    </a:lnTo>
                    <a:lnTo>
                      <a:pt x="36" y="276"/>
                    </a:lnTo>
                    <a:lnTo>
                      <a:pt x="36" y="276"/>
                    </a:lnTo>
                    <a:lnTo>
                      <a:pt x="48" y="234"/>
                    </a:lnTo>
                    <a:lnTo>
                      <a:pt x="64" y="180"/>
                    </a:lnTo>
                    <a:lnTo>
                      <a:pt x="75" y="146"/>
                    </a:lnTo>
                    <a:lnTo>
                      <a:pt x="87" y="113"/>
                    </a:lnTo>
                    <a:lnTo>
                      <a:pt x="103" y="76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86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3"/>
              <p:cNvSpPr>
                <a:spLocks/>
              </p:cNvSpPr>
              <p:nvPr/>
            </p:nvSpPr>
            <p:spPr bwMode="auto">
              <a:xfrm>
                <a:off x="2828" y="2009"/>
                <a:ext cx="83" cy="144"/>
              </a:xfrm>
              <a:custGeom>
                <a:avLst/>
                <a:gdLst>
                  <a:gd name="T0" fmla="*/ 60 w 165"/>
                  <a:gd name="T1" fmla="*/ 246 h 287"/>
                  <a:gd name="T2" fmla="*/ 60 w 165"/>
                  <a:gd name="T3" fmla="*/ 246 h 287"/>
                  <a:gd name="T4" fmla="*/ 71 w 165"/>
                  <a:gd name="T5" fmla="*/ 214 h 287"/>
                  <a:gd name="T6" fmla="*/ 82 w 165"/>
                  <a:gd name="T7" fmla="*/ 182 h 287"/>
                  <a:gd name="T8" fmla="*/ 95 w 165"/>
                  <a:gd name="T9" fmla="*/ 152 h 287"/>
                  <a:gd name="T10" fmla="*/ 108 w 165"/>
                  <a:gd name="T11" fmla="*/ 122 h 287"/>
                  <a:gd name="T12" fmla="*/ 137 w 165"/>
                  <a:gd name="T13" fmla="*/ 66 h 287"/>
                  <a:gd name="T14" fmla="*/ 165 w 165"/>
                  <a:gd name="T15" fmla="*/ 16 h 287"/>
                  <a:gd name="T16" fmla="*/ 165 w 165"/>
                  <a:gd name="T17" fmla="*/ 16 h 287"/>
                  <a:gd name="T18" fmla="*/ 118 w 165"/>
                  <a:gd name="T19" fmla="*/ 0 h 287"/>
                  <a:gd name="T20" fmla="*/ 118 w 165"/>
                  <a:gd name="T21" fmla="*/ 0 h 287"/>
                  <a:gd name="T22" fmla="*/ 102 w 165"/>
                  <a:gd name="T23" fmla="*/ 31 h 287"/>
                  <a:gd name="T24" fmla="*/ 84 w 165"/>
                  <a:gd name="T25" fmla="*/ 63 h 287"/>
                  <a:gd name="T26" fmla="*/ 67 w 165"/>
                  <a:gd name="T27" fmla="*/ 96 h 287"/>
                  <a:gd name="T28" fmla="*/ 51 w 165"/>
                  <a:gd name="T29" fmla="*/ 133 h 287"/>
                  <a:gd name="T30" fmla="*/ 36 w 165"/>
                  <a:gd name="T31" fmla="*/ 169 h 287"/>
                  <a:gd name="T32" fmla="*/ 22 w 165"/>
                  <a:gd name="T33" fmla="*/ 208 h 287"/>
                  <a:gd name="T34" fmla="*/ 9 w 165"/>
                  <a:gd name="T35" fmla="*/ 248 h 287"/>
                  <a:gd name="T36" fmla="*/ 0 w 165"/>
                  <a:gd name="T37" fmla="*/ 287 h 287"/>
                  <a:gd name="T38" fmla="*/ 0 w 165"/>
                  <a:gd name="T39" fmla="*/ 287 h 287"/>
                  <a:gd name="T40" fmla="*/ 4 w 165"/>
                  <a:gd name="T41" fmla="*/ 283 h 287"/>
                  <a:gd name="T42" fmla="*/ 4 w 165"/>
                  <a:gd name="T43" fmla="*/ 283 h 287"/>
                  <a:gd name="T44" fmla="*/ 31 w 165"/>
                  <a:gd name="T45" fmla="*/ 264 h 287"/>
                  <a:gd name="T46" fmla="*/ 60 w 165"/>
                  <a:gd name="T47" fmla="*/ 246 h 287"/>
                  <a:gd name="T48" fmla="*/ 60 w 165"/>
                  <a:gd name="T49" fmla="*/ 246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5" h="287">
                    <a:moveTo>
                      <a:pt x="60" y="246"/>
                    </a:moveTo>
                    <a:lnTo>
                      <a:pt x="60" y="246"/>
                    </a:lnTo>
                    <a:lnTo>
                      <a:pt x="71" y="214"/>
                    </a:lnTo>
                    <a:lnTo>
                      <a:pt x="82" y="182"/>
                    </a:lnTo>
                    <a:lnTo>
                      <a:pt x="95" y="152"/>
                    </a:lnTo>
                    <a:lnTo>
                      <a:pt x="108" y="122"/>
                    </a:lnTo>
                    <a:lnTo>
                      <a:pt x="137" y="66"/>
                    </a:lnTo>
                    <a:lnTo>
                      <a:pt x="165" y="16"/>
                    </a:lnTo>
                    <a:lnTo>
                      <a:pt x="165" y="16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2" y="31"/>
                    </a:lnTo>
                    <a:lnTo>
                      <a:pt x="84" y="63"/>
                    </a:lnTo>
                    <a:lnTo>
                      <a:pt x="67" y="96"/>
                    </a:lnTo>
                    <a:lnTo>
                      <a:pt x="51" y="133"/>
                    </a:lnTo>
                    <a:lnTo>
                      <a:pt x="36" y="169"/>
                    </a:lnTo>
                    <a:lnTo>
                      <a:pt x="22" y="208"/>
                    </a:lnTo>
                    <a:lnTo>
                      <a:pt x="9" y="248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4" y="283"/>
                    </a:lnTo>
                    <a:lnTo>
                      <a:pt x="4" y="283"/>
                    </a:lnTo>
                    <a:lnTo>
                      <a:pt x="31" y="264"/>
                    </a:lnTo>
                    <a:lnTo>
                      <a:pt x="60" y="246"/>
                    </a:lnTo>
                    <a:lnTo>
                      <a:pt x="6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4"/>
              <p:cNvSpPr>
                <a:spLocks/>
              </p:cNvSpPr>
              <p:nvPr/>
            </p:nvSpPr>
            <p:spPr bwMode="auto">
              <a:xfrm>
                <a:off x="2901" y="1937"/>
                <a:ext cx="64" cy="59"/>
              </a:xfrm>
              <a:custGeom>
                <a:avLst/>
                <a:gdLst>
                  <a:gd name="T0" fmla="*/ 46 w 127"/>
                  <a:gd name="T1" fmla="*/ 118 h 118"/>
                  <a:gd name="T2" fmla="*/ 46 w 127"/>
                  <a:gd name="T3" fmla="*/ 118 h 118"/>
                  <a:gd name="T4" fmla="*/ 70 w 127"/>
                  <a:gd name="T5" fmla="*/ 83 h 118"/>
                  <a:gd name="T6" fmla="*/ 92 w 127"/>
                  <a:gd name="T7" fmla="*/ 53 h 118"/>
                  <a:gd name="T8" fmla="*/ 127 w 127"/>
                  <a:gd name="T9" fmla="*/ 6 h 118"/>
                  <a:gd name="T10" fmla="*/ 127 w 127"/>
                  <a:gd name="T11" fmla="*/ 6 h 118"/>
                  <a:gd name="T12" fmla="*/ 100 w 127"/>
                  <a:gd name="T13" fmla="*/ 3 h 118"/>
                  <a:gd name="T14" fmla="*/ 73 w 127"/>
                  <a:gd name="T15" fmla="*/ 0 h 118"/>
                  <a:gd name="T16" fmla="*/ 73 w 127"/>
                  <a:gd name="T17" fmla="*/ 0 h 118"/>
                  <a:gd name="T18" fmla="*/ 38 w 127"/>
                  <a:gd name="T19" fmla="*/ 45 h 118"/>
                  <a:gd name="T20" fmla="*/ 19 w 127"/>
                  <a:gd name="T21" fmla="*/ 72 h 118"/>
                  <a:gd name="T22" fmla="*/ 0 w 127"/>
                  <a:gd name="T23" fmla="*/ 102 h 118"/>
                  <a:gd name="T24" fmla="*/ 0 w 127"/>
                  <a:gd name="T25" fmla="*/ 102 h 118"/>
                  <a:gd name="T26" fmla="*/ 46 w 127"/>
                  <a:gd name="T27" fmla="*/ 118 h 118"/>
                  <a:gd name="T28" fmla="*/ 46 w 127"/>
                  <a:gd name="T2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7" h="118">
                    <a:moveTo>
                      <a:pt x="46" y="118"/>
                    </a:moveTo>
                    <a:lnTo>
                      <a:pt x="46" y="118"/>
                    </a:lnTo>
                    <a:lnTo>
                      <a:pt x="70" y="83"/>
                    </a:lnTo>
                    <a:lnTo>
                      <a:pt x="92" y="53"/>
                    </a:lnTo>
                    <a:lnTo>
                      <a:pt x="127" y="6"/>
                    </a:lnTo>
                    <a:lnTo>
                      <a:pt x="127" y="6"/>
                    </a:lnTo>
                    <a:lnTo>
                      <a:pt x="100" y="3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38" y="45"/>
                    </a:lnTo>
                    <a:lnTo>
                      <a:pt x="19" y="7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46" y="118"/>
                    </a:lnTo>
                    <a:lnTo>
                      <a:pt x="46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25"/>
              <p:cNvSpPr>
                <a:spLocks/>
              </p:cNvSpPr>
              <p:nvPr/>
            </p:nvSpPr>
            <p:spPr bwMode="auto">
              <a:xfrm>
                <a:off x="2816" y="2166"/>
                <a:ext cx="63" cy="253"/>
              </a:xfrm>
              <a:custGeom>
                <a:avLst/>
                <a:gdLst>
                  <a:gd name="T0" fmla="*/ 8 w 126"/>
                  <a:gd name="T1" fmla="*/ 46 h 505"/>
                  <a:gd name="T2" fmla="*/ 8 w 126"/>
                  <a:gd name="T3" fmla="*/ 46 h 505"/>
                  <a:gd name="T4" fmla="*/ 4 w 126"/>
                  <a:gd name="T5" fmla="*/ 75 h 505"/>
                  <a:gd name="T6" fmla="*/ 1 w 126"/>
                  <a:gd name="T7" fmla="*/ 103 h 505"/>
                  <a:gd name="T8" fmla="*/ 0 w 126"/>
                  <a:gd name="T9" fmla="*/ 134 h 505"/>
                  <a:gd name="T10" fmla="*/ 0 w 126"/>
                  <a:gd name="T11" fmla="*/ 164 h 505"/>
                  <a:gd name="T12" fmla="*/ 0 w 126"/>
                  <a:gd name="T13" fmla="*/ 164 h 505"/>
                  <a:gd name="T14" fmla="*/ 1 w 126"/>
                  <a:gd name="T15" fmla="*/ 207 h 505"/>
                  <a:gd name="T16" fmla="*/ 4 w 126"/>
                  <a:gd name="T17" fmla="*/ 248 h 505"/>
                  <a:gd name="T18" fmla="*/ 9 w 126"/>
                  <a:gd name="T19" fmla="*/ 290 h 505"/>
                  <a:gd name="T20" fmla="*/ 17 w 126"/>
                  <a:gd name="T21" fmla="*/ 330 h 505"/>
                  <a:gd name="T22" fmla="*/ 27 w 126"/>
                  <a:gd name="T23" fmla="*/ 368 h 505"/>
                  <a:gd name="T24" fmla="*/ 38 w 126"/>
                  <a:gd name="T25" fmla="*/ 406 h 505"/>
                  <a:gd name="T26" fmla="*/ 49 w 126"/>
                  <a:gd name="T27" fmla="*/ 444 h 505"/>
                  <a:gd name="T28" fmla="*/ 63 w 126"/>
                  <a:gd name="T29" fmla="*/ 480 h 505"/>
                  <a:gd name="T30" fmla="*/ 63 w 126"/>
                  <a:gd name="T31" fmla="*/ 480 h 505"/>
                  <a:gd name="T32" fmla="*/ 94 w 126"/>
                  <a:gd name="T33" fmla="*/ 492 h 505"/>
                  <a:gd name="T34" fmla="*/ 126 w 126"/>
                  <a:gd name="T35" fmla="*/ 505 h 505"/>
                  <a:gd name="T36" fmla="*/ 126 w 126"/>
                  <a:gd name="T37" fmla="*/ 505 h 505"/>
                  <a:gd name="T38" fmla="*/ 110 w 126"/>
                  <a:gd name="T39" fmla="*/ 467 h 505"/>
                  <a:gd name="T40" fmla="*/ 94 w 126"/>
                  <a:gd name="T41" fmla="*/ 427 h 505"/>
                  <a:gd name="T42" fmla="*/ 81 w 126"/>
                  <a:gd name="T43" fmla="*/ 385 h 505"/>
                  <a:gd name="T44" fmla="*/ 70 w 126"/>
                  <a:gd name="T45" fmla="*/ 344 h 505"/>
                  <a:gd name="T46" fmla="*/ 60 w 126"/>
                  <a:gd name="T47" fmla="*/ 299 h 505"/>
                  <a:gd name="T48" fmla="*/ 52 w 126"/>
                  <a:gd name="T49" fmla="*/ 255 h 505"/>
                  <a:gd name="T50" fmla="*/ 47 w 126"/>
                  <a:gd name="T51" fmla="*/ 210 h 505"/>
                  <a:gd name="T52" fmla="*/ 46 w 126"/>
                  <a:gd name="T53" fmla="*/ 164 h 505"/>
                  <a:gd name="T54" fmla="*/ 46 w 126"/>
                  <a:gd name="T55" fmla="*/ 164 h 505"/>
                  <a:gd name="T56" fmla="*/ 47 w 126"/>
                  <a:gd name="T57" fmla="*/ 121 h 505"/>
                  <a:gd name="T58" fmla="*/ 51 w 126"/>
                  <a:gd name="T59" fmla="*/ 81 h 505"/>
                  <a:gd name="T60" fmla="*/ 57 w 126"/>
                  <a:gd name="T61" fmla="*/ 39 h 505"/>
                  <a:gd name="T62" fmla="*/ 65 w 126"/>
                  <a:gd name="T63" fmla="*/ 0 h 505"/>
                  <a:gd name="T64" fmla="*/ 65 w 126"/>
                  <a:gd name="T65" fmla="*/ 0 h 505"/>
                  <a:gd name="T66" fmla="*/ 57 w 126"/>
                  <a:gd name="T67" fmla="*/ 6 h 505"/>
                  <a:gd name="T68" fmla="*/ 57 w 126"/>
                  <a:gd name="T69" fmla="*/ 6 h 505"/>
                  <a:gd name="T70" fmla="*/ 32 w 126"/>
                  <a:gd name="T71" fmla="*/ 25 h 505"/>
                  <a:gd name="T72" fmla="*/ 8 w 126"/>
                  <a:gd name="T73" fmla="*/ 46 h 505"/>
                  <a:gd name="T74" fmla="*/ 8 w 126"/>
                  <a:gd name="T75" fmla="*/ 46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505">
                    <a:moveTo>
                      <a:pt x="8" y="46"/>
                    </a:moveTo>
                    <a:lnTo>
                      <a:pt x="8" y="46"/>
                    </a:lnTo>
                    <a:lnTo>
                      <a:pt x="4" y="75"/>
                    </a:lnTo>
                    <a:lnTo>
                      <a:pt x="1" y="103"/>
                    </a:lnTo>
                    <a:lnTo>
                      <a:pt x="0" y="13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1" y="207"/>
                    </a:lnTo>
                    <a:lnTo>
                      <a:pt x="4" y="248"/>
                    </a:lnTo>
                    <a:lnTo>
                      <a:pt x="9" y="290"/>
                    </a:lnTo>
                    <a:lnTo>
                      <a:pt x="17" y="330"/>
                    </a:lnTo>
                    <a:lnTo>
                      <a:pt x="27" y="368"/>
                    </a:lnTo>
                    <a:lnTo>
                      <a:pt x="38" y="406"/>
                    </a:lnTo>
                    <a:lnTo>
                      <a:pt x="49" y="444"/>
                    </a:lnTo>
                    <a:lnTo>
                      <a:pt x="63" y="480"/>
                    </a:lnTo>
                    <a:lnTo>
                      <a:pt x="63" y="480"/>
                    </a:lnTo>
                    <a:lnTo>
                      <a:pt x="94" y="492"/>
                    </a:lnTo>
                    <a:lnTo>
                      <a:pt x="126" y="505"/>
                    </a:lnTo>
                    <a:lnTo>
                      <a:pt x="126" y="505"/>
                    </a:lnTo>
                    <a:lnTo>
                      <a:pt x="110" y="467"/>
                    </a:lnTo>
                    <a:lnTo>
                      <a:pt x="94" y="427"/>
                    </a:lnTo>
                    <a:lnTo>
                      <a:pt x="81" y="385"/>
                    </a:lnTo>
                    <a:lnTo>
                      <a:pt x="70" y="344"/>
                    </a:lnTo>
                    <a:lnTo>
                      <a:pt x="60" y="299"/>
                    </a:lnTo>
                    <a:lnTo>
                      <a:pt x="52" y="255"/>
                    </a:lnTo>
                    <a:lnTo>
                      <a:pt x="47" y="210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7" y="121"/>
                    </a:lnTo>
                    <a:lnTo>
                      <a:pt x="51" y="81"/>
                    </a:lnTo>
                    <a:lnTo>
                      <a:pt x="57" y="39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32" y="25"/>
                    </a:lnTo>
                    <a:lnTo>
                      <a:pt x="8" y="46"/>
                    </a:lnTo>
                    <a:lnTo>
                      <a:pt x="8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26"/>
              <p:cNvSpPr>
                <a:spLocks/>
              </p:cNvSpPr>
              <p:nvPr/>
            </p:nvSpPr>
            <p:spPr bwMode="auto">
              <a:xfrm>
                <a:off x="2862" y="2437"/>
                <a:ext cx="105" cy="126"/>
              </a:xfrm>
              <a:custGeom>
                <a:avLst/>
                <a:gdLst>
                  <a:gd name="T0" fmla="*/ 0 w 210"/>
                  <a:gd name="T1" fmla="*/ 0 h 250"/>
                  <a:gd name="T2" fmla="*/ 0 w 210"/>
                  <a:gd name="T3" fmla="*/ 0 h 250"/>
                  <a:gd name="T4" fmla="*/ 19 w 210"/>
                  <a:gd name="T5" fmla="*/ 41 h 250"/>
                  <a:gd name="T6" fmla="*/ 41 w 210"/>
                  <a:gd name="T7" fmla="*/ 79 h 250"/>
                  <a:gd name="T8" fmla="*/ 62 w 210"/>
                  <a:gd name="T9" fmla="*/ 116 h 250"/>
                  <a:gd name="T10" fmla="*/ 82 w 210"/>
                  <a:gd name="T11" fmla="*/ 150 h 250"/>
                  <a:gd name="T12" fmla="*/ 103 w 210"/>
                  <a:gd name="T13" fmla="*/ 180 h 250"/>
                  <a:gd name="T14" fmla="*/ 122 w 210"/>
                  <a:gd name="T15" fmla="*/ 207 h 250"/>
                  <a:gd name="T16" fmla="*/ 156 w 210"/>
                  <a:gd name="T17" fmla="*/ 250 h 250"/>
                  <a:gd name="T18" fmla="*/ 156 w 210"/>
                  <a:gd name="T19" fmla="*/ 250 h 250"/>
                  <a:gd name="T20" fmla="*/ 183 w 210"/>
                  <a:gd name="T21" fmla="*/ 247 h 250"/>
                  <a:gd name="T22" fmla="*/ 210 w 210"/>
                  <a:gd name="T23" fmla="*/ 242 h 250"/>
                  <a:gd name="T24" fmla="*/ 210 w 210"/>
                  <a:gd name="T25" fmla="*/ 242 h 250"/>
                  <a:gd name="T26" fmla="*/ 183 w 210"/>
                  <a:gd name="T27" fmla="*/ 209 h 250"/>
                  <a:gd name="T28" fmla="*/ 148 w 210"/>
                  <a:gd name="T29" fmla="*/ 159 h 250"/>
                  <a:gd name="T30" fmla="*/ 127 w 210"/>
                  <a:gd name="T31" fmla="*/ 130 h 250"/>
                  <a:gd name="T32" fmla="*/ 106 w 210"/>
                  <a:gd name="T33" fmla="*/ 97 h 250"/>
                  <a:gd name="T34" fmla="*/ 84 w 210"/>
                  <a:gd name="T35" fmla="*/ 60 h 250"/>
                  <a:gd name="T36" fmla="*/ 63 w 210"/>
                  <a:gd name="T37" fmla="*/ 20 h 250"/>
                  <a:gd name="T38" fmla="*/ 63 w 210"/>
                  <a:gd name="T39" fmla="*/ 20 h 250"/>
                  <a:gd name="T40" fmla="*/ 31 w 210"/>
                  <a:gd name="T41" fmla="*/ 11 h 250"/>
                  <a:gd name="T42" fmla="*/ 0 w 210"/>
                  <a:gd name="T43" fmla="*/ 0 h 250"/>
                  <a:gd name="T44" fmla="*/ 0 w 210"/>
                  <a:gd name="T4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0" h="250">
                    <a:moveTo>
                      <a:pt x="0" y="0"/>
                    </a:moveTo>
                    <a:lnTo>
                      <a:pt x="0" y="0"/>
                    </a:lnTo>
                    <a:lnTo>
                      <a:pt x="19" y="41"/>
                    </a:lnTo>
                    <a:lnTo>
                      <a:pt x="41" y="79"/>
                    </a:lnTo>
                    <a:lnTo>
                      <a:pt x="62" y="116"/>
                    </a:lnTo>
                    <a:lnTo>
                      <a:pt x="82" y="150"/>
                    </a:lnTo>
                    <a:lnTo>
                      <a:pt x="103" y="180"/>
                    </a:lnTo>
                    <a:lnTo>
                      <a:pt x="122" y="207"/>
                    </a:lnTo>
                    <a:lnTo>
                      <a:pt x="156" y="250"/>
                    </a:lnTo>
                    <a:lnTo>
                      <a:pt x="156" y="250"/>
                    </a:lnTo>
                    <a:lnTo>
                      <a:pt x="183" y="247"/>
                    </a:lnTo>
                    <a:lnTo>
                      <a:pt x="210" y="242"/>
                    </a:lnTo>
                    <a:lnTo>
                      <a:pt x="210" y="242"/>
                    </a:lnTo>
                    <a:lnTo>
                      <a:pt x="183" y="209"/>
                    </a:lnTo>
                    <a:lnTo>
                      <a:pt x="148" y="159"/>
                    </a:lnTo>
                    <a:lnTo>
                      <a:pt x="127" y="130"/>
                    </a:lnTo>
                    <a:lnTo>
                      <a:pt x="106" y="97"/>
                    </a:lnTo>
                    <a:lnTo>
                      <a:pt x="84" y="60"/>
                    </a:lnTo>
                    <a:lnTo>
                      <a:pt x="63" y="20"/>
                    </a:lnTo>
                    <a:lnTo>
                      <a:pt x="63" y="20"/>
                    </a:lnTo>
                    <a:lnTo>
                      <a:pt x="31" y="1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27"/>
              <p:cNvSpPr>
                <a:spLocks/>
              </p:cNvSpPr>
              <p:nvPr/>
            </p:nvSpPr>
            <p:spPr bwMode="auto">
              <a:xfrm>
                <a:off x="2820" y="2132"/>
                <a:ext cx="39" cy="57"/>
              </a:xfrm>
              <a:custGeom>
                <a:avLst/>
                <a:gdLst>
                  <a:gd name="T0" fmla="*/ 20 w 76"/>
                  <a:gd name="T1" fmla="*/ 37 h 115"/>
                  <a:gd name="T2" fmla="*/ 20 w 76"/>
                  <a:gd name="T3" fmla="*/ 37 h 115"/>
                  <a:gd name="T4" fmla="*/ 16 w 76"/>
                  <a:gd name="T5" fmla="*/ 41 h 115"/>
                  <a:gd name="T6" fmla="*/ 16 w 76"/>
                  <a:gd name="T7" fmla="*/ 41 h 115"/>
                  <a:gd name="T8" fmla="*/ 8 w 76"/>
                  <a:gd name="T9" fmla="*/ 78 h 115"/>
                  <a:gd name="T10" fmla="*/ 0 w 76"/>
                  <a:gd name="T11" fmla="*/ 115 h 115"/>
                  <a:gd name="T12" fmla="*/ 0 w 76"/>
                  <a:gd name="T13" fmla="*/ 115 h 115"/>
                  <a:gd name="T14" fmla="*/ 24 w 76"/>
                  <a:gd name="T15" fmla="*/ 94 h 115"/>
                  <a:gd name="T16" fmla="*/ 49 w 76"/>
                  <a:gd name="T17" fmla="*/ 75 h 115"/>
                  <a:gd name="T18" fmla="*/ 49 w 76"/>
                  <a:gd name="T19" fmla="*/ 75 h 115"/>
                  <a:gd name="T20" fmla="*/ 57 w 76"/>
                  <a:gd name="T21" fmla="*/ 69 h 115"/>
                  <a:gd name="T22" fmla="*/ 57 w 76"/>
                  <a:gd name="T23" fmla="*/ 69 h 115"/>
                  <a:gd name="T24" fmla="*/ 67 w 76"/>
                  <a:gd name="T25" fmla="*/ 34 h 115"/>
                  <a:gd name="T26" fmla="*/ 76 w 76"/>
                  <a:gd name="T27" fmla="*/ 0 h 115"/>
                  <a:gd name="T28" fmla="*/ 76 w 76"/>
                  <a:gd name="T29" fmla="*/ 0 h 115"/>
                  <a:gd name="T30" fmla="*/ 47 w 76"/>
                  <a:gd name="T31" fmla="*/ 18 h 115"/>
                  <a:gd name="T32" fmla="*/ 20 w 76"/>
                  <a:gd name="T33" fmla="*/ 37 h 115"/>
                  <a:gd name="T34" fmla="*/ 20 w 76"/>
                  <a:gd name="T35" fmla="*/ 3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" h="115">
                    <a:moveTo>
                      <a:pt x="20" y="37"/>
                    </a:moveTo>
                    <a:lnTo>
                      <a:pt x="20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8" y="78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24" y="94"/>
                    </a:lnTo>
                    <a:lnTo>
                      <a:pt x="49" y="75"/>
                    </a:lnTo>
                    <a:lnTo>
                      <a:pt x="49" y="75"/>
                    </a:lnTo>
                    <a:lnTo>
                      <a:pt x="57" y="69"/>
                    </a:lnTo>
                    <a:lnTo>
                      <a:pt x="57" y="69"/>
                    </a:lnTo>
                    <a:lnTo>
                      <a:pt x="67" y="34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47" y="18"/>
                    </a:lnTo>
                    <a:lnTo>
                      <a:pt x="20" y="37"/>
                    </a:lnTo>
                    <a:lnTo>
                      <a:pt x="20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28"/>
              <p:cNvSpPr>
                <a:spLocks/>
              </p:cNvSpPr>
              <p:nvPr/>
            </p:nvSpPr>
            <p:spPr bwMode="auto">
              <a:xfrm>
                <a:off x="2879" y="2419"/>
                <a:ext cx="286" cy="49"/>
              </a:xfrm>
              <a:custGeom>
                <a:avLst/>
                <a:gdLst>
                  <a:gd name="T0" fmla="*/ 0 w 570"/>
                  <a:gd name="T1" fmla="*/ 0 h 97"/>
                  <a:gd name="T2" fmla="*/ 0 w 570"/>
                  <a:gd name="T3" fmla="*/ 0 h 97"/>
                  <a:gd name="T4" fmla="*/ 14 w 570"/>
                  <a:gd name="T5" fmla="*/ 29 h 97"/>
                  <a:gd name="T6" fmla="*/ 28 w 570"/>
                  <a:gd name="T7" fmla="*/ 57 h 97"/>
                  <a:gd name="T8" fmla="*/ 28 w 570"/>
                  <a:gd name="T9" fmla="*/ 57 h 97"/>
                  <a:gd name="T10" fmla="*/ 67 w 570"/>
                  <a:gd name="T11" fmla="*/ 69 h 97"/>
                  <a:gd name="T12" fmla="*/ 103 w 570"/>
                  <a:gd name="T13" fmla="*/ 77 h 97"/>
                  <a:gd name="T14" fmla="*/ 142 w 570"/>
                  <a:gd name="T15" fmla="*/ 83 h 97"/>
                  <a:gd name="T16" fmla="*/ 178 w 570"/>
                  <a:gd name="T17" fmla="*/ 88 h 97"/>
                  <a:gd name="T18" fmla="*/ 215 w 570"/>
                  <a:gd name="T19" fmla="*/ 93 h 97"/>
                  <a:gd name="T20" fmla="*/ 250 w 570"/>
                  <a:gd name="T21" fmla="*/ 94 h 97"/>
                  <a:gd name="T22" fmla="*/ 285 w 570"/>
                  <a:gd name="T23" fmla="*/ 96 h 97"/>
                  <a:gd name="T24" fmla="*/ 318 w 570"/>
                  <a:gd name="T25" fmla="*/ 97 h 97"/>
                  <a:gd name="T26" fmla="*/ 318 w 570"/>
                  <a:gd name="T27" fmla="*/ 97 h 97"/>
                  <a:gd name="T28" fmla="*/ 381 w 570"/>
                  <a:gd name="T29" fmla="*/ 96 h 97"/>
                  <a:gd name="T30" fmla="*/ 438 w 570"/>
                  <a:gd name="T31" fmla="*/ 91 h 97"/>
                  <a:gd name="T32" fmla="*/ 486 w 570"/>
                  <a:gd name="T33" fmla="*/ 85 h 97"/>
                  <a:gd name="T34" fmla="*/ 527 w 570"/>
                  <a:gd name="T35" fmla="*/ 80 h 97"/>
                  <a:gd name="T36" fmla="*/ 527 w 570"/>
                  <a:gd name="T37" fmla="*/ 80 h 97"/>
                  <a:gd name="T38" fmla="*/ 550 w 570"/>
                  <a:gd name="T39" fmla="*/ 53 h 97"/>
                  <a:gd name="T40" fmla="*/ 570 w 570"/>
                  <a:gd name="T41" fmla="*/ 24 h 97"/>
                  <a:gd name="T42" fmla="*/ 570 w 570"/>
                  <a:gd name="T43" fmla="*/ 22 h 97"/>
                  <a:gd name="T44" fmla="*/ 570 w 570"/>
                  <a:gd name="T45" fmla="*/ 22 h 97"/>
                  <a:gd name="T46" fmla="*/ 556 w 570"/>
                  <a:gd name="T47" fmla="*/ 26 h 97"/>
                  <a:gd name="T48" fmla="*/ 518 w 570"/>
                  <a:gd name="T49" fmla="*/ 32 h 97"/>
                  <a:gd name="T50" fmla="*/ 460 w 570"/>
                  <a:gd name="T51" fmla="*/ 40 h 97"/>
                  <a:gd name="T52" fmla="*/ 425 w 570"/>
                  <a:gd name="T53" fmla="*/ 45 h 97"/>
                  <a:gd name="T54" fmla="*/ 387 w 570"/>
                  <a:gd name="T55" fmla="*/ 46 h 97"/>
                  <a:gd name="T56" fmla="*/ 344 w 570"/>
                  <a:gd name="T57" fmla="*/ 48 h 97"/>
                  <a:gd name="T58" fmla="*/ 299 w 570"/>
                  <a:gd name="T59" fmla="*/ 48 h 97"/>
                  <a:gd name="T60" fmla="*/ 253 w 570"/>
                  <a:gd name="T61" fmla="*/ 46 h 97"/>
                  <a:gd name="T62" fmla="*/ 204 w 570"/>
                  <a:gd name="T63" fmla="*/ 43 h 97"/>
                  <a:gd name="T64" fmla="*/ 154 w 570"/>
                  <a:gd name="T65" fmla="*/ 37 h 97"/>
                  <a:gd name="T66" fmla="*/ 103 w 570"/>
                  <a:gd name="T67" fmla="*/ 27 h 97"/>
                  <a:gd name="T68" fmla="*/ 51 w 570"/>
                  <a:gd name="T69" fmla="*/ 16 h 97"/>
                  <a:gd name="T70" fmla="*/ 0 w 570"/>
                  <a:gd name="T71" fmla="*/ 0 h 97"/>
                  <a:gd name="T72" fmla="*/ 0 w 570"/>
                  <a:gd name="T7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0" h="97">
                    <a:moveTo>
                      <a:pt x="0" y="0"/>
                    </a:moveTo>
                    <a:lnTo>
                      <a:pt x="0" y="0"/>
                    </a:lnTo>
                    <a:lnTo>
                      <a:pt x="14" y="29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67" y="69"/>
                    </a:lnTo>
                    <a:lnTo>
                      <a:pt x="103" y="77"/>
                    </a:lnTo>
                    <a:lnTo>
                      <a:pt x="142" y="83"/>
                    </a:lnTo>
                    <a:lnTo>
                      <a:pt x="178" y="88"/>
                    </a:lnTo>
                    <a:lnTo>
                      <a:pt x="215" y="93"/>
                    </a:lnTo>
                    <a:lnTo>
                      <a:pt x="250" y="94"/>
                    </a:lnTo>
                    <a:lnTo>
                      <a:pt x="285" y="96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81" y="96"/>
                    </a:lnTo>
                    <a:lnTo>
                      <a:pt x="438" y="91"/>
                    </a:lnTo>
                    <a:lnTo>
                      <a:pt x="486" y="85"/>
                    </a:lnTo>
                    <a:lnTo>
                      <a:pt x="527" y="80"/>
                    </a:lnTo>
                    <a:lnTo>
                      <a:pt x="527" y="80"/>
                    </a:lnTo>
                    <a:lnTo>
                      <a:pt x="550" y="53"/>
                    </a:lnTo>
                    <a:lnTo>
                      <a:pt x="570" y="24"/>
                    </a:lnTo>
                    <a:lnTo>
                      <a:pt x="570" y="22"/>
                    </a:lnTo>
                    <a:lnTo>
                      <a:pt x="570" y="22"/>
                    </a:lnTo>
                    <a:lnTo>
                      <a:pt x="556" y="26"/>
                    </a:lnTo>
                    <a:lnTo>
                      <a:pt x="518" y="32"/>
                    </a:lnTo>
                    <a:lnTo>
                      <a:pt x="460" y="40"/>
                    </a:lnTo>
                    <a:lnTo>
                      <a:pt x="425" y="45"/>
                    </a:lnTo>
                    <a:lnTo>
                      <a:pt x="387" y="46"/>
                    </a:lnTo>
                    <a:lnTo>
                      <a:pt x="344" y="48"/>
                    </a:lnTo>
                    <a:lnTo>
                      <a:pt x="299" y="48"/>
                    </a:lnTo>
                    <a:lnTo>
                      <a:pt x="253" y="46"/>
                    </a:lnTo>
                    <a:lnTo>
                      <a:pt x="204" y="43"/>
                    </a:lnTo>
                    <a:lnTo>
                      <a:pt x="154" y="37"/>
                    </a:lnTo>
                    <a:lnTo>
                      <a:pt x="103" y="27"/>
                    </a:lnTo>
                    <a:lnTo>
                      <a:pt x="51" y="1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29"/>
              <p:cNvSpPr>
                <a:spLocks/>
              </p:cNvSpPr>
              <p:nvPr/>
            </p:nvSpPr>
            <p:spPr bwMode="auto">
              <a:xfrm>
                <a:off x="2603" y="2137"/>
                <a:ext cx="105" cy="182"/>
              </a:xfrm>
              <a:custGeom>
                <a:avLst/>
                <a:gdLst>
                  <a:gd name="T0" fmla="*/ 209 w 209"/>
                  <a:gd name="T1" fmla="*/ 318 h 365"/>
                  <a:gd name="T2" fmla="*/ 209 w 209"/>
                  <a:gd name="T3" fmla="*/ 318 h 365"/>
                  <a:gd name="T4" fmla="*/ 172 w 209"/>
                  <a:gd name="T5" fmla="*/ 272 h 365"/>
                  <a:gd name="T6" fmla="*/ 140 w 209"/>
                  <a:gd name="T7" fmla="*/ 226 h 365"/>
                  <a:gd name="T8" fmla="*/ 112 w 209"/>
                  <a:gd name="T9" fmla="*/ 180 h 365"/>
                  <a:gd name="T10" fmla="*/ 86 w 209"/>
                  <a:gd name="T11" fmla="*/ 137 h 365"/>
                  <a:gd name="T12" fmla="*/ 65 w 209"/>
                  <a:gd name="T13" fmla="*/ 95 h 365"/>
                  <a:gd name="T14" fmla="*/ 48 w 209"/>
                  <a:gd name="T15" fmla="*/ 59 h 365"/>
                  <a:gd name="T16" fmla="*/ 33 w 209"/>
                  <a:gd name="T17" fmla="*/ 27 h 365"/>
                  <a:gd name="T18" fmla="*/ 22 w 209"/>
                  <a:gd name="T19" fmla="*/ 0 h 365"/>
                  <a:gd name="T20" fmla="*/ 22 w 209"/>
                  <a:gd name="T21" fmla="*/ 0 h 365"/>
                  <a:gd name="T22" fmla="*/ 9 w 209"/>
                  <a:gd name="T23" fmla="*/ 35 h 365"/>
                  <a:gd name="T24" fmla="*/ 0 w 209"/>
                  <a:gd name="T25" fmla="*/ 70 h 365"/>
                  <a:gd name="T26" fmla="*/ 0 w 209"/>
                  <a:gd name="T27" fmla="*/ 70 h 365"/>
                  <a:gd name="T28" fmla="*/ 14 w 209"/>
                  <a:gd name="T29" fmla="*/ 100 h 365"/>
                  <a:gd name="T30" fmla="*/ 30 w 209"/>
                  <a:gd name="T31" fmla="*/ 134 h 365"/>
                  <a:gd name="T32" fmla="*/ 49 w 209"/>
                  <a:gd name="T33" fmla="*/ 169 h 365"/>
                  <a:gd name="T34" fmla="*/ 70 w 209"/>
                  <a:gd name="T35" fmla="*/ 207 h 365"/>
                  <a:gd name="T36" fmla="*/ 96 w 209"/>
                  <a:gd name="T37" fmla="*/ 245 h 365"/>
                  <a:gd name="T38" fmla="*/ 123 w 209"/>
                  <a:gd name="T39" fmla="*/ 285 h 365"/>
                  <a:gd name="T40" fmla="*/ 151 w 209"/>
                  <a:gd name="T41" fmla="*/ 325 h 365"/>
                  <a:gd name="T42" fmla="*/ 185 w 209"/>
                  <a:gd name="T43" fmla="*/ 365 h 365"/>
                  <a:gd name="T44" fmla="*/ 185 w 209"/>
                  <a:gd name="T45" fmla="*/ 365 h 365"/>
                  <a:gd name="T46" fmla="*/ 209 w 209"/>
                  <a:gd name="T47" fmla="*/ 318 h 365"/>
                  <a:gd name="T48" fmla="*/ 209 w 209"/>
                  <a:gd name="T49" fmla="*/ 318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9" h="365">
                    <a:moveTo>
                      <a:pt x="209" y="318"/>
                    </a:moveTo>
                    <a:lnTo>
                      <a:pt x="209" y="318"/>
                    </a:lnTo>
                    <a:lnTo>
                      <a:pt x="172" y="272"/>
                    </a:lnTo>
                    <a:lnTo>
                      <a:pt x="140" y="226"/>
                    </a:lnTo>
                    <a:lnTo>
                      <a:pt x="112" y="180"/>
                    </a:lnTo>
                    <a:lnTo>
                      <a:pt x="86" y="137"/>
                    </a:lnTo>
                    <a:lnTo>
                      <a:pt x="65" y="95"/>
                    </a:lnTo>
                    <a:lnTo>
                      <a:pt x="48" y="59"/>
                    </a:lnTo>
                    <a:lnTo>
                      <a:pt x="33" y="27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9" y="35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4" y="100"/>
                    </a:lnTo>
                    <a:lnTo>
                      <a:pt x="30" y="134"/>
                    </a:lnTo>
                    <a:lnTo>
                      <a:pt x="49" y="169"/>
                    </a:lnTo>
                    <a:lnTo>
                      <a:pt x="70" y="207"/>
                    </a:lnTo>
                    <a:lnTo>
                      <a:pt x="96" y="245"/>
                    </a:lnTo>
                    <a:lnTo>
                      <a:pt x="123" y="285"/>
                    </a:lnTo>
                    <a:lnTo>
                      <a:pt x="151" y="325"/>
                    </a:lnTo>
                    <a:lnTo>
                      <a:pt x="185" y="365"/>
                    </a:lnTo>
                    <a:lnTo>
                      <a:pt x="185" y="365"/>
                    </a:lnTo>
                    <a:lnTo>
                      <a:pt x="209" y="318"/>
                    </a:lnTo>
                    <a:lnTo>
                      <a:pt x="209" y="3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0"/>
              <p:cNvSpPr>
                <a:spLocks/>
              </p:cNvSpPr>
              <p:nvPr/>
            </p:nvSpPr>
            <p:spPr bwMode="auto">
              <a:xfrm>
                <a:off x="2713" y="2315"/>
                <a:ext cx="149" cy="122"/>
              </a:xfrm>
              <a:custGeom>
                <a:avLst/>
                <a:gdLst>
                  <a:gd name="T0" fmla="*/ 212 w 297"/>
                  <a:gd name="T1" fmla="*/ 153 h 244"/>
                  <a:gd name="T2" fmla="*/ 212 w 297"/>
                  <a:gd name="T3" fmla="*/ 153 h 244"/>
                  <a:gd name="T4" fmla="*/ 185 w 297"/>
                  <a:gd name="T5" fmla="*/ 137 h 244"/>
                  <a:gd name="T6" fmla="*/ 159 w 297"/>
                  <a:gd name="T7" fmla="*/ 119 h 244"/>
                  <a:gd name="T8" fmla="*/ 134 w 297"/>
                  <a:gd name="T9" fmla="*/ 102 h 244"/>
                  <a:gd name="T10" fmla="*/ 110 w 297"/>
                  <a:gd name="T11" fmla="*/ 83 h 244"/>
                  <a:gd name="T12" fmla="*/ 86 w 297"/>
                  <a:gd name="T13" fmla="*/ 64 h 244"/>
                  <a:gd name="T14" fmla="*/ 64 w 297"/>
                  <a:gd name="T15" fmla="*/ 43 h 244"/>
                  <a:gd name="T16" fmla="*/ 43 w 297"/>
                  <a:gd name="T17" fmla="*/ 22 h 244"/>
                  <a:gd name="T18" fmla="*/ 22 w 297"/>
                  <a:gd name="T19" fmla="*/ 0 h 244"/>
                  <a:gd name="T20" fmla="*/ 22 w 297"/>
                  <a:gd name="T21" fmla="*/ 0 h 244"/>
                  <a:gd name="T22" fmla="*/ 0 w 297"/>
                  <a:gd name="T23" fmla="*/ 46 h 244"/>
                  <a:gd name="T24" fmla="*/ 0 w 297"/>
                  <a:gd name="T25" fmla="*/ 46 h 244"/>
                  <a:gd name="T26" fmla="*/ 21 w 297"/>
                  <a:gd name="T27" fmla="*/ 67 h 244"/>
                  <a:gd name="T28" fmla="*/ 41 w 297"/>
                  <a:gd name="T29" fmla="*/ 86 h 244"/>
                  <a:gd name="T30" fmla="*/ 64 w 297"/>
                  <a:gd name="T31" fmla="*/ 107 h 244"/>
                  <a:gd name="T32" fmla="*/ 88 w 297"/>
                  <a:gd name="T33" fmla="*/ 126 h 244"/>
                  <a:gd name="T34" fmla="*/ 112 w 297"/>
                  <a:gd name="T35" fmla="*/ 143 h 244"/>
                  <a:gd name="T36" fmla="*/ 137 w 297"/>
                  <a:gd name="T37" fmla="*/ 162 h 244"/>
                  <a:gd name="T38" fmla="*/ 163 w 297"/>
                  <a:gd name="T39" fmla="*/ 178 h 244"/>
                  <a:gd name="T40" fmla="*/ 190 w 297"/>
                  <a:gd name="T41" fmla="*/ 194 h 244"/>
                  <a:gd name="T42" fmla="*/ 190 w 297"/>
                  <a:gd name="T43" fmla="*/ 194 h 244"/>
                  <a:gd name="T44" fmla="*/ 215 w 297"/>
                  <a:gd name="T45" fmla="*/ 209 h 244"/>
                  <a:gd name="T46" fmla="*/ 242 w 297"/>
                  <a:gd name="T47" fmla="*/ 221 h 244"/>
                  <a:gd name="T48" fmla="*/ 269 w 297"/>
                  <a:gd name="T49" fmla="*/ 233 h 244"/>
                  <a:gd name="T50" fmla="*/ 297 w 297"/>
                  <a:gd name="T51" fmla="*/ 244 h 244"/>
                  <a:gd name="T52" fmla="*/ 297 w 297"/>
                  <a:gd name="T53" fmla="*/ 244 h 244"/>
                  <a:gd name="T54" fmla="*/ 282 w 297"/>
                  <a:gd name="T55" fmla="*/ 213 h 244"/>
                  <a:gd name="T56" fmla="*/ 269 w 297"/>
                  <a:gd name="T57" fmla="*/ 182 h 244"/>
                  <a:gd name="T58" fmla="*/ 269 w 297"/>
                  <a:gd name="T59" fmla="*/ 182 h 244"/>
                  <a:gd name="T60" fmla="*/ 241 w 297"/>
                  <a:gd name="T61" fmla="*/ 169 h 244"/>
                  <a:gd name="T62" fmla="*/ 212 w 297"/>
                  <a:gd name="T63" fmla="*/ 153 h 244"/>
                  <a:gd name="T64" fmla="*/ 212 w 297"/>
                  <a:gd name="T65" fmla="*/ 153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7" h="244">
                    <a:moveTo>
                      <a:pt x="212" y="153"/>
                    </a:moveTo>
                    <a:lnTo>
                      <a:pt x="212" y="153"/>
                    </a:lnTo>
                    <a:lnTo>
                      <a:pt x="185" y="137"/>
                    </a:lnTo>
                    <a:lnTo>
                      <a:pt x="159" y="119"/>
                    </a:lnTo>
                    <a:lnTo>
                      <a:pt x="134" y="102"/>
                    </a:lnTo>
                    <a:lnTo>
                      <a:pt x="110" y="83"/>
                    </a:lnTo>
                    <a:lnTo>
                      <a:pt x="86" y="64"/>
                    </a:lnTo>
                    <a:lnTo>
                      <a:pt x="64" y="43"/>
                    </a:lnTo>
                    <a:lnTo>
                      <a:pt x="43" y="2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21" y="67"/>
                    </a:lnTo>
                    <a:lnTo>
                      <a:pt x="41" y="86"/>
                    </a:lnTo>
                    <a:lnTo>
                      <a:pt x="64" y="107"/>
                    </a:lnTo>
                    <a:lnTo>
                      <a:pt x="88" y="126"/>
                    </a:lnTo>
                    <a:lnTo>
                      <a:pt x="112" y="143"/>
                    </a:lnTo>
                    <a:lnTo>
                      <a:pt x="137" y="162"/>
                    </a:lnTo>
                    <a:lnTo>
                      <a:pt x="163" y="178"/>
                    </a:lnTo>
                    <a:lnTo>
                      <a:pt x="190" y="194"/>
                    </a:lnTo>
                    <a:lnTo>
                      <a:pt x="190" y="194"/>
                    </a:lnTo>
                    <a:lnTo>
                      <a:pt x="215" y="209"/>
                    </a:lnTo>
                    <a:lnTo>
                      <a:pt x="242" y="221"/>
                    </a:lnTo>
                    <a:lnTo>
                      <a:pt x="269" y="233"/>
                    </a:lnTo>
                    <a:lnTo>
                      <a:pt x="297" y="244"/>
                    </a:lnTo>
                    <a:lnTo>
                      <a:pt x="297" y="244"/>
                    </a:lnTo>
                    <a:lnTo>
                      <a:pt x="282" y="213"/>
                    </a:lnTo>
                    <a:lnTo>
                      <a:pt x="269" y="182"/>
                    </a:lnTo>
                    <a:lnTo>
                      <a:pt x="269" y="182"/>
                    </a:lnTo>
                    <a:lnTo>
                      <a:pt x="241" y="169"/>
                    </a:lnTo>
                    <a:lnTo>
                      <a:pt x="212" y="153"/>
                    </a:lnTo>
                    <a:lnTo>
                      <a:pt x="212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1"/>
              <p:cNvSpPr>
                <a:spLocks/>
              </p:cNvSpPr>
              <p:nvPr/>
            </p:nvSpPr>
            <p:spPr bwMode="auto">
              <a:xfrm>
                <a:off x="2696" y="2296"/>
                <a:ext cx="29" cy="42"/>
              </a:xfrm>
              <a:custGeom>
                <a:avLst/>
                <a:gdLst>
                  <a:gd name="T0" fmla="*/ 24 w 57"/>
                  <a:gd name="T1" fmla="*/ 0 h 85"/>
                  <a:gd name="T2" fmla="*/ 24 w 57"/>
                  <a:gd name="T3" fmla="*/ 0 h 85"/>
                  <a:gd name="T4" fmla="*/ 0 w 57"/>
                  <a:gd name="T5" fmla="*/ 47 h 85"/>
                  <a:gd name="T6" fmla="*/ 0 w 57"/>
                  <a:gd name="T7" fmla="*/ 47 h 85"/>
                  <a:gd name="T8" fmla="*/ 35 w 57"/>
                  <a:gd name="T9" fmla="*/ 85 h 85"/>
                  <a:gd name="T10" fmla="*/ 35 w 57"/>
                  <a:gd name="T11" fmla="*/ 85 h 85"/>
                  <a:gd name="T12" fmla="*/ 57 w 57"/>
                  <a:gd name="T13" fmla="*/ 39 h 85"/>
                  <a:gd name="T14" fmla="*/ 57 w 57"/>
                  <a:gd name="T15" fmla="*/ 39 h 85"/>
                  <a:gd name="T16" fmla="*/ 24 w 57"/>
                  <a:gd name="T17" fmla="*/ 0 h 85"/>
                  <a:gd name="T18" fmla="*/ 24 w 57"/>
                  <a:gd name="T1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85">
                    <a:moveTo>
                      <a:pt x="24" y="0"/>
                    </a:moveTo>
                    <a:lnTo>
                      <a:pt x="24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35" y="85"/>
                    </a:lnTo>
                    <a:lnTo>
                      <a:pt x="35" y="85"/>
                    </a:lnTo>
                    <a:lnTo>
                      <a:pt x="57" y="39"/>
                    </a:lnTo>
                    <a:lnTo>
                      <a:pt x="57" y="39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3"/>
              <p:cNvSpPr>
                <a:spLocks/>
              </p:cNvSpPr>
              <p:nvPr/>
            </p:nvSpPr>
            <p:spPr bwMode="auto">
              <a:xfrm>
                <a:off x="3044" y="2088"/>
                <a:ext cx="165" cy="294"/>
              </a:xfrm>
              <a:custGeom>
                <a:avLst/>
                <a:gdLst>
                  <a:gd name="T0" fmla="*/ 60 w 328"/>
                  <a:gd name="T1" fmla="*/ 0 h 589"/>
                  <a:gd name="T2" fmla="*/ 60 w 328"/>
                  <a:gd name="T3" fmla="*/ 0 h 589"/>
                  <a:gd name="T4" fmla="*/ 0 w 328"/>
                  <a:gd name="T5" fmla="*/ 8 h 589"/>
                  <a:gd name="T6" fmla="*/ 0 w 328"/>
                  <a:gd name="T7" fmla="*/ 8 h 589"/>
                  <a:gd name="T8" fmla="*/ 14 w 328"/>
                  <a:gd name="T9" fmla="*/ 21 h 589"/>
                  <a:gd name="T10" fmla="*/ 14 w 328"/>
                  <a:gd name="T11" fmla="*/ 21 h 589"/>
                  <a:gd name="T12" fmla="*/ 49 w 328"/>
                  <a:gd name="T13" fmla="*/ 55 h 589"/>
                  <a:gd name="T14" fmla="*/ 81 w 328"/>
                  <a:gd name="T15" fmla="*/ 91 h 589"/>
                  <a:gd name="T16" fmla="*/ 111 w 328"/>
                  <a:gd name="T17" fmla="*/ 128 h 589"/>
                  <a:gd name="T18" fmla="*/ 137 w 328"/>
                  <a:gd name="T19" fmla="*/ 168 h 589"/>
                  <a:gd name="T20" fmla="*/ 162 w 328"/>
                  <a:gd name="T21" fmla="*/ 206 h 589"/>
                  <a:gd name="T22" fmla="*/ 183 w 328"/>
                  <a:gd name="T23" fmla="*/ 246 h 589"/>
                  <a:gd name="T24" fmla="*/ 204 w 328"/>
                  <a:gd name="T25" fmla="*/ 286 h 589"/>
                  <a:gd name="T26" fmla="*/ 221 w 328"/>
                  <a:gd name="T27" fmla="*/ 326 h 589"/>
                  <a:gd name="T28" fmla="*/ 236 w 328"/>
                  <a:gd name="T29" fmla="*/ 365 h 589"/>
                  <a:gd name="T30" fmla="*/ 250 w 328"/>
                  <a:gd name="T31" fmla="*/ 402 h 589"/>
                  <a:gd name="T32" fmla="*/ 261 w 328"/>
                  <a:gd name="T33" fmla="*/ 439 h 589"/>
                  <a:gd name="T34" fmla="*/ 271 w 328"/>
                  <a:gd name="T35" fmla="*/ 474 h 589"/>
                  <a:gd name="T36" fmla="*/ 287 w 328"/>
                  <a:gd name="T37" fmla="*/ 538 h 589"/>
                  <a:gd name="T38" fmla="*/ 296 w 328"/>
                  <a:gd name="T39" fmla="*/ 589 h 589"/>
                  <a:gd name="T40" fmla="*/ 296 w 328"/>
                  <a:gd name="T41" fmla="*/ 589 h 589"/>
                  <a:gd name="T42" fmla="*/ 314 w 328"/>
                  <a:gd name="T43" fmla="*/ 549 h 589"/>
                  <a:gd name="T44" fmla="*/ 328 w 328"/>
                  <a:gd name="T45" fmla="*/ 506 h 589"/>
                  <a:gd name="T46" fmla="*/ 328 w 328"/>
                  <a:gd name="T47" fmla="*/ 506 h 589"/>
                  <a:gd name="T48" fmla="*/ 314 w 328"/>
                  <a:gd name="T49" fmla="*/ 452 h 589"/>
                  <a:gd name="T50" fmla="*/ 296 w 328"/>
                  <a:gd name="T51" fmla="*/ 391 h 589"/>
                  <a:gd name="T52" fmla="*/ 285 w 328"/>
                  <a:gd name="T53" fmla="*/ 359 h 589"/>
                  <a:gd name="T54" fmla="*/ 272 w 328"/>
                  <a:gd name="T55" fmla="*/ 327 h 589"/>
                  <a:gd name="T56" fmla="*/ 260 w 328"/>
                  <a:gd name="T57" fmla="*/ 294 h 589"/>
                  <a:gd name="T58" fmla="*/ 244 w 328"/>
                  <a:gd name="T59" fmla="*/ 260 h 589"/>
                  <a:gd name="T60" fmla="*/ 226 w 328"/>
                  <a:gd name="T61" fmla="*/ 227 h 589"/>
                  <a:gd name="T62" fmla="*/ 209 w 328"/>
                  <a:gd name="T63" fmla="*/ 193 h 589"/>
                  <a:gd name="T64" fmla="*/ 188 w 328"/>
                  <a:gd name="T65" fmla="*/ 158 h 589"/>
                  <a:gd name="T66" fmla="*/ 167 w 328"/>
                  <a:gd name="T67" fmla="*/ 126 h 589"/>
                  <a:gd name="T68" fmla="*/ 143 w 328"/>
                  <a:gd name="T69" fmla="*/ 93 h 589"/>
                  <a:gd name="T70" fmla="*/ 118 w 328"/>
                  <a:gd name="T71" fmla="*/ 61 h 589"/>
                  <a:gd name="T72" fmla="*/ 91 w 328"/>
                  <a:gd name="T73" fmla="*/ 31 h 589"/>
                  <a:gd name="T74" fmla="*/ 60 w 328"/>
                  <a:gd name="T75" fmla="*/ 0 h 589"/>
                  <a:gd name="T76" fmla="*/ 60 w 328"/>
                  <a:gd name="T77" fmla="*/ 0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8" h="589">
                    <a:moveTo>
                      <a:pt x="60" y="0"/>
                    </a:moveTo>
                    <a:lnTo>
                      <a:pt x="60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49" y="55"/>
                    </a:lnTo>
                    <a:lnTo>
                      <a:pt x="81" y="91"/>
                    </a:lnTo>
                    <a:lnTo>
                      <a:pt x="111" y="128"/>
                    </a:lnTo>
                    <a:lnTo>
                      <a:pt x="137" y="168"/>
                    </a:lnTo>
                    <a:lnTo>
                      <a:pt x="162" y="206"/>
                    </a:lnTo>
                    <a:lnTo>
                      <a:pt x="183" y="246"/>
                    </a:lnTo>
                    <a:lnTo>
                      <a:pt x="204" y="286"/>
                    </a:lnTo>
                    <a:lnTo>
                      <a:pt x="221" y="326"/>
                    </a:lnTo>
                    <a:lnTo>
                      <a:pt x="236" y="365"/>
                    </a:lnTo>
                    <a:lnTo>
                      <a:pt x="250" y="402"/>
                    </a:lnTo>
                    <a:lnTo>
                      <a:pt x="261" y="439"/>
                    </a:lnTo>
                    <a:lnTo>
                      <a:pt x="271" y="474"/>
                    </a:lnTo>
                    <a:lnTo>
                      <a:pt x="287" y="538"/>
                    </a:lnTo>
                    <a:lnTo>
                      <a:pt x="296" y="589"/>
                    </a:lnTo>
                    <a:lnTo>
                      <a:pt x="296" y="589"/>
                    </a:lnTo>
                    <a:lnTo>
                      <a:pt x="314" y="549"/>
                    </a:lnTo>
                    <a:lnTo>
                      <a:pt x="328" y="506"/>
                    </a:lnTo>
                    <a:lnTo>
                      <a:pt x="328" y="506"/>
                    </a:lnTo>
                    <a:lnTo>
                      <a:pt x="314" y="452"/>
                    </a:lnTo>
                    <a:lnTo>
                      <a:pt x="296" y="391"/>
                    </a:lnTo>
                    <a:lnTo>
                      <a:pt x="285" y="359"/>
                    </a:lnTo>
                    <a:lnTo>
                      <a:pt x="272" y="327"/>
                    </a:lnTo>
                    <a:lnTo>
                      <a:pt x="260" y="294"/>
                    </a:lnTo>
                    <a:lnTo>
                      <a:pt x="244" y="260"/>
                    </a:lnTo>
                    <a:lnTo>
                      <a:pt x="226" y="227"/>
                    </a:lnTo>
                    <a:lnTo>
                      <a:pt x="209" y="193"/>
                    </a:lnTo>
                    <a:lnTo>
                      <a:pt x="188" y="158"/>
                    </a:lnTo>
                    <a:lnTo>
                      <a:pt x="167" y="126"/>
                    </a:lnTo>
                    <a:lnTo>
                      <a:pt x="143" y="93"/>
                    </a:lnTo>
                    <a:lnTo>
                      <a:pt x="118" y="61"/>
                    </a:lnTo>
                    <a:lnTo>
                      <a:pt x="91" y="31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34"/>
              <p:cNvSpPr>
                <a:spLocks/>
              </p:cNvSpPr>
              <p:nvPr/>
            </p:nvSpPr>
            <p:spPr bwMode="auto">
              <a:xfrm>
                <a:off x="2740" y="1964"/>
                <a:ext cx="161" cy="45"/>
              </a:xfrm>
              <a:custGeom>
                <a:avLst/>
                <a:gdLst>
                  <a:gd name="T0" fmla="*/ 322 w 322"/>
                  <a:gd name="T1" fmla="*/ 49 h 90"/>
                  <a:gd name="T2" fmla="*/ 322 w 322"/>
                  <a:gd name="T3" fmla="*/ 49 h 90"/>
                  <a:gd name="T4" fmla="*/ 287 w 322"/>
                  <a:gd name="T5" fmla="*/ 38 h 90"/>
                  <a:gd name="T6" fmla="*/ 253 w 322"/>
                  <a:gd name="T7" fmla="*/ 30 h 90"/>
                  <a:gd name="T8" fmla="*/ 188 w 322"/>
                  <a:gd name="T9" fmla="*/ 16 h 90"/>
                  <a:gd name="T10" fmla="*/ 129 w 322"/>
                  <a:gd name="T11" fmla="*/ 6 h 90"/>
                  <a:gd name="T12" fmla="*/ 78 w 322"/>
                  <a:gd name="T13" fmla="*/ 0 h 90"/>
                  <a:gd name="T14" fmla="*/ 78 w 322"/>
                  <a:gd name="T15" fmla="*/ 0 h 90"/>
                  <a:gd name="T16" fmla="*/ 38 w 322"/>
                  <a:gd name="T17" fmla="*/ 19 h 90"/>
                  <a:gd name="T18" fmla="*/ 0 w 322"/>
                  <a:gd name="T19" fmla="*/ 41 h 90"/>
                  <a:gd name="T20" fmla="*/ 0 w 322"/>
                  <a:gd name="T21" fmla="*/ 41 h 90"/>
                  <a:gd name="T22" fmla="*/ 51 w 322"/>
                  <a:gd name="T23" fmla="*/ 44 h 90"/>
                  <a:gd name="T24" fmla="*/ 82 w 322"/>
                  <a:gd name="T25" fmla="*/ 47 h 90"/>
                  <a:gd name="T26" fmla="*/ 119 w 322"/>
                  <a:gd name="T27" fmla="*/ 52 h 90"/>
                  <a:gd name="T28" fmla="*/ 159 w 322"/>
                  <a:gd name="T29" fmla="*/ 59 h 90"/>
                  <a:gd name="T30" fmla="*/ 202 w 322"/>
                  <a:gd name="T31" fmla="*/ 67 h 90"/>
                  <a:gd name="T32" fmla="*/ 248 w 322"/>
                  <a:gd name="T33" fmla="*/ 78 h 90"/>
                  <a:gd name="T34" fmla="*/ 295 w 322"/>
                  <a:gd name="T35" fmla="*/ 90 h 90"/>
                  <a:gd name="T36" fmla="*/ 295 w 322"/>
                  <a:gd name="T37" fmla="*/ 90 h 90"/>
                  <a:gd name="T38" fmla="*/ 322 w 322"/>
                  <a:gd name="T39" fmla="*/ 49 h 90"/>
                  <a:gd name="T40" fmla="*/ 322 w 322"/>
                  <a:gd name="T41" fmla="*/ 4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2" h="90">
                    <a:moveTo>
                      <a:pt x="322" y="49"/>
                    </a:moveTo>
                    <a:lnTo>
                      <a:pt x="322" y="49"/>
                    </a:lnTo>
                    <a:lnTo>
                      <a:pt x="287" y="38"/>
                    </a:lnTo>
                    <a:lnTo>
                      <a:pt x="253" y="30"/>
                    </a:lnTo>
                    <a:lnTo>
                      <a:pt x="188" y="16"/>
                    </a:lnTo>
                    <a:lnTo>
                      <a:pt x="129" y="6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38" y="19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1" y="44"/>
                    </a:lnTo>
                    <a:lnTo>
                      <a:pt x="82" y="47"/>
                    </a:lnTo>
                    <a:lnTo>
                      <a:pt x="119" y="52"/>
                    </a:lnTo>
                    <a:lnTo>
                      <a:pt x="159" y="59"/>
                    </a:lnTo>
                    <a:lnTo>
                      <a:pt x="202" y="67"/>
                    </a:lnTo>
                    <a:lnTo>
                      <a:pt x="248" y="78"/>
                    </a:lnTo>
                    <a:lnTo>
                      <a:pt x="295" y="90"/>
                    </a:lnTo>
                    <a:lnTo>
                      <a:pt x="295" y="90"/>
                    </a:lnTo>
                    <a:lnTo>
                      <a:pt x="322" y="49"/>
                    </a:lnTo>
                    <a:lnTo>
                      <a:pt x="322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35"/>
              <p:cNvSpPr>
                <a:spLocks/>
              </p:cNvSpPr>
              <p:nvPr/>
            </p:nvSpPr>
            <p:spPr bwMode="auto">
              <a:xfrm>
                <a:off x="2911" y="1996"/>
                <a:ext cx="140" cy="76"/>
              </a:xfrm>
              <a:custGeom>
                <a:avLst/>
                <a:gdLst>
                  <a:gd name="T0" fmla="*/ 216 w 279"/>
                  <a:gd name="T1" fmla="*/ 151 h 151"/>
                  <a:gd name="T2" fmla="*/ 216 w 279"/>
                  <a:gd name="T3" fmla="*/ 151 h 151"/>
                  <a:gd name="T4" fmla="*/ 279 w 279"/>
                  <a:gd name="T5" fmla="*/ 140 h 151"/>
                  <a:gd name="T6" fmla="*/ 279 w 279"/>
                  <a:gd name="T7" fmla="*/ 140 h 151"/>
                  <a:gd name="T8" fmla="*/ 249 w 279"/>
                  <a:gd name="T9" fmla="*/ 116 h 151"/>
                  <a:gd name="T10" fmla="*/ 219 w 279"/>
                  <a:gd name="T11" fmla="*/ 96 h 151"/>
                  <a:gd name="T12" fmla="*/ 187 w 279"/>
                  <a:gd name="T13" fmla="*/ 75 h 151"/>
                  <a:gd name="T14" fmla="*/ 155 w 279"/>
                  <a:gd name="T15" fmla="*/ 57 h 151"/>
                  <a:gd name="T16" fmla="*/ 123 w 279"/>
                  <a:gd name="T17" fmla="*/ 41 h 151"/>
                  <a:gd name="T18" fmla="*/ 90 w 279"/>
                  <a:gd name="T19" fmla="*/ 25 h 151"/>
                  <a:gd name="T20" fmla="*/ 58 w 279"/>
                  <a:gd name="T21" fmla="*/ 11 h 151"/>
                  <a:gd name="T22" fmla="*/ 26 w 279"/>
                  <a:gd name="T23" fmla="*/ 0 h 151"/>
                  <a:gd name="T24" fmla="*/ 26 w 279"/>
                  <a:gd name="T25" fmla="*/ 0 h 151"/>
                  <a:gd name="T26" fmla="*/ 0 w 279"/>
                  <a:gd name="T27" fmla="*/ 41 h 151"/>
                  <a:gd name="T28" fmla="*/ 0 w 279"/>
                  <a:gd name="T29" fmla="*/ 41 h 151"/>
                  <a:gd name="T30" fmla="*/ 55 w 279"/>
                  <a:gd name="T31" fmla="*/ 62 h 151"/>
                  <a:gd name="T32" fmla="*/ 82 w 279"/>
                  <a:gd name="T33" fmla="*/ 73 h 151"/>
                  <a:gd name="T34" fmla="*/ 109 w 279"/>
                  <a:gd name="T35" fmla="*/ 88 h 151"/>
                  <a:gd name="T36" fmla="*/ 136 w 279"/>
                  <a:gd name="T37" fmla="*/ 102 h 151"/>
                  <a:gd name="T38" fmla="*/ 163 w 279"/>
                  <a:gd name="T39" fmla="*/ 116 h 151"/>
                  <a:gd name="T40" fmla="*/ 190 w 279"/>
                  <a:gd name="T41" fmla="*/ 132 h 151"/>
                  <a:gd name="T42" fmla="*/ 216 w 279"/>
                  <a:gd name="T43" fmla="*/ 151 h 151"/>
                  <a:gd name="T44" fmla="*/ 216 w 279"/>
                  <a:gd name="T45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9" h="151">
                    <a:moveTo>
                      <a:pt x="216" y="151"/>
                    </a:moveTo>
                    <a:lnTo>
                      <a:pt x="216" y="151"/>
                    </a:lnTo>
                    <a:lnTo>
                      <a:pt x="279" y="140"/>
                    </a:lnTo>
                    <a:lnTo>
                      <a:pt x="279" y="140"/>
                    </a:lnTo>
                    <a:lnTo>
                      <a:pt x="249" y="116"/>
                    </a:lnTo>
                    <a:lnTo>
                      <a:pt x="219" y="96"/>
                    </a:lnTo>
                    <a:lnTo>
                      <a:pt x="187" y="75"/>
                    </a:lnTo>
                    <a:lnTo>
                      <a:pt x="155" y="57"/>
                    </a:lnTo>
                    <a:lnTo>
                      <a:pt x="123" y="41"/>
                    </a:lnTo>
                    <a:lnTo>
                      <a:pt x="90" y="25"/>
                    </a:lnTo>
                    <a:lnTo>
                      <a:pt x="58" y="1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5" y="62"/>
                    </a:lnTo>
                    <a:lnTo>
                      <a:pt x="82" y="73"/>
                    </a:lnTo>
                    <a:lnTo>
                      <a:pt x="109" y="88"/>
                    </a:lnTo>
                    <a:lnTo>
                      <a:pt x="136" y="102"/>
                    </a:lnTo>
                    <a:lnTo>
                      <a:pt x="163" y="116"/>
                    </a:lnTo>
                    <a:lnTo>
                      <a:pt x="190" y="132"/>
                    </a:lnTo>
                    <a:lnTo>
                      <a:pt x="216" y="151"/>
                    </a:lnTo>
                    <a:lnTo>
                      <a:pt x="216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36"/>
              <p:cNvSpPr>
                <a:spLocks/>
              </p:cNvSpPr>
              <p:nvPr/>
            </p:nvSpPr>
            <p:spPr bwMode="auto">
              <a:xfrm>
                <a:off x="3019" y="2067"/>
                <a:ext cx="56" cy="25"/>
              </a:xfrm>
              <a:custGeom>
                <a:avLst/>
                <a:gdLst>
                  <a:gd name="T0" fmla="*/ 63 w 111"/>
                  <a:gd name="T1" fmla="*/ 0 h 51"/>
                  <a:gd name="T2" fmla="*/ 63 w 111"/>
                  <a:gd name="T3" fmla="*/ 0 h 51"/>
                  <a:gd name="T4" fmla="*/ 0 w 111"/>
                  <a:gd name="T5" fmla="*/ 11 h 51"/>
                  <a:gd name="T6" fmla="*/ 0 w 111"/>
                  <a:gd name="T7" fmla="*/ 11 h 51"/>
                  <a:gd name="T8" fmla="*/ 25 w 111"/>
                  <a:gd name="T9" fmla="*/ 31 h 51"/>
                  <a:gd name="T10" fmla="*/ 51 w 111"/>
                  <a:gd name="T11" fmla="*/ 51 h 51"/>
                  <a:gd name="T12" fmla="*/ 51 w 111"/>
                  <a:gd name="T13" fmla="*/ 51 h 51"/>
                  <a:gd name="T14" fmla="*/ 111 w 111"/>
                  <a:gd name="T15" fmla="*/ 43 h 51"/>
                  <a:gd name="T16" fmla="*/ 111 w 111"/>
                  <a:gd name="T17" fmla="*/ 43 h 51"/>
                  <a:gd name="T18" fmla="*/ 97 w 111"/>
                  <a:gd name="T19" fmla="*/ 29 h 51"/>
                  <a:gd name="T20" fmla="*/ 97 w 111"/>
                  <a:gd name="T21" fmla="*/ 29 h 51"/>
                  <a:gd name="T22" fmla="*/ 63 w 111"/>
                  <a:gd name="T23" fmla="*/ 0 h 51"/>
                  <a:gd name="T24" fmla="*/ 63 w 111"/>
                  <a:gd name="T2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1" h="51">
                    <a:moveTo>
                      <a:pt x="63" y="0"/>
                    </a:moveTo>
                    <a:lnTo>
                      <a:pt x="63" y="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5" y="31"/>
                    </a:lnTo>
                    <a:lnTo>
                      <a:pt x="51" y="51"/>
                    </a:lnTo>
                    <a:lnTo>
                      <a:pt x="51" y="51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37"/>
              <p:cNvSpPr>
                <a:spLocks/>
              </p:cNvSpPr>
              <p:nvPr/>
            </p:nvSpPr>
            <p:spPr bwMode="auto">
              <a:xfrm>
                <a:off x="2887" y="1989"/>
                <a:ext cx="37" cy="28"/>
              </a:xfrm>
              <a:custGeom>
                <a:avLst/>
                <a:gdLst>
                  <a:gd name="T0" fmla="*/ 73 w 73"/>
                  <a:gd name="T1" fmla="*/ 16 h 57"/>
                  <a:gd name="T2" fmla="*/ 73 w 73"/>
                  <a:gd name="T3" fmla="*/ 16 h 57"/>
                  <a:gd name="T4" fmla="*/ 27 w 73"/>
                  <a:gd name="T5" fmla="*/ 0 h 57"/>
                  <a:gd name="T6" fmla="*/ 27 w 73"/>
                  <a:gd name="T7" fmla="*/ 0 h 57"/>
                  <a:gd name="T8" fmla="*/ 0 w 73"/>
                  <a:gd name="T9" fmla="*/ 41 h 57"/>
                  <a:gd name="T10" fmla="*/ 0 w 73"/>
                  <a:gd name="T11" fmla="*/ 41 h 57"/>
                  <a:gd name="T12" fmla="*/ 47 w 73"/>
                  <a:gd name="T13" fmla="*/ 57 h 57"/>
                  <a:gd name="T14" fmla="*/ 47 w 73"/>
                  <a:gd name="T15" fmla="*/ 57 h 57"/>
                  <a:gd name="T16" fmla="*/ 73 w 73"/>
                  <a:gd name="T17" fmla="*/ 16 h 57"/>
                  <a:gd name="T18" fmla="*/ 73 w 73"/>
                  <a:gd name="T19" fmla="*/ 1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57">
                    <a:moveTo>
                      <a:pt x="73" y="16"/>
                    </a:moveTo>
                    <a:lnTo>
                      <a:pt x="73" y="16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47" y="57"/>
                    </a:lnTo>
                    <a:lnTo>
                      <a:pt x="47" y="57"/>
                    </a:lnTo>
                    <a:lnTo>
                      <a:pt x="73" y="16"/>
                    </a:lnTo>
                    <a:lnTo>
                      <a:pt x="73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32"/>
              <p:cNvSpPr>
                <a:spLocks/>
              </p:cNvSpPr>
              <p:nvPr/>
            </p:nvSpPr>
            <p:spPr bwMode="auto">
              <a:xfrm>
                <a:off x="2848" y="2406"/>
                <a:ext cx="46" cy="42"/>
              </a:xfrm>
              <a:custGeom>
                <a:avLst/>
                <a:gdLst>
                  <a:gd name="T0" fmla="*/ 28 w 91"/>
                  <a:gd name="T1" fmla="*/ 62 h 82"/>
                  <a:gd name="T2" fmla="*/ 28 w 91"/>
                  <a:gd name="T3" fmla="*/ 62 h 82"/>
                  <a:gd name="T4" fmla="*/ 59 w 91"/>
                  <a:gd name="T5" fmla="*/ 73 h 82"/>
                  <a:gd name="T6" fmla="*/ 91 w 91"/>
                  <a:gd name="T7" fmla="*/ 82 h 82"/>
                  <a:gd name="T8" fmla="*/ 91 w 91"/>
                  <a:gd name="T9" fmla="*/ 82 h 82"/>
                  <a:gd name="T10" fmla="*/ 77 w 91"/>
                  <a:gd name="T11" fmla="*/ 54 h 82"/>
                  <a:gd name="T12" fmla="*/ 63 w 91"/>
                  <a:gd name="T13" fmla="*/ 25 h 82"/>
                  <a:gd name="T14" fmla="*/ 63 w 91"/>
                  <a:gd name="T15" fmla="*/ 25 h 82"/>
                  <a:gd name="T16" fmla="*/ 31 w 91"/>
                  <a:gd name="T17" fmla="*/ 12 h 82"/>
                  <a:gd name="T18" fmla="*/ 0 w 91"/>
                  <a:gd name="T19" fmla="*/ 0 h 82"/>
                  <a:gd name="T20" fmla="*/ 0 w 91"/>
                  <a:gd name="T21" fmla="*/ 0 h 82"/>
                  <a:gd name="T22" fmla="*/ 13 w 91"/>
                  <a:gd name="T23" fmla="*/ 31 h 82"/>
                  <a:gd name="T24" fmla="*/ 28 w 91"/>
                  <a:gd name="T25" fmla="*/ 62 h 82"/>
                  <a:gd name="T26" fmla="*/ 28 w 91"/>
                  <a:gd name="T27" fmla="*/ 6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1" h="82">
                    <a:moveTo>
                      <a:pt x="28" y="62"/>
                    </a:moveTo>
                    <a:lnTo>
                      <a:pt x="28" y="62"/>
                    </a:lnTo>
                    <a:lnTo>
                      <a:pt x="59" y="73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77" y="54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31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31"/>
                    </a:lnTo>
                    <a:lnTo>
                      <a:pt x="28" y="62"/>
                    </a:lnTo>
                    <a:lnTo>
                      <a:pt x="28" y="6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13"/>
              <p:cNvSpPr>
                <a:spLocks/>
              </p:cNvSpPr>
              <p:nvPr/>
            </p:nvSpPr>
            <p:spPr bwMode="auto">
              <a:xfrm>
                <a:off x="2834" y="2391"/>
                <a:ext cx="69" cy="66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848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2" grpId="0" animBg="1"/>
      <p:bldP spid="30" grpId="0"/>
      <p:bldP spid="30" grpId="1"/>
      <p:bldP spid="51" grpId="0"/>
      <p:bldP spid="51" grpId="1"/>
      <p:bldP spid="52" grpId="0"/>
      <p:bldP spid="52" grpId="1"/>
      <p:bldP spid="23" grpId="1"/>
      <p:bldP spid="25" grpId="1"/>
      <p:bldP spid="26" grpId="1"/>
      <p:bldP spid="27" grpId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4" name="Group 263"/>
          <p:cNvGrpSpPr/>
          <p:nvPr/>
        </p:nvGrpSpPr>
        <p:grpSpPr>
          <a:xfrm>
            <a:off x="3758512" y="1312646"/>
            <a:ext cx="5916711" cy="5586918"/>
            <a:chOff x="4674920" y="1750191"/>
            <a:chExt cx="7888948" cy="7449224"/>
          </a:xfrm>
        </p:grpSpPr>
        <p:grpSp>
          <p:nvGrpSpPr>
            <p:cNvPr id="262" name="Group 261"/>
            <p:cNvGrpSpPr/>
            <p:nvPr/>
          </p:nvGrpSpPr>
          <p:grpSpPr>
            <a:xfrm>
              <a:off x="6101756" y="2868175"/>
              <a:ext cx="5138395" cy="4315313"/>
              <a:chOff x="973038" y="3214202"/>
              <a:chExt cx="5215145" cy="4448342"/>
            </a:xfrm>
          </p:grpSpPr>
          <p:cxnSp>
            <p:nvCxnSpPr>
              <p:cNvPr id="180" name="Curved Connector 89"/>
              <p:cNvCxnSpPr/>
              <p:nvPr/>
            </p:nvCxnSpPr>
            <p:spPr>
              <a:xfrm>
                <a:off x="1796850" y="3943325"/>
                <a:ext cx="3627593" cy="3719218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81" name="Curved Connector 163"/>
              <p:cNvCxnSpPr/>
              <p:nvPr/>
            </p:nvCxnSpPr>
            <p:spPr>
              <a:xfrm flipV="1">
                <a:off x="1736778" y="4037081"/>
                <a:ext cx="3705198" cy="3625462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82" name="Curved Connector 163"/>
              <p:cNvCxnSpPr/>
              <p:nvPr/>
            </p:nvCxnSpPr>
            <p:spPr>
              <a:xfrm flipV="1">
                <a:off x="973038" y="3943325"/>
                <a:ext cx="823812" cy="1875390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83" name="Curved Connector 163"/>
              <p:cNvCxnSpPr/>
              <p:nvPr/>
            </p:nvCxnSpPr>
            <p:spPr>
              <a:xfrm flipV="1">
                <a:off x="973038" y="4037081"/>
                <a:ext cx="4468938" cy="1781634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84" name="Curved Connector 163"/>
              <p:cNvCxnSpPr/>
              <p:nvPr/>
            </p:nvCxnSpPr>
            <p:spPr>
              <a:xfrm>
                <a:off x="973038" y="5818715"/>
                <a:ext cx="5215145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85" name="Curved Connector 163"/>
              <p:cNvCxnSpPr/>
              <p:nvPr/>
            </p:nvCxnSpPr>
            <p:spPr>
              <a:xfrm>
                <a:off x="973038" y="5818715"/>
                <a:ext cx="763740" cy="1843828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87" name="Curved Connector 163"/>
              <p:cNvCxnSpPr/>
              <p:nvPr/>
            </p:nvCxnSpPr>
            <p:spPr>
              <a:xfrm>
                <a:off x="1736778" y="7662544"/>
                <a:ext cx="3687665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88" name="Curved Connector 163"/>
              <p:cNvCxnSpPr/>
              <p:nvPr/>
            </p:nvCxnSpPr>
            <p:spPr>
              <a:xfrm>
                <a:off x="973038" y="5818715"/>
                <a:ext cx="4451405" cy="1843828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89" name="Curved Connector 163"/>
              <p:cNvCxnSpPr/>
              <p:nvPr/>
            </p:nvCxnSpPr>
            <p:spPr>
              <a:xfrm flipV="1">
                <a:off x="1736778" y="3943325"/>
                <a:ext cx="60072" cy="3719218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90" name="Curved Connector 163"/>
              <p:cNvCxnSpPr/>
              <p:nvPr/>
            </p:nvCxnSpPr>
            <p:spPr>
              <a:xfrm flipH="1" flipV="1">
                <a:off x="5441976" y="4037081"/>
                <a:ext cx="746207" cy="1781634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92" name="Curved Connector 87"/>
              <p:cNvCxnSpPr/>
              <p:nvPr/>
            </p:nvCxnSpPr>
            <p:spPr>
              <a:xfrm>
                <a:off x="3537005" y="3214202"/>
                <a:ext cx="1904971" cy="822879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93" name="Curved Connector 89"/>
              <p:cNvCxnSpPr/>
              <p:nvPr/>
            </p:nvCxnSpPr>
            <p:spPr>
              <a:xfrm>
                <a:off x="3537005" y="3214202"/>
                <a:ext cx="2651178" cy="2604513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94" name="Curved Connector 92"/>
              <p:cNvCxnSpPr/>
              <p:nvPr/>
            </p:nvCxnSpPr>
            <p:spPr>
              <a:xfrm flipH="1">
                <a:off x="1796850" y="3214202"/>
                <a:ext cx="1740155" cy="729123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95" name="Curved Connector 163"/>
              <p:cNvCxnSpPr/>
              <p:nvPr/>
            </p:nvCxnSpPr>
            <p:spPr>
              <a:xfrm flipV="1">
                <a:off x="973038" y="3214202"/>
                <a:ext cx="2563967" cy="2604513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97" name="Curved Connector 163"/>
              <p:cNvCxnSpPr/>
              <p:nvPr/>
            </p:nvCxnSpPr>
            <p:spPr>
              <a:xfrm flipV="1">
                <a:off x="1736778" y="3214202"/>
                <a:ext cx="1800227" cy="4448342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98" name="Curved Connector 89"/>
              <p:cNvCxnSpPr/>
              <p:nvPr/>
            </p:nvCxnSpPr>
            <p:spPr>
              <a:xfrm>
                <a:off x="3537005" y="3214202"/>
                <a:ext cx="1887438" cy="4448342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199" name="Curved Connector 163"/>
              <p:cNvCxnSpPr/>
              <p:nvPr/>
            </p:nvCxnSpPr>
            <p:spPr>
              <a:xfrm>
                <a:off x="1796850" y="3943325"/>
                <a:ext cx="3645126" cy="93756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200" name="Curved Connector 163"/>
              <p:cNvCxnSpPr/>
              <p:nvPr/>
            </p:nvCxnSpPr>
            <p:spPr>
              <a:xfrm flipV="1">
                <a:off x="5424443" y="4037081"/>
                <a:ext cx="17533" cy="3625462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201" name="Curved Connector 163"/>
              <p:cNvCxnSpPr/>
              <p:nvPr/>
            </p:nvCxnSpPr>
            <p:spPr>
              <a:xfrm>
                <a:off x="1796850" y="3943325"/>
                <a:ext cx="4391333" cy="1875390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202" name="Curved Connector 163"/>
              <p:cNvCxnSpPr/>
              <p:nvPr/>
            </p:nvCxnSpPr>
            <p:spPr>
              <a:xfrm flipV="1">
                <a:off x="1736778" y="5818715"/>
                <a:ext cx="4451405" cy="1843828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  <p:cxnSp>
            <p:nvCxnSpPr>
              <p:cNvPr id="203" name="Curved Connector 163"/>
              <p:cNvCxnSpPr/>
              <p:nvPr/>
            </p:nvCxnSpPr>
            <p:spPr>
              <a:xfrm flipV="1">
                <a:off x="5424443" y="5818715"/>
                <a:ext cx="763740" cy="1843828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/>
                </a:solidFill>
                <a:prstDash val="dash"/>
              </a:ln>
              <a:effectLst/>
            </p:spPr>
          </p:cxnSp>
        </p:grpSp>
        <p:sp>
          <p:nvSpPr>
            <p:cNvPr id="263" name="Oval 262"/>
            <p:cNvSpPr>
              <a:spLocks noChangeAspect="1"/>
            </p:cNvSpPr>
            <p:nvPr/>
          </p:nvSpPr>
          <p:spPr bwMode="auto">
            <a:xfrm>
              <a:off x="6088939" y="2873432"/>
              <a:ext cx="5212080" cy="5212079"/>
            </a:xfrm>
            <a:prstGeom prst="ellipse">
              <a:avLst/>
            </a:prstGeom>
            <a:noFill/>
            <a:ln w="6350" cap="flat">
              <a:solidFill>
                <a:schemeClr val="accent1"/>
              </a:solidFill>
              <a:prstDash val="dash"/>
              <a:miter lim="800000"/>
              <a:headEnd type="none" w="med" len="med"/>
              <a:tailEnd type="none" w="med" len="med"/>
            </a:ln>
          </p:spPr>
          <p:txBody>
            <a:bodyPr lIns="68580" tIns="34290" rIns="68580" bIns="34290" rtlCol="0" anchor="ctr"/>
            <a:lstStyle/>
            <a:p>
              <a:pPr algn="ctr" defTabSz="385763">
                <a:defRPr/>
              </a:pPr>
              <a:endParaRPr lang="en-US" sz="1050" kern="0" dirty="0">
                <a:solidFill>
                  <a:srgbClr val="FFFFFF"/>
                </a:solidFill>
                <a:latin typeface="+mj-lt"/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90" name="Oval 89"/>
            <p:cNvSpPr>
              <a:spLocks noChangeAspect="1"/>
            </p:cNvSpPr>
            <p:nvPr/>
          </p:nvSpPr>
          <p:spPr bwMode="auto">
            <a:xfrm>
              <a:off x="4674920" y="1750191"/>
              <a:ext cx="7888948" cy="7449224"/>
            </a:xfrm>
            <a:prstGeom prst="ellipse">
              <a:avLst/>
            </a:prstGeom>
            <a:noFill/>
            <a:ln w="6350" cap="flat">
              <a:solidFill>
                <a:schemeClr val="accent2"/>
              </a:solidFill>
              <a:prstDash val="dash"/>
              <a:miter lim="800000"/>
              <a:headEnd type="none" w="med" len="med"/>
              <a:tailEnd type="none" w="med" len="med"/>
            </a:ln>
          </p:spPr>
          <p:txBody>
            <a:bodyPr lIns="68580" tIns="34290" rIns="68580" bIns="34290" rtlCol="0" anchor="ctr"/>
            <a:lstStyle/>
            <a:p>
              <a:pPr algn="ctr" defTabSz="385763">
                <a:defRPr/>
              </a:pPr>
              <a:endParaRPr lang="en-US" sz="1050" kern="0" dirty="0">
                <a:solidFill>
                  <a:srgbClr val="FFFFFF"/>
                </a:solidFill>
                <a:latin typeface="+mj-lt"/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isco Approach: </a:t>
            </a:r>
            <a:br>
              <a:rPr lang="en-US" dirty="0" smtClean="0"/>
            </a:br>
            <a:r>
              <a:rPr lang="en-US" dirty="0" smtClean="0"/>
              <a:t>Best of Breed Integrated Architectur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8439" y="2025552"/>
            <a:ext cx="3258741" cy="1211793"/>
          </a:xfrm>
          <a:prstGeom prst="rect">
            <a:avLst/>
          </a:prstGeom>
        </p:spPr>
      </p:pic>
      <p:cxnSp>
        <p:nvCxnSpPr>
          <p:cNvPr id="178" name="Curved Connector 109"/>
          <p:cNvCxnSpPr/>
          <p:nvPr/>
        </p:nvCxnSpPr>
        <p:spPr>
          <a:xfrm>
            <a:off x="1554905" y="5746908"/>
            <a:ext cx="1382874" cy="572804"/>
          </a:xfrm>
          <a:prstGeom prst="straightConnector1">
            <a:avLst/>
          </a:prstGeom>
          <a:noFill/>
          <a:ln w="6350" cap="flat" cmpd="sng" algn="ctr">
            <a:solidFill>
              <a:srgbClr val="FFFFFF">
                <a:alpha val="50000"/>
              </a:srgbClr>
            </a:solidFill>
            <a:prstDash val="dash"/>
          </a:ln>
          <a:effectLst/>
        </p:spPr>
      </p:cxnSp>
      <p:cxnSp>
        <p:nvCxnSpPr>
          <p:cNvPr id="179" name="Curved Connector 163"/>
          <p:cNvCxnSpPr/>
          <p:nvPr/>
        </p:nvCxnSpPr>
        <p:spPr>
          <a:xfrm flipV="1">
            <a:off x="2937780" y="4364037"/>
            <a:ext cx="1955680" cy="1955675"/>
          </a:xfrm>
          <a:prstGeom prst="straightConnector1">
            <a:avLst/>
          </a:prstGeom>
          <a:noFill/>
          <a:ln w="6350" cap="flat" cmpd="sng" algn="ctr">
            <a:solidFill>
              <a:srgbClr val="FFFFFF">
                <a:alpha val="50000"/>
              </a:srgbClr>
            </a:solidFill>
            <a:prstDash val="dash"/>
          </a:ln>
          <a:effectLst/>
        </p:spPr>
      </p:cxnSp>
      <p:cxnSp>
        <p:nvCxnSpPr>
          <p:cNvPr id="191" name="Curved Connector 163"/>
          <p:cNvCxnSpPr/>
          <p:nvPr/>
        </p:nvCxnSpPr>
        <p:spPr>
          <a:xfrm flipV="1">
            <a:off x="2937779" y="3007254"/>
            <a:ext cx="1396025" cy="3291901"/>
          </a:xfrm>
          <a:prstGeom prst="straightConnector1">
            <a:avLst/>
          </a:prstGeom>
          <a:noFill/>
          <a:ln w="6350" cap="flat" cmpd="sng" algn="ctr">
            <a:solidFill>
              <a:srgbClr val="FFFFFF">
                <a:alpha val="50000"/>
              </a:srgbClr>
            </a:solidFill>
            <a:prstDash val="dash"/>
          </a:ln>
          <a:effectLst/>
        </p:spPr>
      </p:cxnSp>
      <p:cxnSp>
        <p:nvCxnSpPr>
          <p:cNvPr id="196" name="Curved Connector 163"/>
          <p:cNvCxnSpPr/>
          <p:nvPr/>
        </p:nvCxnSpPr>
        <p:spPr>
          <a:xfrm flipH="1" flipV="1">
            <a:off x="2905075" y="2410652"/>
            <a:ext cx="32705" cy="3909060"/>
          </a:xfrm>
          <a:prstGeom prst="straightConnector1">
            <a:avLst/>
          </a:prstGeom>
          <a:noFill/>
          <a:ln w="6350" cap="flat" cmpd="sng" algn="ctr">
            <a:solidFill>
              <a:srgbClr val="FFFFFF">
                <a:alpha val="50000"/>
              </a:srgbClr>
            </a:solidFill>
            <a:prstDash val="dash"/>
          </a:ln>
          <a:effectLst/>
        </p:spPr>
      </p:cxnSp>
      <p:cxnSp>
        <p:nvCxnSpPr>
          <p:cNvPr id="204" name="Curved Connector 163"/>
          <p:cNvCxnSpPr/>
          <p:nvPr/>
        </p:nvCxnSpPr>
        <p:spPr>
          <a:xfrm flipH="1">
            <a:off x="2937779" y="5746908"/>
            <a:ext cx="1382874" cy="572804"/>
          </a:xfrm>
          <a:prstGeom prst="straightConnector1">
            <a:avLst/>
          </a:prstGeom>
          <a:noFill/>
          <a:ln w="6350" cap="flat" cmpd="sng" algn="ctr">
            <a:solidFill>
              <a:srgbClr val="FFFFFF">
                <a:alpha val="50000"/>
              </a:srgbClr>
            </a:solidFill>
            <a:prstDash val="dash"/>
          </a:ln>
          <a:effectLst/>
        </p:spPr>
      </p:cxnSp>
      <p:sp>
        <p:nvSpPr>
          <p:cNvPr id="206" name="Oval 205"/>
          <p:cNvSpPr>
            <a:spLocks noChangeAspect="1"/>
          </p:cNvSpPr>
          <p:nvPr/>
        </p:nvSpPr>
        <p:spPr bwMode="auto">
          <a:xfrm>
            <a:off x="5077021" y="2513348"/>
            <a:ext cx="411480" cy="411480"/>
          </a:xfrm>
          <a:prstGeom prst="ellipse">
            <a:avLst/>
          </a:prstGeom>
          <a:solidFill>
            <a:srgbClr val="049FD9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68580" tIns="34290" rIns="68580" bIns="34290" rtlCol="0" anchor="ctr"/>
          <a:lstStyle/>
          <a:p>
            <a:pPr algn="ctr" defTabSz="3857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kern="0" dirty="0">
              <a:solidFill>
                <a:sysClr val="windowText" lastClr="000000"/>
              </a:solidFill>
              <a:latin typeface="+mj-lt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07" name="Oval 206"/>
          <p:cNvSpPr>
            <a:spLocks noChangeAspect="1"/>
          </p:cNvSpPr>
          <p:nvPr/>
        </p:nvSpPr>
        <p:spPr bwMode="auto">
          <a:xfrm>
            <a:off x="5555139" y="2118992"/>
            <a:ext cx="411480" cy="411480"/>
          </a:xfrm>
          <a:prstGeom prst="ellipse">
            <a:avLst/>
          </a:prstGeom>
          <a:solidFill>
            <a:srgbClr val="1DD8B4"/>
          </a:solidFill>
          <a:ln w="25400" cap="flat" cmpd="sng" algn="ctr">
            <a:noFill/>
            <a:prstDash val="solid"/>
          </a:ln>
          <a:effectLst/>
        </p:spPr>
        <p:txBody>
          <a:bodyPr lIns="68580" tIns="34290" rIns="68580" bIns="34290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kern="0" dirty="0">
              <a:solidFill>
                <a:sysClr val="windowText" lastClr="000000"/>
              </a:solidFill>
              <a:latin typeface="+mj-lt"/>
              <a:ea typeface="ＭＳ Ｐゴシック" pitchFamily="34" charset="-128"/>
              <a:sym typeface="Arial" pitchFamily="-107" charset="0"/>
            </a:endParaRPr>
          </a:p>
        </p:txBody>
      </p:sp>
      <p:sp>
        <p:nvSpPr>
          <p:cNvPr id="208" name="Oval 207"/>
          <p:cNvSpPr>
            <a:spLocks noChangeAspect="1"/>
          </p:cNvSpPr>
          <p:nvPr/>
        </p:nvSpPr>
        <p:spPr bwMode="auto">
          <a:xfrm>
            <a:off x="6810255" y="1901492"/>
            <a:ext cx="411480" cy="411480"/>
          </a:xfrm>
          <a:prstGeom prst="ellipse">
            <a:avLst/>
          </a:prstGeom>
          <a:solidFill>
            <a:srgbClr val="049FD9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68580" tIns="34290" rIns="68580" bIns="34290" rtlCol="0" anchor="ctr"/>
          <a:lstStyle/>
          <a:p>
            <a:pPr algn="ctr" defTabSz="3857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kern="0" dirty="0">
              <a:solidFill>
                <a:sysClr val="windowText" lastClr="000000"/>
              </a:solidFill>
              <a:latin typeface="+mj-lt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09" name="Oval 208"/>
          <p:cNvSpPr>
            <a:spLocks noChangeAspect="1"/>
          </p:cNvSpPr>
          <p:nvPr/>
        </p:nvSpPr>
        <p:spPr bwMode="auto">
          <a:xfrm>
            <a:off x="4737485" y="3017476"/>
            <a:ext cx="411480" cy="411480"/>
          </a:xfrm>
          <a:prstGeom prst="ellipse">
            <a:avLst/>
          </a:prstGeom>
          <a:solidFill>
            <a:srgbClr val="A6BBC8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68580" tIns="34290" rIns="68580" bIns="34290" rtlCol="0" anchor="ctr"/>
          <a:lstStyle/>
          <a:p>
            <a:pPr algn="ctr" defTabSz="3857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kern="0" dirty="0">
              <a:solidFill>
                <a:sysClr val="windowText" lastClr="000000"/>
              </a:solidFill>
              <a:latin typeface="+mj-lt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0" name="Oval 209"/>
          <p:cNvSpPr>
            <a:spLocks noChangeAspect="1"/>
          </p:cNvSpPr>
          <p:nvPr/>
        </p:nvSpPr>
        <p:spPr bwMode="auto">
          <a:xfrm>
            <a:off x="6152861" y="1901492"/>
            <a:ext cx="411480" cy="411480"/>
          </a:xfrm>
          <a:prstGeom prst="ellipse">
            <a:avLst/>
          </a:prstGeom>
          <a:solidFill>
            <a:srgbClr val="A6BBC8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68580" tIns="34290" rIns="68580" bIns="34290" rtlCol="0" anchor="ctr"/>
          <a:lstStyle/>
          <a:p>
            <a:pPr algn="ctr" defTabSz="3857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kern="0" dirty="0">
              <a:solidFill>
                <a:sysClr val="windowText" lastClr="000000"/>
              </a:solidFill>
              <a:latin typeface="+mj-lt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1" name="Oval 210"/>
          <p:cNvSpPr>
            <a:spLocks noChangeAspect="1"/>
          </p:cNvSpPr>
          <p:nvPr/>
        </p:nvSpPr>
        <p:spPr bwMode="auto">
          <a:xfrm>
            <a:off x="7467803" y="2118992"/>
            <a:ext cx="411480" cy="411480"/>
          </a:xfrm>
          <a:prstGeom prst="ellipse">
            <a:avLst/>
          </a:prstGeom>
          <a:solidFill>
            <a:srgbClr val="1DD8B4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68580" tIns="34290" rIns="68580" bIns="34290" rtlCol="0" anchor="ctr"/>
          <a:lstStyle/>
          <a:p>
            <a:pPr algn="ctr" defTabSz="3857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kern="0" dirty="0">
              <a:solidFill>
                <a:sysClr val="windowText" lastClr="000000"/>
              </a:solidFill>
              <a:latin typeface="+mj-lt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2" name="Oval 211"/>
          <p:cNvSpPr>
            <a:spLocks noChangeAspect="1"/>
          </p:cNvSpPr>
          <p:nvPr/>
        </p:nvSpPr>
        <p:spPr bwMode="auto">
          <a:xfrm>
            <a:off x="7958990" y="2513348"/>
            <a:ext cx="411480" cy="411480"/>
          </a:xfrm>
          <a:prstGeom prst="ellipse">
            <a:avLst/>
          </a:prstGeom>
          <a:solidFill>
            <a:srgbClr val="A6BBC8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68580" tIns="34290" rIns="68580" bIns="34290" rtlCol="0" anchor="ctr"/>
          <a:lstStyle/>
          <a:p>
            <a:pPr algn="ctr" defTabSz="3857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kern="0" dirty="0">
              <a:solidFill>
                <a:sysClr val="windowText" lastClr="000000"/>
              </a:solidFill>
              <a:latin typeface="+mj-lt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3" name="Oval 212"/>
          <p:cNvSpPr>
            <a:spLocks noChangeAspect="1"/>
          </p:cNvSpPr>
          <p:nvPr/>
        </p:nvSpPr>
        <p:spPr bwMode="auto">
          <a:xfrm>
            <a:off x="8270954" y="3017476"/>
            <a:ext cx="411480" cy="411480"/>
          </a:xfrm>
          <a:prstGeom prst="ellipse">
            <a:avLst/>
          </a:prstGeom>
          <a:solidFill>
            <a:srgbClr val="049FD9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68580" tIns="34290" rIns="68580" bIns="34290" rtlCol="0" anchor="ctr"/>
          <a:lstStyle/>
          <a:p>
            <a:pPr algn="ctr" defTabSz="3857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kern="0" dirty="0">
              <a:solidFill>
                <a:sysClr val="windowText" lastClr="000000"/>
              </a:solidFill>
              <a:latin typeface="+mj-lt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4" name="Rectangle 213"/>
          <p:cNvSpPr/>
          <p:nvPr/>
        </p:nvSpPr>
        <p:spPr>
          <a:xfrm>
            <a:off x="6069416" y="1666495"/>
            <a:ext cx="480501" cy="230833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UTM</a:t>
            </a:r>
          </a:p>
        </p:txBody>
      </p:sp>
      <p:grpSp>
        <p:nvGrpSpPr>
          <p:cNvPr id="215" name="Group 214"/>
          <p:cNvGrpSpPr>
            <a:grpSpLocks noChangeAspect="1"/>
          </p:cNvGrpSpPr>
          <p:nvPr/>
        </p:nvGrpSpPr>
        <p:grpSpPr>
          <a:xfrm>
            <a:off x="6249601" y="2004362"/>
            <a:ext cx="218000" cy="205740"/>
            <a:chOff x="6708881" y="680888"/>
            <a:chExt cx="384277" cy="362666"/>
          </a:xfrm>
          <a:solidFill>
            <a:srgbClr val="FFFFFF"/>
          </a:solidFill>
        </p:grpSpPr>
        <p:sp>
          <p:nvSpPr>
            <p:cNvPr id="216" name="Freeform 15"/>
            <p:cNvSpPr>
              <a:spLocks noEditPoints="1"/>
            </p:cNvSpPr>
            <p:nvPr/>
          </p:nvSpPr>
          <p:spPr bwMode="auto">
            <a:xfrm>
              <a:off x="6708881" y="959749"/>
              <a:ext cx="384277" cy="83805"/>
            </a:xfrm>
            <a:custGeom>
              <a:avLst/>
              <a:gdLst>
                <a:gd name="T0" fmla="*/ 20 w 1353"/>
                <a:gd name="T1" fmla="*/ 295 h 295"/>
                <a:gd name="T2" fmla="*/ 20 w 1353"/>
                <a:gd name="T3" fmla="*/ 0 h 295"/>
                <a:gd name="T4" fmla="*/ 1353 w 1353"/>
                <a:gd name="T5" fmla="*/ 275 h 295"/>
                <a:gd name="T6" fmla="*/ 1006 w 1353"/>
                <a:gd name="T7" fmla="*/ 110 h 295"/>
                <a:gd name="T8" fmla="*/ 1063 w 1353"/>
                <a:gd name="T9" fmla="*/ 72 h 295"/>
                <a:gd name="T10" fmla="*/ 252 w 1353"/>
                <a:gd name="T11" fmla="*/ 110 h 295"/>
                <a:gd name="T12" fmla="*/ 310 w 1353"/>
                <a:gd name="T13" fmla="*/ 72 h 295"/>
                <a:gd name="T14" fmla="*/ 346 w 1353"/>
                <a:gd name="T15" fmla="*/ 110 h 295"/>
                <a:gd name="T16" fmla="*/ 404 w 1353"/>
                <a:gd name="T17" fmla="*/ 72 h 295"/>
                <a:gd name="T18" fmla="*/ 440 w 1353"/>
                <a:gd name="T19" fmla="*/ 110 h 295"/>
                <a:gd name="T20" fmla="*/ 498 w 1353"/>
                <a:gd name="T21" fmla="*/ 72 h 295"/>
                <a:gd name="T22" fmla="*/ 535 w 1353"/>
                <a:gd name="T23" fmla="*/ 110 h 295"/>
                <a:gd name="T24" fmla="*/ 592 w 1353"/>
                <a:gd name="T25" fmla="*/ 72 h 295"/>
                <a:gd name="T26" fmla="*/ 629 w 1353"/>
                <a:gd name="T27" fmla="*/ 110 h 295"/>
                <a:gd name="T28" fmla="*/ 686 w 1353"/>
                <a:gd name="T29" fmla="*/ 72 h 295"/>
                <a:gd name="T30" fmla="*/ 723 w 1353"/>
                <a:gd name="T31" fmla="*/ 110 h 295"/>
                <a:gd name="T32" fmla="*/ 781 w 1353"/>
                <a:gd name="T33" fmla="*/ 72 h 295"/>
                <a:gd name="T34" fmla="*/ 817 w 1353"/>
                <a:gd name="T35" fmla="*/ 110 h 295"/>
                <a:gd name="T36" fmla="*/ 875 w 1353"/>
                <a:gd name="T37" fmla="*/ 72 h 295"/>
                <a:gd name="T38" fmla="*/ 911 w 1353"/>
                <a:gd name="T39" fmla="*/ 110 h 295"/>
                <a:gd name="T40" fmla="*/ 969 w 1353"/>
                <a:gd name="T41" fmla="*/ 72 h 295"/>
                <a:gd name="T42" fmla="*/ 1100 w 1353"/>
                <a:gd name="T43" fmla="*/ 110 h 295"/>
                <a:gd name="T44" fmla="*/ 1157 w 1353"/>
                <a:gd name="T45" fmla="*/ 72 h 295"/>
                <a:gd name="T46" fmla="*/ 1194 w 1353"/>
                <a:gd name="T47" fmla="*/ 110 h 295"/>
                <a:gd name="T48" fmla="*/ 1251 w 1353"/>
                <a:gd name="T49" fmla="*/ 72 h 295"/>
                <a:gd name="T50" fmla="*/ 1004 w 1353"/>
                <a:gd name="T51" fmla="*/ 207 h 295"/>
                <a:gd name="T52" fmla="*/ 1062 w 1353"/>
                <a:gd name="T53" fmla="*/ 169 h 295"/>
                <a:gd name="T54" fmla="*/ 251 w 1353"/>
                <a:gd name="T55" fmla="*/ 207 h 295"/>
                <a:gd name="T56" fmla="*/ 309 w 1353"/>
                <a:gd name="T57" fmla="*/ 169 h 295"/>
                <a:gd name="T58" fmla="*/ 345 w 1353"/>
                <a:gd name="T59" fmla="*/ 207 h 295"/>
                <a:gd name="T60" fmla="*/ 403 w 1353"/>
                <a:gd name="T61" fmla="*/ 169 h 295"/>
                <a:gd name="T62" fmla="*/ 439 w 1353"/>
                <a:gd name="T63" fmla="*/ 207 h 295"/>
                <a:gd name="T64" fmla="*/ 497 w 1353"/>
                <a:gd name="T65" fmla="*/ 169 h 295"/>
                <a:gd name="T66" fmla="*/ 534 w 1353"/>
                <a:gd name="T67" fmla="*/ 207 h 295"/>
                <a:gd name="T68" fmla="*/ 591 w 1353"/>
                <a:gd name="T69" fmla="*/ 169 h 295"/>
                <a:gd name="T70" fmla="*/ 628 w 1353"/>
                <a:gd name="T71" fmla="*/ 207 h 295"/>
                <a:gd name="T72" fmla="*/ 685 w 1353"/>
                <a:gd name="T73" fmla="*/ 169 h 295"/>
                <a:gd name="T74" fmla="*/ 722 w 1353"/>
                <a:gd name="T75" fmla="*/ 207 h 295"/>
                <a:gd name="T76" fmla="*/ 779 w 1353"/>
                <a:gd name="T77" fmla="*/ 169 h 295"/>
                <a:gd name="T78" fmla="*/ 816 w 1353"/>
                <a:gd name="T79" fmla="*/ 207 h 295"/>
                <a:gd name="T80" fmla="*/ 874 w 1353"/>
                <a:gd name="T81" fmla="*/ 169 h 295"/>
                <a:gd name="T82" fmla="*/ 910 w 1353"/>
                <a:gd name="T83" fmla="*/ 207 h 295"/>
                <a:gd name="T84" fmla="*/ 968 w 1353"/>
                <a:gd name="T85" fmla="*/ 169 h 295"/>
                <a:gd name="T86" fmla="*/ 1099 w 1353"/>
                <a:gd name="T87" fmla="*/ 207 h 295"/>
                <a:gd name="T88" fmla="*/ 1156 w 1353"/>
                <a:gd name="T89" fmla="*/ 169 h 295"/>
                <a:gd name="T90" fmla="*/ 1193 w 1353"/>
                <a:gd name="T91" fmla="*/ 207 h 295"/>
                <a:gd name="T92" fmla="*/ 1250 w 1353"/>
                <a:gd name="T93" fmla="*/ 169 h 295"/>
                <a:gd name="T94" fmla="*/ 115 w 1353"/>
                <a:gd name="T95" fmla="*/ 17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53" h="295">
                  <a:moveTo>
                    <a:pt x="1353" y="275"/>
                  </a:moveTo>
                  <a:cubicBezTo>
                    <a:pt x="1353" y="286"/>
                    <a:pt x="1344" y="295"/>
                    <a:pt x="1333" y="295"/>
                  </a:cubicBezTo>
                  <a:cubicBezTo>
                    <a:pt x="20" y="295"/>
                    <a:pt x="20" y="295"/>
                    <a:pt x="20" y="295"/>
                  </a:cubicBezTo>
                  <a:cubicBezTo>
                    <a:pt x="9" y="295"/>
                    <a:pt x="0" y="286"/>
                    <a:pt x="0" y="27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1333" y="0"/>
                    <a:pt x="1333" y="0"/>
                    <a:pt x="1333" y="0"/>
                  </a:cubicBezTo>
                  <a:cubicBezTo>
                    <a:pt x="1344" y="0"/>
                    <a:pt x="1353" y="9"/>
                    <a:pt x="1353" y="20"/>
                  </a:cubicBezTo>
                  <a:lnTo>
                    <a:pt x="1353" y="275"/>
                  </a:lnTo>
                  <a:close/>
                  <a:moveTo>
                    <a:pt x="1063" y="72"/>
                  </a:moveTo>
                  <a:cubicBezTo>
                    <a:pt x="1006" y="72"/>
                    <a:pt x="1006" y="72"/>
                    <a:pt x="1006" y="72"/>
                  </a:cubicBezTo>
                  <a:cubicBezTo>
                    <a:pt x="1006" y="110"/>
                    <a:pt x="1006" y="110"/>
                    <a:pt x="1006" y="110"/>
                  </a:cubicBezTo>
                  <a:cubicBezTo>
                    <a:pt x="1032" y="125"/>
                    <a:pt x="1032" y="125"/>
                    <a:pt x="1032" y="125"/>
                  </a:cubicBezTo>
                  <a:cubicBezTo>
                    <a:pt x="1063" y="110"/>
                    <a:pt x="1063" y="110"/>
                    <a:pt x="1063" y="110"/>
                  </a:cubicBezTo>
                  <a:lnTo>
                    <a:pt x="1063" y="72"/>
                  </a:lnTo>
                  <a:close/>
                  <a:moveTo>
                    <a:pt x="310" y="72"/>
                  </a:moveTo>
                  <a:cubicBezTo>
                    <a:pt x="252" y="72"/>
                    <a:pt x="252" y="72"/>
                    <a:pt x="252" y="72"/>
                  </a:cubicBezTo>
                  <a:cubicBezTo>
                    <a:pt x="252" y="110"/>
                    <a:pt x="252" y="110"/>
                    <a:pt x="252" y="110"/>
                  </a:cubicBezTo>
                  <a:cubicBezTo>
                    <a:pt x="279" y="125"/>
                    <a:pt x="279" y="125"/>
                    <a:pt x="279" y="125"/>
                  </a:cubicBezTo>
                  <a:cubicBezTo>
                    <a:pt x="310" y="110"/>
                    <a:pt x="310" y="110"/>
                    <a:pt x="310" y="110"/>
                  </a:cubicBezTo>
                  <a:lnTo>
                    <a:pt x="310" y="72"/>
                  </a:lnTo>
                  <a:close/>
                  <a:moveTo>
                    <a:pt x="404" y="72"/>
                  </a:moveTo>
                  <a:cubicBezTo>
                    <a:pt x="346" y="72"/>
                    <a:pt x="346" y="72"/>
                    <a:pt x="346" y="72"/>
                  </a:cubicBezTo>
                  <a:cubicBezTo>
                    <a:pt x="346" y="110"/>
                    <a:pt x="346" y="110"/>
                    <a:pt x="346" y="110"/>
                  </a:cubicBezTo>
                  <a:cubicBezTo>
                    <a:pt x="373" y="125"/>
                    <a:pt x="373" y="125"/>
                    <a:pt x="373" y="125"/>
                  </a:cubicBezTo>
                  <a:cubicBezTo>
                    <a:pt x="404" y="110"/>
                    <a:pt x="404" y="110"/>
                    <a:pt x="404" y="110"/>
                  </a:cubicBezTo>
                  <a:lnTo>
                    <a:pt x="404" y="72"/>
                  </a:lnTo>
                  <a:close/>
                  <a:moveTo>
                    <a:pt x="498" y="72"/>
                  </a:moveTo>
                  <a:cubicBezTo>
                    <a:pt x="440" y="72"/>
                    <a:pt x="440" y="72"/>
                    <a:pt x="440" y="72"/>
                  </a:cubicBezTo>
                  <a:cubicBezTo>
                    <a:pt x="440" y="110"/>
                    <a:pt x="440" y="110"/>
                    <a:pt x="440" y="110"/>
                  </a:cubicBezTo>
                  <a:cubicBezTo>
                    <a:pt x="467" y="125"/>
                    <a:pt x="467" y="125"/>
                    <a:pt x="467" y="125"/>
                  </a:cubicBezTo>
                  <a:cubicBezTo>
                    <a:pt x="498" y="110"/>
                    <a:pt x="498" y="110"/>
                    <a:pt x="498" y="110"/>
                  </a:cubicBezTo>
                  <a:lnTo>
                    <a:pt x="498" y="72"/>
                  </a:lnTo>
                  <a:close/>
                  <a:moveTo>
                    <a:pt x="592" y="72"/>
                  </a:moveTo>
                  <a:cubicBezTo>
                    <a:pt x="535" y="72"/>
                    <a:pt x="535" y="72"/>
                    <a:pt x="535" y="72"/>
                  </a:cubicBezTo>
                  <a:cubicBezTo>
                    <a:pt x="535" y="110"/>
                    <a:pt x="535" y="110"/>
                    <a:pt x="535" y="110"/>
                  </a:cubicBezTo>
                  <a:cubicBezTo>
                    <a:pt x="562" y="125"/>
                    <a:pt x="562" y="125"/>
                    <a:pt x="562" y="125"/>
                  </a:cubicBezTo>
                  <a:cubicBezTo>
                    <a:pt x="592" y="110"/>
                    <a:pt x="592" y="110"/>
                    <a:pt x="592" y="110"/>
                  </a:cubicBezTo>
                  <a:lnTo>
                    <a:pt x="592" y="72"/>
                  </a:lnTo>
                  <a:close/>
                  <a:moveTo>
                    <a:pt x="686" y="72"/>
                  </a:moveTo>
                  <a:cubicBezTo>
                    <a:pt x="629" y="72"/>
                    <a:pt x="629" y="72"/>
                    <a:pt x="629" y="72"/>
                  </a:cubicBezTo>
                  <a:cubicBezTo>
                    <a:pt x="629" y="110"/>
                    <a:pt x="629" y="110"/>
                    <a:pt x="629" y="110"/>
                  </a:cubicBezTo>
                  <a:cubicBezTo>
                    <a:pt x="656" y="125"/>
                    <a:pt x="656" y="125"/>
                    <a:pt x="656" y="125"/>
                  </a:cubicBezTo>
                  <a:cubicBezTo>
                    <a:pt x="686" y="110"/>
                    <a:pt x="686" y="110"/>
                    <a:pt x="686" y="110"/>
                  </a:cubicBezTo>
                  <a:lnTo>
                    <a:pt x="686" y="72"/>
                  </a:lnTo>
                  <a:close/>
                  <a:moveTo>
                    <a:pt x="781" y="72"/>
                  </a:moveTo>
                  <a:cubicBezTo>
                    <a:pt x="723" y="72"/>
                    <a:pt x="723" y="72"/>
                    <a:pt x="723" y="72"/>
                  </a:cubicBezTo>
                  <a:cubicBezTo>
                    <a:pt x="723" y="110"/>
                    <a:pt x="723" y="110"/>
                    <a:pt x="723" y="110"/>
                  </a:cubicBezTo>
                  <a:cubicBezTo>
                    <a:pt x="750" y="125"/>
                    <a:pt x="750" y="125"/>
                    <a:pt x="750" y="125"/>
                  </a:cubicBezTo>
                  <a:cubicBezTo>
                    <a:pt x="781" y="110"/>
                    <a:pt x="781" y="110"/>
                    <a:pt x="781" y="110"/>
                  </a:cubicBezTo>
                  <a:lnTo>
                    <a:pt x="781" y="72"/>
                  </a:lnTo>
                  <a:close/>
                  <a:moveTo>
                    <a:pt x="875" y="72"/>
                  </a:moveTo>
                  <a:cubicBezTo>
                    <a:pt x="817" y="72"/>
                    <a:pt x="817" y="72"/>
                    <a:pt x="817" y="72"/>
                  </a:cubicBezTo>
                  <a:cubicBezTo>
                    <a:pt x="817" y="110"/>
                    <a:pt x="817" y="110"/>
                    <a:pt x="817" y="110"/>
                  </a:cubicBezTo>
                  <a:cubicBezTo>
                    <a:pt x="844" y="125"/>
                    <a:pt x="844" y="125"/>
                    <a:pt x="844" y="125"/>
                  </a:cubicBezTo>
                  <a:cubicBezTo>
                    <a:pt x="875" y="110"/>
                    <a:pt x="875" y="110"/>
                    <a:pt x="875" y="110"/>
                  </a:cubicBezTo>
                  <a:lnTo>
                    <a:pt x="875" y="72"/>
                  </a:lnTo>
                  <a:close/>
                  <a:moveTo>
                    <a:pt x="969" y="72"/>
                  </a:moveTo>
                  <a:cubicBezTo>
                    <a:pt x="911" y="72"/>
                    <a:pt x="911" y="72"/>
                    <a:pt x="911" y="72"/>
                  </a:cubicBezTo>
                  <a:cubicBezTo>
                    <a:pt x="911" y="110"/>
                    <a:pt x="911" y="110"/>
                    <a:pt x="911" y="110"/>
                  </a:cubicBezTo>
                  <a:cubicBezTo>
                    <a:pt x="938" y="125"/>
                    <a:pt x="938" y="125"/>
                    <a:pt x="938" y="125"/>
                  </a:cubicBezTo>
                  <a:cubicBezTo>
                    <a:pt x="969" y="110"/>
                    <a:pt x="969" y="110"/>
                    <a:pt x="969" y="110"/>
                  </a:cubicBezTo>
                  <a:lnTo>
                    <a:pt x="969" y="72"/>
                  </a:lnTo>
                  <a:close/>
                  <a:moveTo>
                    <a:pt x="1157" y="72"/>
                  </a:moveTo>
                  <a:cubicBezTo>
                    <a:pt x="1100" y="72"/>
                    <a:pt x="1100" y="72"/>
                    <a:pt x="1100" y="72"/>
                  </a:cubicBezTo>
                  <a:cubicBezTo>
                    <a:pt x="1100" y="110"/>
                    <a:pt x="1100" y="110"/>
                    <a:pt x="1100" y="110"/>
                  </a:cubicBezTo>
                  <a:cubicBezTo>
                    <a:pt x="1127" y="125"/>
                    <a:pt x="1127" y="125"/>
                    <a:pt x="1127" y="125"/>
                  </a:cubicBezTo>
                  <a:cubicBezTo>
                    <a:pt x="1157" y="110"/>
                    <a:pt x="1157" y="110"/>
                    <a:pt x="1157" y="110"/>
                  </a:cubicBezTo>
                  <a:lnTo>
                    <a:pt x="1157" y="72"/>
                  </a:lnTo>
                  <a:close/>
                  <a:moveTo>
                    <a:pt x="1251" y="72"/>
                  </a:moveTo>
                  <a:cubicBezTo>
                    <a:pt x="1194" y="72"/>
                    <a:pt x="1194" y="72"/>
                    <a:pt x="1194" y="72"/>
                  </a:cubicBezTo>
                  <a:cubicBezTo>
                    <a:pt x="1194" y="110"/>
                    <a:pt x="1194" y="110"/>
                    <a:pt x="1194" y="110"/>
                  </a:cubicBezTo>
                  <a:cubicBezTo>
                    <a:pt x="1221" y="125"/>
                    <a:pt x="1221" y="125"/>
                    <a:pt x="1221" y="125"/>
                  </a:cubicBezTo>
                  <a:cubicBezTo>
                    <a:pt x="1251" y="110"/>
                    <a:pt x="1251" y="110"/>
                    <a:pt x="1251" y="110"/>
                  </a:cubicBezTo>
                  <a:lnTo>
                    <a:pt x="1251" y="72"/>
                  </a:lnTo>
                  <a:close/>
                  <a:moveTo>
                    <a:pt x="1062" y="169"/>
                  </a:moveTo>
                  <a:cubicBezTo>
                    <a:pt x="1004" y="169"/>
                    <a:pt x="1004" y="169"/>
                    <a:pt x="1004" y="169"/>
                  </a:cubicBezTo>
                  <a:cubicBezTo>
                    <a:pt x="1004" y="207"/>
                    <a:pt x="1004" y="207"/>
                    <a:pt x="1004" y="207"/>
                  </a:cubicBezTo>
                  <a:cubicBezTo>
                    <a:pt x="1031" y="222"/>
                    <a:pt x="1031" y="222"/>
                    <a:pt x="1031" y="222"/>
                  </a:cubicBezTo>
                  <a:cubicBezTo>
                    <a:pt x="1062" y="207"/>
                    <a:pt x="1062" y="207"/>
                    <a:pt x="1062" y="207"/>
                  </a:cubicBezTo>
                  <a:lnTo>
                    <a:pt x="1062" y="169"/>
                  </a:lnTo>
                  <a:close/>
                  <a:moveTo>
                    <a:pt x="309" y="169"/>
                  </a:moveTo>
                  <a:cubicBezTo>
                    <a:pt x="251" y="169"/>
                    <a:pt x="251" y="169"/>
                    <a:pt x="251" y="169"/>
                  </a:cubicBezTo>
                  <a:cubicBezTo>
                    <a:pt x="251" y="207"/>
                    <a:pt x="251" y="207"/>
                    <a:pt x="251" y="207"/>
                  </a:cubicBezTo>
                  <a:cubicBezTo>
                    <a:pt x="278" y="222"/>
                    <a:pt x="278" y="222"/>
                    <a:pt x="278" y="222"/>
                  </a:cubicBezTo>
                  <a:cubicBezTo>
                    <a:pt x="309" y="207"/>
                    <a:pt x="309" y="207"/>
                    <a:pt x="309" y="207"/>
                  </a:cubicBezTo>
                  <a:lnTo>
                    <a:pt x="309" y="169"/>
                  </a:lnTo>
                  <a:close/>
                  <a:moveTo>
                    <a:pt x="403" y="169"/>
                  </a:moveTo>
                  <a:cubicBezTo>
                    <a:pt x="345" y="169"/>
                    <a:pt x="345" y="169"/>
                    <a:pt x="345" y="169"/>
                  </a:cubicBezTo>
                  <a:cubicBezTo>
                    <a:pt x="345" y="207"/>
                    <a:pt x="345" y="207"/>
                    <a:pt x="345" y="207"/>
                  </a:cubicBezTo>
                  <a:cubicBezTo>
                    <a:pt x="372" y="222"/>
                    <a:pt x="372" y="222"/>
                    <a:pt x="372" y="222"/>
                  </a:cubicBezTo>
                  <a:cubicBezTo>
                    <a:pt x="403" y="207"/>
                    <a:pt x="403" y="207"/>
                    <a:pt x="403" y="207"/>
                  </a:cubicBezTo>
                  <a:lnTo>
                    <a:pt x="403" y="169"/>
                  </a:lnTo>
                  <a:close/>
                  <a:moveTo>
                    <a:pt x="497" y="169"/>
                  </a:moveTo>
                  <a:cubicBezTo>
                    <a:pt x="439" y="169"/>
                    <a:pt x="439" y="169"/>
                    <a:pt x="439" y="169"/>
                  </a:cubicBezTo>
                  <a:cubicBezTo>
                    <a:pt x="439" y="207"/>
                    <a:pt x="439" y="207"/>
                    <a:pt x="439" y="207"/>
                  </a:cubicBezTo>
                  <a:cubicBezTo>
                    <a:pt x="466" y="222"/>
                    <a:pt x="466" y="222"/>
                    <a:pt x="466" y="222"/>
                  </a:cubicBezTo>
                  <a:cubicBezTo>
                    <a:pt x="497" y="207"/>
                    <a:pt x="497" y="207"/>
                    <a:pt x="497" y="207"/>
                  </a:cubicBezTo>
                  <a:lnTo>
                    <a:pt x="497" y="169"/>
                  </a:lnTo>
                  <a:close/>
                  <a:moveTo>
                    <a:pt x="591" y="169"/>
                  </a:moveTo>
                  <a:cubicBezTo>
                    <a:pt x="534" y="169"/>
                    <a:pt x="534" y="169"/>
                    <a:pt x="534" y="169"/>
                  </a:cubicBezTo>
                  <a:cubicBezTo>
                    <a:pt x="534" y="207"/>
                    <a:pt x="534" y="207"/>
                    <a:pt x="534" y="207"/>
                  </a:cubicBezTo>
                  <a:cubicBezTo>
                    <a:pt x="560" y="222"/>
                    <a:pt x="560" y="222"/>
                    <a:pt x="560" y="222"/>
                  </a:cubicBezTo>
                  <a:cubicBezTo>
                    <a:pt x="591" y="207"/>
                    <a:pt x="591" y="207"/>
                    <a:pt x="591" y="207"/>
                  </a:cubicBezTo>
                  <a:lnTo>
                    <a:pt x="591" y="169"/>
                  </a:lnTo>
                  <a:close/>
                  <a:moveTo>
                    <a:pt x="685" y="169"/>
                  </a:moveTo>
                  <a:cubicBezTo>
                    <a:pt x="628" y="169"/>
                    <a:pt x="628" y="169"/>
                    <a:pt x="628" y="169"/>
                  </a:cubicBezTo>
                  <a:cubicBezTo>
                    <a:pt x="628" y="207"/>
                    <a:pt x="628" y="207"/>
                    <a:pt x="628" y="207"/>
                  </a:cubicBezTo>
                  <a:cubicBezTo>
                    <a:pt x="655" y="222"/>
                    <a:pt x="655" y="222"/>
                    <a:pt x="655" y="222"/>
                  </a:cubicBezTo>
                  <a:cubicBezTo>
                    <a:pt x="685" y="207"/>
                    <a:pt x="685" y="207"/>
                    <a:pt x="685" y="207"/>
                  </a:cubicBezTo>
                  <a:lnTo>
                    <a:pt x="685" y="169"/>
                  </a:lnTo>
                  <a:close/>
                  <a:moveTo>
                    <a:pt x="779" y="169"/>
                  </a:moveTo>
                  <a:cubicBezTo>
                    <a:pt x="722" y="169"/>
                    <a:pt x="722" y="169"/>
                    <a:pt x="722" y="169"/>
                  </a:cubicBezTo>
                  <a:cubicBezTo>
                    <a:pt x="722" y="207"/>
                    <a:pt x="722" y="207"/>
                    <a:pt x="722" y="207"/>
                  </a:cubicBezTo>
                  <a:cubicBezTo>
                    <a:pt x="749" y="222"/>
                    <a:pt x="749" y="222"/>
                    <a:pt x="749" y="222"/>
                  </a:cubicBezTo>
                  <a:cubicBezTo>
                    <a:pt x="779" y="207"/>
                    <a:pt x="779" y="207"/>
                    <a:pt x="779" y="207"/>
                  </a:cubicBezTo>
                  <a:lnTo>
                    <a:pt x="779" y="169"/>
                  </a:lnTo>
                  <a:close/>
                  <a:moveTo>
                    <a:pt x="874" y="169"/>
                  </a:moveTo>
                  <a:cubicBezTo>
                    <a:pt x="816" y="169"/>
                    <a:pt x="816" y="169"/>
                    <a:pt x="816" y="169"/>
                  </a:cubicBezTo>
                  <a:cubicBezTo>
                    <a:pt x="816" y="207"/>
                    <a:pt x="816" y="207"/>
                    <a:pt x="816" y="207"/>
                  </a:cubicBezTo>
                  <a:cubicBezTo>
                    <a:pt x="843" y="222"/>
                    <a:pt x="843" y="222"/>
                    <a:pt x="843" y="222"/>
                  </a:cubicBezTo>
                  <a:cubicBezTo>
                    <a:pt x="874" y="207"/>
                    <a:pt x="874" y="207"/>
                    <a:pt x="874" y="207"/>
                  </a:cubicBezTo>
                  <a:lnTo>
                    <a:pt x="874" y="169"/>
                  </a:lnTo>
                  <a:close/>
                  <a:moveTo>
                    <a:pt x="968" y="169"/>
                  </a:moveTo>
                  <a:cubicBezTo>
                    <a:pt x="910" y="169"/>
                    <a:pt x="910" y="169"/>
                    <a:pt x="910" y="169"/>
                  </a:cubicBezTo>
                  <a:cubicBezTo>
                    <a:pt x="910" y="207"/>
                    <a:pt x="910" y="207"/>
                    <a:pt x="910" y="207"/>
                  </a:cubicBezTo>
                  <a:cubicBezTo>
                    <a:pt x="937" y="222"/>
                    <a:pt x="937" y="222"/>
                    <a:pt x="937" y="222"/>
                  </a:cubicBezTo>
                  <a:cubicBezTo>
                    <a:pt x="968" y="207"/>
                    <a:pt x="968" y="207"/>
                    <a:pt x="968" y="207"/>
                  </a:cubicBezTo>
                  <a:lnTo>
                    <a:pt x="968" y="169"/>
                  </a:lnTo>
                  <a:close/>
                  <a:moveTo>
                    <a:pt x="1156" y="169"/>
                  </a:moveTo>
                  <a:cubicBezTo>
                    <a:pt x="1099" y="169"/>
                    <a:pt x="1099" y="169"/>
                    <a:pt x="1099" y="169"/>
                  </a:cubicBezTo>
                  <a:cubicBezTo>
                    <a:pt x="1099" y="207"/>
                    <a:pt x="1099" y="207"/>
                    <a:pt x="1099" y="207"/>
                  </a:cubicBezTo>
                  <a:cubicBezTo>
                    <a:pt x="1125" y="222"/>
                    <a:pt x="1125" y="222"/>
                    <a:pt x="1125" y="222"/>
                  </a:cubicBezTo>
                  <a:cubicBezTo>
                    <a:pt x="1156" y="207"/>
                    <a:pt x="1156" y="207"/>
                    <a:pt x="1156" y="207"/>
                  </a:cubicBezTo>
                  <a:lnTo>
                    <a:pt x="1156" y="169"/>
                  </a:lnTo>
                  <a:close/>
                  <a:moveTo>
                    <a:pt x="1250" y="169"/>
                  </a:moveTo>
                  <a:cubicBezTo>
                    <a:pt x="1193" y="169"/>
                    <a:pt x="1193" y="169"/>
                    <a:pt x="1193" y="169"/>
                  </a:cubicBezTo>
                  <a:cubicBezTo>
                    <a:pt x="1193" y="207"/>
                    <a:pt x="1193" y="207"/>
                    <a:pt x="1193" y="207"/>
                  </a:cubicBezTo>
                  <a:cubicBezTo>
                    <a:pt x="1220" y="222"/>
                    <a:pt x="1220" y="222"/>
                    <a:pt x="1220" y="222"/>
                  </a:cubicBezTo>
                  <a:cubicBezTo>
                    <a:pt x="1250" y="207"/>
                    <a:pt x="1250" y="207"/>
                    <a:pt x="1250" y="207"/>
                  </a:cubicBezTo>
                  <a:lnTo>
                    <a:pt x="1250" y="169"/>
                  </a:lnTo>
                  <a:close/>
                  <a:moveTo>
                    <a:pt x="115" y="115"/>
                  </a:moveTo>
                  <a:cubicBezTo>
                    <a:pt x="99" y="115"/>
                    <a:pt x="85" y="129"/>
                    <a:pt x="85" y="145"/>
                  </a:cubicBezTo>
                  <a:cubicBezTo>
                    <a:pt x="85" y="162"/>
                    <a:pt x="99" y="175"/>
                    <a:pt x="115" y="175"/>
                  </a:cubicBezTo>
                  <a:cubicBezTo>
                    <a:pt x="132" y="175"/>
                    <a:pt x="145" y="162"/>
                    <a:pt x="145" y="145"/>
                  </a:cubicBezTo>
                  <a:cubicBezTo>
                    <a:pt x="145" y="129"/>
                    <a:pt x="132" y="115"/>
                    <a:pt x="115" y="11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754">
                <a:defRPr/>
              </a:pPr>
              <a:endParaRPr lang="en-US" sz="7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endParaRPr>
            </a:p>
          </p:txBody>
        </p:sp>
        <p:grpSp>
          <p:nvGrpSpPr>
            <p:cNvPr id="217" name="Group 216"/>
            <p:cNvGrpSpPr/>
            <p:nvPr/>
          </p:nvGrpSpPr>
          <p:grpSpPr>
            <a:xfrm rot="11068569">
              <a:off x="6721420" y="680888"/>
              <a:ext cx="364928" cy="256101"/>
              <a:chOff x="8132578" y="3059072"/>
              <a:chExt cx="789359" cy="553959"/>
            </a:xfrm>
            <a:grpFill/>
          </p:grpSpPr>
          <p:sp>
            <p:nvSpPr>
              <p:cNvPr id="218" name="Freeform 7"/>
              <p:cNvSpPr>
                <a:spLocks/>
              </p:cNvSpPr>
              <p:nvPr/>
            </p:nvSpPr>
            <p:spPr bwMode="auto">
              <a:xfrm>
                <a:off x="8459599" y="3330413"/>
                <a:ext cx="281913" cy="282618"/>
              </a:xfrm>
              <a:custGeom>
                <a:avLst/>
                <a:gdLst/>
                <a:ahLst/>
                <a:cxnLst/>
                <a:rect l="l" t="t" r="r" b="b"/>
                <a:pathLst>
                  <a:path w="281913" h="282618">
                    <a:moveTo>
                      <a:pt x="141765" y="51523"/>
                    </a:moveTo>
                    <a:lnTo>
                      <a:pt x="132619" y="51876"/>
                    </a:lnTo>
                    <a:lnTo>
                      <a:pt x="123473" y="53288"/>
                    </a:lnTo>
                    <a:lnTo>
                      <a:pt x="114678" y="55405"/>
                    </a:lnTo>
                    <a:lnTo>
                      <a:pt x="106588" y="58581"/>
                    </a:lnTo>
                    <a:lnTo>
                      <a:pt x="98497" y="62463"/>
                    </a:lnTo>
                    <a:lnTo>
                      <a:pt x="90758" y="66698"/>
                    </a:lnTo>
                    <a:lnTo>
                      <a:pt x="83722" y="71991"/>
                    </a:lnTo>
                    <a:lnTo>
                      <a:pt x="77390" y="78343"/>
                    </a:lnTo>
                    <a:lnTo>
                      <a:pt x="71410" y="84695"/>
                    </a:lnTo>
                    <a:lnTo>
                      <a:pt x="66134" y="91753"/>
                    </a:lnTo>
                    <a:lnTo>
                      <a:pt x="61560" y="99164"/>
                    </a:lnTo>
                    <a:lnTo>
                      <a:pt x="58043" y="107281"/>
                    </a:lnTo>
                    <a:lnTo>
                      <a:pt x="54877" y="115750"/>
                    </a:lnTo>
                    <a:lnTo>
                      <a:pt x="52766" y="124573"/>
                    </a:lnTo>
                    <a:lnTo>
                      <a:pt x="51007" y="133395"/>
                    </a:lnTo>
                    <a:lnTo>
                      <a:pt x="50655" y="142923"/>
                    </a:lnTo>
                    <a:lnTo>
                      <a:pt x="51359" y="153863"/>
                    </a:lnTo>
                    <a:lnTo>
                      <a:pt x="53470" y="164803"/>
                    </a:lnTo>
                    <a:lnTo>
                      <a:pt x="56636" y="175037"/>
                    </a:lnTo>
                    <a:lnTo>
                      <a:pt x="61209" y="184565"/>
                    </a:lnTo>
                    <a:lnTo>
                      <a:pt x="66485" y="193740"/>
                    </a:lnTo>
                    <a:lnTo>
                      <a:pt x="72817" y="202210"/>
                    </a:lnTo>
                    <a:lnTo>
                      <a:pt x="80204" y="209621"/>
                    </a:lnTo>
                    <a:lnTo>
                      <a:pt x="88025" y="216102"/>
                    </a:lnTo>
                    <a:lnTo>
                      <a:pt x="88082" y="216016"/>
                    </a:lnTo>
                    <a:lnTo>
                      <a:pt x="93711" y="220245"/>
                    </a:lnTo>
                    <a:lnTo>
                      <a:pt x="100043" y="223769"/>
                    </a:lnTo>
                    <a:lnTo>
                      <a:pt x="106375" y="226588"/>
                    </a:lnTo>
                    <a:lnTo>
                      <a:pt x="113410" y="229055"/>
                    </a:lnTo>
                    <a:lnTo>
                      <a:pt x="119742" y="231169"/>
                    </a:lnTo>
                    <a:lnTo>
                      <a:pt x="127130" y="232579"/>
                    </a:lnTo>
                    <a:lnTo>
                      <a:pt x="134165" y="233636"/>
                    </a:lnTo>
                    <a:lnTo>
                      <a:pt x="141553" y="233988"/>
                    </a:lnTo>
                    <a:lnTo>
                      <a:pt x="151051" y="233636"/>
                    </a:lnTo>
                    <a:lnTo>
                      <a:pt x="160197" y="231874"/>
                    </a:lnTo>
                    <a:lnTo>
                      <a:pt x="168640" y="229759"/>
                    </a:lnTo>
                    <a:lnTo>
                      <a:pt x="177434" y="226588"/>
                    </a:lnTo>
                    <a:lnTo>
                      <a:pt x="185525" y="223064"/>
                    </a:lnTo>
                    <a:lnTo>
                      <a:pt x="192561" y="218483"/>
                    </a:lnTo>
                    <a:lnTo>
                      <a:pt x="199597" y="213197"/>
                    </a:lnTo>
                    <a:lnTo>
                      <a:pt x="205929" y="207206"/>
                    </a:lnTo>
                    <a:lnTo>
                      <a:pt x="212261" y="200511"/>
                    </a:lnTo>
                    <a:lnTo>
                      <a:pt x="217537" y="193816"/>
                    </a:lnTo>
                    <a:lnTo>
                      <a:pt x="221759" y="186063"/>
                    </a:lnTo>
                    <a:lnTo>
                      <a:pt x="225628" y="177958"/>
                    </a:lnTo>
                    <a:lnTo>
                      <a:pt x="228794" y="169853"/>
                    </a:lnTo>
                    <a:lnTo>
                      <a:pt x="230905" y="161043"/>
                    </a:lnTo>
                    <a:lnTo>
                      <a:pt x="232312" y="151881"/>
                    </a:lnTo>
                    <a:lnTo>
                      <a:pt x="232664" y="142719"/>
                    </a:lnTo>
                    <a:lnTo>
                      <a:pt x="231960" y="130385"/>
                    </a:lnTo>
                    <a:lnTo>
                      <a:pt x="229498" y="118756"/>
                    </a:lnTo>
                    <a:lnTo>
                      <a:pt x="225980" y="107832"/>
                    </a:lnTo>
                    <a:lnTo>
                      <a:pt x="221055" y="97613"/>
                    </a:lnTo>
                    <a:lnTo>
                      <a:pt x="214371" y="87746"/>
                    </a:lnTo>
                    <a:lnTo>
                      <a:pt x="207336" y="79288"/>
                    </a:lnTo>
                    <a:lnTo>
                      <a:pt x="198893" y="71536"/>
                    </a:lnTo>
                    <a:lnTo>
                      <a:pt x="189395" y="65193"/>
                    </a:lnTo>
                    <a:lnTo>
                      <a:pt x="189411" y="65169"/>
                    </a:lnTo>
                    <a:lnTo>
                      <a:pt x="184330" y="62110"/>
                    </a:lnTo>
                    <a:lnTo>
                      <a:pt x="178701" y="58934"/>
                    </a:lnTo>
                    <a:lnTo>
                      <a:pt x="173073" y="57169"/>
                    </a:lnTo>
                    <a:lnTo>
                      <a:pt x="167444" y="55052"/>
                    </a:lnTo>
                    <a:lnTo>
                      <a:pt x="161113" y="53288"/>
                    </a:lnTo>
                    <a:lnTo>
                      <a:pt x="154781" y="52229"/>
                    </a:lnTo>
                    <a:lnTo>
                      <a:pt x="148449" y="51876"/>
                    </a:lnTo>
                    <a:close/>
                    <a:moveTo>
                      <a:pt x="134378" y="0"/>
                    </a:moveTo>
                    <a:lnTo>
                      <a:pt x="147393" y="0"/>
                    </a:lnTo>
                    <a:lnTo>
                      <a:pt x="151615" y="33172"/>
                    </a:lnTo>
                    <a:lnTo>
                      <a:pt x="154429" y="33525"/>
                    </a:lnTo>
                    <a:lnTo>
                      <a:pt x="156891" y="33878"/>
                    </a:lnTo>
                    <a:lnTo>
                      <a:pt x="159705" y="34231"/>
                    </a:lnTo>
                    <a:lnTo>
                      <a:pt x="162168" y="34584"/>
                    </a:lnTo>
                    <a:lnTo>
                      <a:pt x="164982" y="34937"/>
                    </a:lnTo>
                    <a:lnTo>
                      <a:pt x="167444" y="35996"/>
                    </a:lnTo>
                    <a:lnTo>
                      <a:pt x="169907" y="36348"/>
                    </a:lnTo>
                    <a:lnTo>
                      <a:pt x="172369" y="37054"/>
                    </a:lnTo>
                    <a:lnTo>
                      <a:pt x="188903" y="8117"/>
                    </a:lnTo>
                    <a:lnTo>
                      <a:pt x="200863" y="13057"/>
                    </a:lnTo>
                    <a:lnTo>
                      <a:pt x="192069" y="45524"/>
                    </a:lnTo>
                    <a:lnTo>
                      <a:pt x="194179" y="46582"/>
                    </a:lnTo>
                    <a:lnTo>
                      <a:pt x="196290" y="47641"/>
                    </a:lnTo>
                    <a:lnTo>
                      <a:pt x="197697" y="49053"/>
                    </a:lnTo>
                    <a:lnTo>
                      <a:pt x="199808" y="50111"/>
                    </a:lnTo>
                    <a:lnTo>
                      <a:pt x="199772" y="50165"/>
                    </a:lnTo>
                    <a:lnTo>
                      <a:pt x="202059" y="51802"/>
                    </a:lnTo>
                    <a:lnTo>
                      <a:pt x="204873" y="53564"/>
                    </a:lnTo>
                    <a:lnTo>
                      <a:pt x="207336" y="55326"/>
                    </a:lnTo>
                    <a:lnTo>
                      <a:pt x="209798" y="57440"/>
                    </a:lnTo>
                    <a:lnTo>
                      <a:pt x="236182" y="36649"/>
                    </a:lnTo>
                    <a:lnTo>
                      <a:pt x="244976" y="46164"/>
                    </a:lnTo>
                    <a:lnTo>
                      <a:pt x="224573" y="72241"/>
                    </a:lnTo>
                    <a:lnTo>
                      <a:pt x="227739" y="76469"/>
                    </a:lnTo>
                    <a:lnTo>
                      <a:pt x="230905" y="81050"/>
                    </a:lnTo>
                    <a:lnTo>
                      <a:pt x="233719" y="85279"/>
                    </a:lnTo>
                    <a:lnTo>
                      <a:pt x="236533" y="90213"/>
                    </a:lnTo>
                    <a:lnTo>
                      <a:pt x="268545" y="81403"/>
                    </a:lnTo>
                    <a:lnTo>
                      <a:pt x="273119" y="93032"/>
                    </a:lnTo>
                    <a:lnTo>
                      <a:pt x="244624" y="109594"/>
                    </a:lnTo>
                    <a:lnTo>
                      <a:pt x="245680" y="114880"/>
                    </a:lnTo>
                    <a:lnTo>
                      <a:pt x="247087" y="120166"/>
                    </a:lnTo>
                    <a:lnTo>
                      <a:pt x="247790" y="125452"/>
                    </a:lnTo>
                    <a:lnTo>
                      <a:pt x="248494" y="130738"/>
                    </a:lnTo>
                    <a:lnTo>
                      <a:pt x="281913" y="134966"/>
                    </a:lnTo>
                    <a:lnTo>
                      <a:pt x="281913" y="148005"/>
                    </a:lnTo>
                    <a:lnTo>
                      <a:pt x="248494" y="151881"/>
                    </a:lnTo>
                    <a:lnTo>
                      <a:pt x="247790" y="157167"/>
                    </a:lnTo>
                    <a:lnTo>
                      <a:pt x="247087" y="162453"/>
                    </a:lnTo>
                    <a:lnTo>
                      <a:pt x="245680" y="167739"/>
                    </a:lnTo>
                    <a:lnTo>
                      <a:pt x="244273" y="172672"/>
                    </a:lnTo>
                    <a:lnTo>
                      <a:pt x="273119" y="189234"/>
                    </a:lnTo>
                    <a:lnTo>
                      <a:pt x="268545" y="201568"/>
                    </a:lnTo>
                    <a:lnTo>
                      <a:pt x="236182" y="192406"/>
                    </a:lnTo>
                    <a:lnTo>
                      <a:pt x="233719" y="196987"/>
                    </a:lnTo>
                    <a:lnTo>
                      <a:pt x="230905" y="201568"/>
                    </a:lnTo>
                    <a:lnTo>
                      <a:pt x="227387" y="205797"/>
                    </a:lnTo>
                    <a:lnTo>
                      <a:pt x="224221" y="210026"/>
                    </a:lnTo>
                    <a:lnTo>
                      <a:pt x="244976" y="236807"/>
                    </a:lnTo>
                    <a:lnTo>
                      <a:pt x="236182" y="245617"/>
                    </a:lnTo>
                    <a:lnTo>
                      <a:pt x="209446" y="224826"/>
                    </a:lnTo>
                    <a:lnTo>
                      <a:pt x="207336" y="226588"/>
                    </a:lnTo>
                    <a:lnTo>
                      <a:pt x="204873" y="228350"/>
                    </a:lnTo>
                    <a:lnTo>
                      <a:pt x="202763" y="229759"/>
                    </a:lnTo>
                    <a:lnTo>
                      <a:pt x="200652" y="231521"/>
                    </a:lnTo>
                    <a:lnTo>
                      <a:pt x="198893" y="232579"/>
                    </a:lnTo>
                    <a:lnTo>
                      <a:pt x="196430" y="234341"/>
                    </a:lnTo>
                    <a:lnTo>
                      <a:pt x="194320" y="235398"/>
                    </a:lnTo>
                    <a:lnTo>
                      <a:pt x="191857" y="236807"/>
                    </a:lnTo>
                    <a:lnTo>
                      <a:pt x="200652" y="269227"/>
                    </a:lnTo>
                    <a:lnTo>
                      <a:pt x="188691" y="274513"/>
                    </a:lnTo>
                    <a:lnTo>
                      <a:pt x="172158" y="244912"/>
                    </a:lnTo>
                    <a:lnTo>
                      <a:pt x="169695" y="245617"/>
                    </a:lnTo>
                    <a:lnTo>
                      <a:pt x="166881" y="245969"/>
                    </a:lnTo>
                    <a:lnTo>
                      <a:pt x="164419" y="247027"/>
                    </a:lnTo>
                    <a:lnTo>
                      <a:pt x="161956" y="247379"/>
                    </a:lnTo>
                    <a:lnTo>
                      <a:pt x="159142" y="247731"/>
                    </a:lnTo>
                    <a:lnTo>
                      <a:pt x="156679" y="248084"/>
                    </a:lnTo>
                    <a:lnTo>
                      <a:pt x="153865" y="248436"/>
                    </a:lnTo>
                    <a:lnTo>
                      <a:pt x="151403" y="248789"/>
                    </a:lnTo>
                    <a:lnTo>
                      <a:pt x="147181" y="282618"/>
                    </a:lnTo>
                    <a:lnTo>
                      <a:pt x="134165" y="282618"/>
                    </a:lnTo>
                    <a:lnTo>
                      <a:pt x="129944" y="248789"/>
                    </a:lnTo>
                    <a:lnTo>
                      <a:pt x="127482" y="248436"/>
                    </a:lnTo>
                    <a:lnTo>
                      <a:pt x="124667" y="248084"/>
                    </a:lnTo>
                    <a:lnTo>
                      <a:pt x="122205" y="247731"/>
                    </a:lnTo>
                    <a:lnTo>
                      <a:pt x="119742" y="247379"/>
                    </a:lnTo>
                    <a:lnTo>
                      <a:pt x="116928" y="247027"/>
                    </a:lnTo>
                    <a:lnTo>
                      <a:pt x="114466" y="245969"/>
                    </a:lnTo>
                    <a:lnTo>
                      <a:pt x="112003" y="245617"/>
                    </a:lnTo>
                    <a:lnTo>
                      <a:pt x="109541" y="244912"/>
                    </a:lnTo>
                    <a:lnTo>
                      <a:pt x="92655" y="274513"/>
                    </a:lnTo>
                    <a:lnTo>
                      <a:pt x="80695" y="269227"/>
                    </a:lnTo>
                    <a:lnTo>
                      <a:pt x="89841" y="236807"/>
                    </a:lnTo>
                    <a:lnTo>
                      <a:pt x="87027" y="235045"/>
                    </a:lnTo>
                    <a:lnTo>
                      <a:pt x="84213" y="233636"/>
                    </a:lnTo>
                    <a:lnTo>
                      <a:pt x="81750" y="231521"/>
                    </a:lnTo>
                    <a:lnTo>
                      <a:pt x="79241" y="229950"/>
                    </a:lnTo>
                    <a:lnTo>
                      <a:pt x="79149" y="230089"/>
                    </a:lnTo>
                    <a:lnTo>
                      <a:pt x="77390" y="229030"/>
                    </a:lnTo>
                    <a:lnTo>
                      <a:pt x="75631" y="227619"/>
                    </a:lnTo>
                    <a:lnTo>
                      <a:pt x="74224" y="226560"/>
                    </a:lnTo>
                    <a:lnTo>
                      <a:pt x="72465" y="225148"/>
                    </a:lnTo>
                    <a:lnTo>
                      <a:pt x="45731" y="245969"/>
                    </a:lnTo>
                    <a:lnTo>
                      <a:pt x="36936" y="237147"/>
                    </a:lnTo>
                    <a:lnTo>
                      <a:pt x="56987" y="210327"/>
                    </a:lnTo>
                    <a:lnTo>
                      <a:pt x="53821" y="205739"/>
                    </a:lnTo>
                    <a:lnTo>
                      <a:pt x="51007" y="201857"/>
                    </a:lnTo>
                    <a:lnTo>
                      <a:pt x="48193" y="197269"/>
                    </a:lnTo>
                    <a:lnTo>
                      <a:pt x="45379" y="192682"/>
                    </a:lnTo>
                    <a:lnTo>
                      <a:pt x="13367" y="201857"/>
                    </a:lnTo>
                    <a:lnTo>
                      <a:pt x="8443" y="189506"/>
                    </a:lnTo>
                    <a:lnTo>
                      <a:pt x="37640" y="172920"/>
                    </a:lnTo>
                    <a:lnTo>
                      <a:pt x="36585" y="167979"/>
                    </a:lnTo>
                    <a:lnTo>
                      <a:pt x="35177" y="162686"/>
                    </a:lnTo>
                    <a:lnTo>
                      <a:pt x="34474" y="157392"/>
                    </a:lnTo>
                    <a:lnTo>
                      <a:pt x="33770" y="152099"/>
                    </a:lnTo>
                    <a:lnTo>
                      <a:pt x="0" y="148217"/>
                    </a:lnTo>
                    <a:lnTo>
                      <a:pt x="0" y="135160"/>
                    </a:lnTo>
                    <a:lnTo>
                      <a:pt x="33770" y="130572"/>
                    </a:lnTo>
                    <a:lnTo>
                      <a:pt x="34122" y="125278"/>
                    </a:lnTo>
                    <a:lnTo>
                      <a:pt x="35177" y="119985"/>
                    </a:lnTo>
                    <a:lnTo>
                      <a:pt x="36233" y="115044"/>
                    </a:lnTo>
                    <a:lnTo>
                      <a:pt x="37640" y="109751"/>
                    </a:lnTo>
                    <a:lnTo>
                      <a:pt x="8443" y="93165"/>
                    </a:lnTo>
                    <a:lnTo>
                      <a:pt x="13367" y="81519"/>
                    </a:lnTo>
                    <a:lnTo>
                      <a:pt x="45379" y="90342"/>
                    </a:lnTo>
                    <a:lnTo>
                      <a:pt x="47841" y="85401"/>
                    </a:lnTo>
                    <a:lnTo>
                      <a:pt x="50655" y="81166"/>
                    </a:lnTo>
                    <a:lnTo>
                      <a:pt x="53821" y="76932"/>
                    </a:lnTo>
                    <a:lnTo>
                      <a:pt x="56987" y="72344"/>
                    </a:lnTo>
                    <a:lnTo>
                      <a:pt x="36936" y="46230"/>
                    </a:lnTo>
                    <a:lnTo>
                      <a:pt x="45731" y="36701"/>
                    </a:lnTo>
                    <a:lnTo>
                      <a:pt x="72114" y="57522"/>
                    </a:lnTo>
                    <a:lnTo>
                      <a:pt x="74224" y="55758"/>
                    </a:lnTo>
                    <a:lnTo>
                      <a:pt x="76335" y="54346"/>
                    </a:lnTo>
                    <a:lnTo>
                      <a:pt x="78094" y="52582"/>
                    </a:lnTo>
                    <a:lnTo>
                      <a:pt x="80556" y="50817"/>
                    </a:lnTo>
                    <a:lnTo>
                      <a:pt x="82667" y="49759"/>
                    </a:lnTo>
                    <a:lnTo>
                      <a:pt x="85129" y="47994"/>
                    </a:lnTo>
                    <a:lnTo>
                      <a:pt x="87240" y="46935"/>
                    </a:lnTo>
                    <a:lnTo>
                      <a:pt x="89702" y="45524"/>
                    </a:lnTo>
                    <a:lnTo>
                      <a:pt x="80908" y="13057"/>
                    </a:lnTo>
                    <a:lnTo>
                      <a:pt x="92868" y="8117"/>
                    </a:lnTo>
                    <a:lnTo>
                      <a:pt x="109402" y="37054"/>
                    </a:lnTo>
                    <a:lnTo>
                      <a:pt x="111864" y="36348"/>
                    </a:lnTo>
                    <a:lnTo>
                      <a:pt x="114327" y="35996"/>
                    </a:lnTo>
                    <a:lnTo>
                      <a:pt x="117141" y="34937"/>
                    </a:lnTo>
                    <a:lnTo>
                      <a:pt x="119603" y="34584"/>
                    </a:lnTo>
                    <a:lnTo>
                      <a:pt x="122417" y="34231"/>
                    </a:lnTo>
                    <a:lnTo>
                      <a:pt x="124880" y="33878"/>
                    </a:lnTo>
                    <a:lnTo>
                      <a:pt x="127694" y="33525"/>
                    </a:lnTo>
                    <a:lnTo>
                      <a:pt x="130156" y="3317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defTabSz="342892">
                  <a:defRPr/>
                </a:pPr>
                <a:endParaRPr lang="en-US" sz="750" kern="0" dirty="0">
                  <a:solidFill>
                    <a:sysClr val="windowText" lastClr="000000"/>
                  </a:solidFill>
                  <a:latin typeface="+mj-lt"/>
                  <a:ea typeface="ＭＳ Ｐゴシック" pitchFamily="34" charset="-128"/>
                  <a:cs typeface="CiscoSansTT Light"/>
                </a:endParaRPr>
              </a:p>
            </p:txBody>
          </p:sp>
          <p:sp>
            <p:nvSpPr>
              <p:cNvPr id="219" name="Freeform 11"/>
              <p:cNvSpPr>
                <a:spLocks/>
              </p:cNvSpPr>
              <p:nvPr/>
            </p:nvSpPr>
            <p:spPr bwMode="auto">
              <a:xfrm>
                <a:off x="8583640" y="3059072"/>
                <a:ext cx="338297" cy="337591"/>
              </a:xfrm>
              <a:custGeom>
                <a:avLst/>
                <a:gdLst/>
                <a:ahLst/>
                <a:cxnLst/>
                <a:rect l="l" t="t" r="r" b="b"/>
                <a:pathLst>
                  <a:path w="338297" h="337591">
                    <a:moveTo>
                      <a:pt x="164083" y="61316"/>
                    </a:moveTo>
                    <a:lnTo>
                      <a:pt x="153144" y="62373"/>
                    </a:lnTo>
                    <a:lnTo>
                      <a:pt x="142558" y="64840"/>
                    </a:lnTo>
                    <a:lnTo>
                      <a:pt x="132325" y="67659"/>
                    </a:lnTo>
                    <a:lnTo>
                      <a:pt x="122444" y="71888"/>
                    </a:lnTo>
                    <a:lnTo>
                      <a:pt x="113623" y="77174"/>
                    </a:lnTo>
                    <a:lnTo>
                      <a:pt x="104801" y="82812"/>
                    </a:lnTo>
                    <a:lnTo>
                      <a:pt x="96685" y="89860"/>
                    </a:lnTo>
                    <a:lnTo>
                      <a:pt x="89275" y="96908"/>
                    </a:lnTo>
                    <a:lnTo>
                      <a:pt x="82218" y="105013"/>
                    </a:lnTo>
                    <a:lnTo>
                      <a:pt x="76219" y="114175"/>
                    </a:lnTo>
                    <a:lnTo>
                      <a:pt x="71279" y="123337"/>
                    </a:lnTo>
                    <a:lnTo>
                      <a:pt x="67044" y="133557"/>
                    </a:lnTo>
                    <a:lnTo>
                      <a:pt x="63516" y="144128"/>
                    </a:lnTo>
                    <a:lnTo>
                      <a:pt x="61752" y="155052"/>
                    </a:lnTo>
                    <a:lnTo>
                      <a:pt x="60340" y="168443"/>
                    </a:lnTo>
                    <a:lnTo>
                      <a:pt x="60693" y="181482"/>
                    </a:lnTo>
                    <a:lnTo>
                      <a:pt x="62810" y="193815"/>
                    </a:lnTo>
                    <a:lnTo>
                      <a:pt x="66692" y="206502"/>
                    </a:lnTo>
                    <a:lnTo>
                      <a:pt x="71279" y="218483"/>
                    </a:lnTo>
                    <a:lnTo>
                      <a:pt x="77630" y="229407"/>
                    </a:lnTo>
                    <a:lnTo>
                      <a:pt x="84688" y="239274"/>
                    </a:lnTo>
                    <a:lnTo>
                      <a:pt x="93509" y="248789"/>
                    </a:lnTo>
                    <a:lnTo>
                      <a:pt x="93464" y="248838"/>
                    </a:lnTo>
                    <a:lnTo>
                      <a:pt x="99760" y="254427"/>
                    </a:lnTo>
                    <a:lnTo>
                      <a:pt x="106111" y="259713"/>
                    </a:lnTo>
                    <a:lnTo>
                      <a:pt x="113169" y="264294"/>
                    </a:lnTo>
                    <a:lnTo>
                      <a:pt x="120932" y="268170"/>
                    </a:lnTo>
                    <a:lnTo>
                      <a:pt x="128695" y="272046"/>
                    </a:lnTo>
                    <a:lnTo>
                      <a:pt x="136811" y="274865"/>
                    </a:lnTo>
                    <a:lnTo>
                      <a:pt x="145279" y="277332"/>
                    </a:lnTo>
                    <a:lnTo>
                      <a:pt x="154101" y="278742"/>
                    </a:lnTo>
                    <a:lnTo>
                      <a:pt x="165746" y="280151"/>
                    </a:lnTo>
                    <a:lnTo>
                      <a:pt x="176684" y="279447"/>
                    </a:lnTo>
                    <a:lnTo>
                      <a:pt x="187270" y="278389"/>
                    </a:lnTo>
                    <a:lnTo>
                      <a:pt x="197856" y="276275"/>
                    </a:lnTo>
                    <a:lnTo>
                      <a:pt x="207737" y="273103"/>
                    </a:lnTo>
                    <a:lnTo>
                      <a:pt x="217617" y="269227"/>
                    </a:lnTo>
                    <a:lnTo>
                      <a:pt x="226791" y="264294"/>
                    </a:lnTo>
                    <a:lnTo>
                      <a:pt x="235966" y="257951"/>
                    </a:lnTo>
                    <a:lnTo>
                      <a:pt x="244082" y="251608"/>
                    </a:lnTo>
                    <a:lnTo>
                      <a:pt x="251492" y="244207"/>
                    </a:lnTo>
                    <a:lnTo>
                      <a:pt x="258196" y="236102"/>
                    </a:lnTo>
                    <a:lnTo>
                      <a:pt x="263842" y="227293"/>
                    </a:lnTo>
                    <a:lnTo>
                      <a:pt x="269135" y="217778"/>
                    </a:lnTo>
                    <a:lnTo>
                      <a:pt x="273370" y="208263"/>
                    </a:lnTo>
                    <a:lnTo>
                      <a:pt x="276546" y="197692"/>
                    </a:lnTo>
                    <a:lnTo>
                      <a:pt x="278663" y="186768"/>
                    </a:lnTo>
                    <a:lnTo>
                      <a:pt x="279721" y="171967"/>
                    </a:lnTo>
                    <a:lnTo>
                      <a:pt x="279016" y="157871"/>
                    </a:lnTo>
                    <a:lnTo>
                      <a:pt x="276546" y="144128"/>
                    </a:lnTo>
                    <a:lnTo>
                      <a:pt x="272311" y="131090"/>
                    </a:lnTo>
                    <a:lnTo>
                      <a:pt x="266312" y="118404"/>
                    </a:lnTo>
                    <a:lnTo>
                      <a:pt x="259608" y="106775"/>
                    </a:lnTo>
                    <a:lnTo>
                      <a:pt x="250433" y="96203"/>
                    </a:lnTo>
                    <a:lnTo>
                      <a:pt x="240906" y="86688"/>
                    </a:lnTo>
                    <a:lnTo>
                      <a:pt x="240944" y="86647"/>
                    </a:lnTo>
                    <a:lnTo>
                      <a:pt x="234656" y="82460"/>
                    </a:lnTo>
                    <a:lnTo>
                      <a:pt x="228657" y="78231"/>
                    </a:lnTo>
                    <a:lnTo>
                      <a:pt x="222305" y="74355"/>
                    </a:lnTo>
                    <a:lnTo>
                      <a:pt x="215601" y="71183"/>
                    </a:lnTo>
                    <a:lnTo>
                      <a:pt x="208897" y="68012"/>
                    </a:lnTo>
                    <a:lnTo>
                      <a:pt x="201486" y="65897"/>
                    </a:lnTo>
                    <a:lnTo>
                      <a:pt x="193723" y="63783"/>
                    </a:lnTo>
                    <a:lnTo>
                      <a:pt x="185960" y="62373"/>
                    </a:lnTo>
                    <a:lnTo>
                      <a:pt x="175021" y="61316"/>
                    </a:lnTo>
                    <a:close/>
                    <a:moveTo>
                      <a:pt x="185960" y="0"/>
                    </a:moveTo>
                    <a:lnTo>
                      <a:pt x="201486" y="2467"/>
                    </a:lnTo>
                    <a:lnTo>
                      <a:pt x="200781" y="42640"/>
                    </a:lnTo>
                    <a:lnTo>
                      <a:pt x="203956" y="43344"/>
                    </a:lnTo>
                    <a:lnTo>
                      <a:pt x="207132" y="44401"/>
                    </a:lnTo>
                    <a:lnTo>
                      <a:pt x="209955" y="45106"/>
                    </a:lnTo>
                    <a:lnTo>
                      <a:pt x="213131" y="46163"/>
                    </a:lnTo>
                    <a:lnTo>
                      <a:pt x="215954" y="47573"/>
                    </a:lnTo>
                    <a:lnTo>
                      <a:pt x="218777" y="48630"/>
                    </a:lnTo>
                    <a:lnTo>
                      <a:pt x="221600" y="50040"/>
                    </a:lnTo>
                    <a:lnTo>
                      <a:pt x="224776" y="51097"/>
                    </a:lnTo>
                    <a:lnTo>
                      <a:pt x="249476" y="19382"/>
                    </a:lnTo>
                    <a:lnTo>
                      <a:pt x="262885" y="27487"/>
                    </a:lnTo>
                    <a:lnTo>
                      <a:pt x="246653" y="64135"/>
                    </a:lnTo>
                    <a:lnTo>
                      <a:pt x="249123" y="65897"/>
                    </a:lnTo>
                    <a:lnTo>
                      <a:pt x="250888" y="67307"/>
                    </a:lnTo>
                    <a:lnTo>
                      <a:pt x="253005" y="69421"/>
                    </a:lnTo>
                    <a:lnTo>
                      <a:pt x="255122" y="71183"/>
                    </a:lnTo>
                    <a:lnTo>
                      <a:pt x="255081" y="71228"/>
                    </a:lnTo>
                    <a:lnTo>
                      <a:pt x="257844" y="73297"/>
                    </a:lnTo>
                    <a:lnTo>
                      <a:pt x="260314" y="75764"/>
                    </a:lnTo>
                    <a:lnTo>
                      <a:pt x="263137" y="78231"/>
                    </a:lnTo>
                    <a:lnTo>
                      <a:pt x="265607" y="81050"/>
                    </a:lnTo>
                    <a:lnTo>
                      <a:pt x="300540" y="61316"/>
                    </a:lnTo>
                    <a:lnTo>
                      <a:pt x="309715" y="74002"/>
                    </a:lnTo>
                    <a:lnTo>
                      <a:pt x="281133" y="101841"/>
                    </a:lnTo>
                    <a:lnTo>
                      <a:pt x="284309" y="107479"/>
                    </a:lnTo>
                    <a:lnTo>
                      <a:pt x="287131" y="113118"/>
                    </a:lnTo>
                    <a:lnTo>
                      <a:pt x="289602" y="118756"/>
                    </a:lnTo>
                    <a:lnTo>
                      <a:pt x="292072" y="125099"/>
                    </a:lnTo>
                    <a:lnTo>
                      <a:pt x="331945" y="119813"/>
                    </a:lnTo>
                    <a:lnTo>
                      <a:pt x="335474" y="134966"/>
                    </a:lnTo>
                    <a:lnTo>
                      <a:pt x="298070" y="149766"/>
                    </a:lnTo>
                    <a:lnTo>
                      <a:pt x="298776" y="155757"/>
                    </a:lnTo>
                    <a:lnTo>
                      <a:pt x="299129" y="162453"/>
                    </a:lnTo>
                    <a:lnTo>
                      <a:pt x="299129" y="168443"/>
                    </a:lnTo>
                    <a:lnTo>
                      <a:pt x="299129" y="174786"/>
                    </a:lnTo>
                    <a:lnTo>
                      <a:pt x="338297" y="185710"/>
                    </a:lnTo>
                    <a:lnTo>
                      <a:pt x="335827" y="201216"/>
                    </a:lnTo>
                    <a:lnTo>
                      <a:pt x="295600" y="200511"/>
                    </a:lnTo>
                    <a:lnTo>
                      <a:pt x="293836" y="206501"/>
                    </a:lnTo>
                    <a:lnTo>
                      <a:pt x="292072" y="212492"/>
                    </a:lnTo>
                    <a:lnTo>
                      <a:pt x="289602" y="218835"/>
                    </a:lnTo>
                    <a:lnTo>
                      <a:pt x="287131" y="224473"/>
                    </a:lnTo>
                    <a:lnTo>
                      <a:pt x="318889" y="249141"/>
                    </a:lnTo>
                    <a:lnTo>
                      <a:pt x="311126" y="262532"/>
                    </a:lnTo>
                    <a:lnTo>
                      <a:pt x="273723" y="246322"/>
                    </a:lnTo>
                    <a:lnTo>
                      <a:pt x="271605" y="248788"/>
                    </a:lnTo>
                    <a:lnTo>
                      <a:pt x="270194" y="251255"/>
                    </a:lnTo>
                    <a:lnTo>
                      <a:pt x="268077" y="253722"/>
                    </a:lnTo>
                    <a:lnTo>
                      <a:pt x="265960" y="256189"/>
                    </a:lnTo>
                    <a:lnTo>
                      <a:pt x="263489" y="258655"/>
                    </a:lnTo>
                    <a:lnTo>
                      <a:pt x="261372" y="260417"/>
                    </a:lnTo>
                    <a:lnTo>
                      <a:pt x="258902" y="262884"/>
                    </a:lnTo>
                    <a:lnTo>
                      <a:pt x="256785" y="264998"/>
                    </a:lnTo>
                    <a:lnTo>
                      <a:pt x="276898" y="299885"/>
                    </a:lnTo>
                    <a:lnTo>
                      <a:pt x="264195" y="309400"/>
                    </a:lnTo>
                    <a:lnTo>
                      <a:pt x="235966" y="280151"/>
                    </a:lnTo>
                    <a:lnTo>
                      <a:pt x="233496" y="281561"/>
                    </a:lnTo>
                    <a:lnTo>
                      <a:pt x="230673" y="282970"/>
                    </a:lnTo>
                    <a:lnTo>
                      <a:pt x="227850" y="284380"/>
                    </a:lnTo>
                    <a:lnTo>
                      <a:pt x="225027" y="285790"/>
                    </a:lnTo>
                    <a:lnTo>
                      <a:pt x="222204" y="286847"/>
                    </a:lnTo>
                    <a:lnTo>
                      <a:pt x="219381" y="288256"/>
                    </a:lnTo>
                    <a:lnTo>
                      <a:pt x="215853" y="289313"/>
                    </a:lnTo>
                    <a:lnTo>
                      <a:pt x="213030" y="290723"/>
                    </a:lnTo>
                    <a:lnTo>
                      <a:pt x="218323" y="331248"/>
                    </a:lnTo>
                    <a:lnTo>
                      <a:pt x="202797" y="334772"/>
                    </a:lnTo>
                    <a:lnTo>
                      <a:pt x="188329" y="297066"/>
                    </a:lnTo>
                    <a:lnTo>
                      <a:pt x="185153" y="297418"/>
                    </a:lnTo>
                    <a:lnTo>
                      <a:pt x="182330" y="297771"/>
                    </a:lnTo>
                    <a:lnTo>
                      <a:pt x="179155" y="298123"/>
                    </a:lnTo>
                    <a:lnTo>
                      <a:pt x="175626" y="298123"/>
                    </a:lnTo>
                    <a:lnTo>
                      <a:pt x="172803" y="298123"/>
                    </a:lnTo>
                    <a:lnTo>
                      <a:pt x="169627" y="298123"/>
                    </a:lnTo>
                    <a:lnTo>
                      <a:pt x="166451" y="298123"/>
                    </a:lnTo>
                    <a:lnTo>
                      <a:pt x="163276" y="298123"/>
                    </a:lnTo>
                    <a:lnTo>
                      <a:pt x="152337" y="337591"/>
                    </a:lnTo>
                    <a:lnTo>
                      <a:pt x="136811" y="335124"/>
                    </a:lnTo>
                    <a:lnTo>
                      <a:pt x="137516" y="294599"/>
                    </a:lnTo>
                    <a:lnTo>
                      <a:pt x="134693" y="293895"/>
                    </a:lnTo>
                    <a:lnTo>
                      <a:pt x="131518" y="292837"/>
                    </a:lnTo>
                    <a:lnTo>
                      <a:pt x="128695" y="292133"/>
                    </a:lnTo>
                    <a:lnTo>
                      <a:pt x="125519" y="291075"/>
                    </a:lnTo>
                    <a:lnTo>
                      <a:pt x="122343" y="289666"/>
                    </a:lnTo>
                    <a:lnTo>
                      <a:pt x="119520" y="288609"/>
                    </a:lnTo>
                    <a:lnTo>
                      <a:pt x="116697" y="287199"/>
                    </a:lnTo>
                    <a:lnTo>
                      <a:pt x="113874" y="286142"/>
                    </a:lnTo>
                    <a:lnTo>
                      <a:pt x="88821" y="318210"/>
                    </a:lnTo>
                    <a:lnTo>
                      <a:pt x="75412" y="310457"/>
                    </a:lnTo>
                    <a:lnTo>
                      <a:pt x="91644" y="273103"/>
                    </a:lnTo>
                    <a:lnTo>
                      <a:pt x="88821" y="270989"/>
                    </a:lnTo>
                    <a:lnTo>
                      <a:pt x="85998" y="268522"/>
                    </a:lnTo>
                    <a:lnTo>
                      <a:pt x="83175" y="266056"/>
                    </a:lnTo>
                    <a:lnTo>
                      <a:pt x="80352" y="263237"/>
                    </a:lnTo>
                    <a:lnTo>
                      <a:pt x="80394" y="263190"/>
                    </a:lnTo>
                    <a:lnTo>
                      <a:pt x="78689" y="261827"/>
                    </a:lnTo>
                    <a:lnTo>
                      <a:pt x="76572" y="260065"/>
                    </a:lnTo>
                    <a:lnTo>
                      <a:pt x="75160" y="257951"/>
                    </a:lnTo>
                    <a:lnTo>
                      <a:pt x="73043" y="256541"/>
                    </a:lnTo>
                    <a:lnTo>
                      <a:pt x="37757" y="276275"/>
                    </a:lnTo>
                    <a:lnTo>
                      <a:pt x="28229" y="264294"/>
                    </a:lnTo>
                    <a:lnTo>
                      <a:pt x="57517" y="235750"/>
                    </a:lnTo>
                    <a:lnTo>
                      <a:pt x="54694" y="230464"/>
                    </a:lnTo>
                    <a:lnTo>
                      <a:pt x="51871" y="224826"/>
                    </a:lnTo>
                    <a:lnTo>
                      <a:pt x="49401" y="219188"/>
                    </a:lnTo>
                    <a:lnTo>
                      <a:pt x="46931" y="213197"/>
                    </a:lnTo>
                    <a:lnTo>
                      <a:pt x="6352" y="218483"/>
                    </a:lnTo>
                    <a:lnTo>
                      <a:pt x="2823" y="202978"/>
                    </a:lnTo>
                    <a:lnTo>
                      <a:pt x="40580" y="188177"/>
                    </a:lnTo>
                    <a:lnTo>
                      <a:pt x="39874" y="182187"/>
                    </a:lnTo>
                    <a:lnTo>
                      <a:pt x="39168" y="175844"/>
                    </a:lnTo>
                    <a:lnTo>
                      <a:pt x="39168" y="169500"/>
                    </a:lnTo>
                    <a:lnTo>
                      <a:pt x="39168" y="163157"/>
                    </a:lnTo>
                    <a:lnTo>
                      <a:pt x="0" y="152233"/>
                    </a:lnTo>
                    <a:lnTo>
                      <a:pt x="2470" y="136728"/>
                    </a:lnTo>
                    <a:lnTo>
                      <a:pt x="43050" y="137433"/>
                    </a:lnTo>
                    <a:lnTo>
                      <a:pt x="44461" y="131442"/>
                    </a:lnTo>
                    <a:lnTo>
                      <a:pt x="46578" y="125452"/>
                    </a:lnTo>
                    <a:lnTo>
                      <a:pt x="48695" y="119461"/>
                    </a:lnTo>
                    <a:lnTo>
                      <a:pt x="51166" y="113470"/>
                    </a:lnTo>
                    <a:lnTo>
                      <a:pt x="19408" y="88803"/>
                    </a:lnTo>
                    <a:lnTo>
                      <a:pt x="27171" y="75412"/>
                    </a:lnTo>
                    <a:lnTo>
                      <a:pt x="64222" y="91622"/>
                    </a:lnTo>
                    <a:lnTo>
                      <a:pt x="65986" y="89155"/>
                    </a:lnTo>
                    <a:lnTo>
                      <a:pt x="68103" y="86336"/>
                    </a:lnTo>
                    <a:lnTo>
                      <a:pt x="70220" y="83869"/>
                    </a:lnTo>
                    <a:lnTo>
                      <a:pt x="72337" y="81403"/>
                    </a:lnTo>
                    <a:lnTo>
                      <a:pt x="74808" y="79641"/>
                    </a:lnTo>
                    <a:lnTo>
                      <a:pt x="76572" y="77174"/>
                    </a:lnTo>
                    <a:lnTo>
                      <a:pt x="78689" y="74707"/>
                    </a:lnTo>
                    <a:lnTo>
                      <a:pt x="81159" y="72593"/>
                    </a:lnTo>
                    <a:lnTo>
                      <a:pt x="61399" y="37706"/>
                    </a:lnTo>
                    <a:lnTo>
                      <a:pt x="73749" y="28544"/>
                    </a:lnTo>
                    <a:lnTo>
                      <a:pt x="101978" y="57088"/>
                    </a:lnTo>
                    <a:lnTo>
                      <a:pt x="104801" y="55678"/>
                    </a:lnTo>
                    <a:lnTo>
                      <a:pt x="107624" y="54268"/>
                    </a:lnTo>
                    <a:lnTo>
                      <a:pt x="110447" y="52859"/>
                    </a:lnTo>
                    <a:lnTo>
                      <a:pt x="113270" y="51097"/>
                    </a:lnTo>
                    <a:lnTo>
                      <a:pt x="116093" y="50040"/>
                    </a:lnTo>
                    <a:lnTo>
                      <a:pt x="118916" y="48630"/>
                    </a:lnTo>
                    <a:lnTo>
                      <a:pt x="122092" y="47573"/>
                    </a:lnTo>
                    <a:lnTo>
                      <a:pt x="124914" y="46163"/>
                    </a:lnTo>
                    <a:lnTo>
                      <a:pt x="119622" y="6343"/>
                    </a:lnTo>
                    <a:lnTo>
                      <a:pt x="135148" y="2819"/>
                    </a:lnTo>
                    <a:lnTo>
                      <a:pt x="149968" y="40173"/>
                    </a:lnTo>
                    <a:lnTo>
                      <a:pt x="153144" y="39820"/>
                    </a:lnTo>
                    <a:lnTo>
                      <a:pt x="155967" y="39468"/>
                    </a:lnTo>
                    <a:lnTo>
                      <a:pt x="159142" y="39116"/>
                    </a:lnTo>
                    <a:lnTo>
                      <a:pt x="162318" y="38411"/>
                    </a:lnTo>
                    <a:lnTo>
                      <a:pt x="165847" y="38411"/>
                    </a:lnTo>
                    <a:lnTo>
                      <a:pt x="169023" y="38411"/>
                    </a:lnTo>
                    <a:lnTo>
                      <a:pt x="172198" y="38411"/>
                    </a:lnTo>
                    <a:lnTo>
                      <a:pt x="175374" y="3841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defTabSz="342892">
                  <a:defRPr/>
                </a:pPr>
                <a:endParaRPr lang="en-US" sz="750" kern="0" dirty="0">
                  <a:solidFill>
                    <a:sysClr val="windowText" lastClr="000000"/>
                  </a:solidFill>
                  <a:latin typeface="+mj-lt"/>
                  <a:ea typeface="ＭＳ Ｐゴシック" pitchFamily="34" charset="-128"/>
                  <a:cs typeface="CiscoSansTT Light"/>
                </a:endParaRPr>
              </a:p>
            </p:txBody>
          </p:sp>
          <p:sp>
            <p:nvSpPr>
              <p:cNvPr id="220" name="Freeform 15"/>
              <p:cNvSpPr>
                <a:spLocks/>
              </p:cNvSpPr>
              <p:nvPr/>
            </p:nvSpPr>
            <p:spPr bwMode="auto">
              <a:xfrm>
                <a:off x="8132578" y="3090787"/>
                <a:ext cx="403136" cy="398203"/>
              </a:xfrm>
              <a:custGeom>
                <a:avLst/>
                <a:gdLst/>
                <a:ahLst/>
                <a:cxnLst/>
                <a:rect l="l" t="t" r="r" b="b"/>
                <a:pathLst>
                  <a:path w="403136" h="398203">
                    <a:moveTo>
                      <a:pt x="201831" y="59258"/>
                    </a:moveTo>
                    <a:lnTo>
                      <a:pt x="187364" y="59963"/>
                    </a:lnTo>
                    <a:lnTo>
                      <a:pt x="173250" y="62080"/>
                    </a:lnTo>
                    <a:lnTo>
                      <a:pt x="159136" y="65960"/>
                    </a:lnTo>
                    <a:lnTo>
                      <a:pt x="146434" y="70545"/>
                    </a:lnTo>
                    <a:lnTo>
                      <a:pt x="133731" y="76894"/>
                    </a:lnTo>
                    <a:lnTo>
                      <a:pt x="122087" y="83596"/>
                    </a:lnTo>
                    <a:lnTo>
                      <a:pt x="110443" y="92061"/>
                    </a:lnTo>
                    <a:lnTo>
                      <a:pt x="100210" y="101232"/>
                    </a:lnTo>
                    <a:lnTo>
                      <a:pt x="91389" y="111461"/>
                    </a:lnTo>
                    <a:lnTo>
                      <a:pt x="82920" y="122395"/>
                    </a:lnTo>
                    <a:lnTo>
                      <a:pt x="75863" y="134035"/>
                    </a:lnTo>
                    <a:lnTo>
                      <a:pt x="69865" y="146733"/>
                    </a:lnTo>
                    <a:lnTo>
                      <a:pt x="64925" y="159784"/>
                    </a:lnTo>
                    <a:lnTo>
                      <a:pt x="61396" y="173540"/>
                    </a:lnTo>
                    <a:lnTo>
                      <a:pt x="59279" y="187649"/>
                    </a:lnTo>
                    <a:lnTo>
                      <a:pt x="58574" y="202464"/>
                    </a:lnTo>
                    <a:lnTo>
                      <a:pt x="58926" y="213398"/>
                    </a:lnTo>
                    <a:lnTo>
                      <a:pt x="59985" y="223980"/>
                    </a:lnTo>
                    <a:lnTo>
                      <a:pt x="62102" y="234209"/>
                    </a:lnTo>
                    <a:lnTo>
                      <a:pt x="64925" y="244438"/>
                    </a:lnTo>
                    <a:lnTo>
                      <a:pt x="68101" y="254667"/>
                    </a:lnTo>
                    <a:lnTo>
                      <a:pt x="72688" y="264191"/>
                    </a:lnTo>
                    <a:lnTo>
                      <a:pt x="77628" y="273361"/>
                    </a:lnTo>
                    <a:lnTo>
                      <a:pt x="82920" y="281827"/>
                    </a:lnTo>
                    <a:lnTo>
                      <a:pt x="88919" y="290292"/>
                    </a:lnTo>
                    <a:lnTo>
                      <a:pt x="95976" y="298052"/>
                    </a:lnTo>
                    <a:lnTo>
                      <a:pt x="102680" y="305812"/>
                    </a:lnTo>
                    <a:lnTo>
                      <a:pt x="110443" y="312514"/>
                    </a:lnTo>
                    <a:lnTo>
                      <a:pt x="118558" y="318863"/>
                    </a:lnTo>
                    <a:lnTo>
                      <a:pt x="127732" y="324506"/>
                    </a:lnTo>
                    <a:lnTo>
                      <a:pt x="136554" y="329445"/>
                    </a:lnTo>
                    <a:lnTo>
                      <a:pt x="145728" y="334030"/>
                    </a:lnTo>
                    <a:lnTo>
                      <a:pt x="145687" y="334128"/>
                    </a:lnTo>
                    <a:lnTo>
                      <a:pt x="152210" y="336534"/>
                    </a:lnTo>
                    <a:lnTo>
                      <a:pt x="158544" y="338649"/>
                    </a:lnTo>
                    <a:lnTo>
                      <a:pt x="165583" y="340763"/>
                    </a:lnTo>
                    <a:lnTo>
                      <a:pt x="172270" y="342525"/>
                    </a:lnTo>
                    <a:lnTo>
                      <a:pt x="179660" y="343582"/>
                    </a:lnTo>
                    <a:lnTo>
                      <a:pt x="187051" y="344640"/>
                    </a:lnTo>
                    <a:lnTo>
                      <a:pt x="194441" y="345344"/>
                    </a:lnTo>
                    <a:lnTo>
                      <a:pt x="201480" y="345344"/>
                    </a:lnTo>
                    <a:lnTo>
                      <a:pt x="216261" y="344640"/>
                    </a:lnTo>
                    <a:lnTo>
                      <a:pt x="230338" y="342525"/>
                    </a:lnTo>
                    <a:lnTo>
                      <a:pt x="244064" y="338649"/>
                    </a:lnTo>
                    <a:lnTo>
                      <a:pt x="257085" y="334068"/>
                    </a:lnTo>
                    <a:lnTo>
                      <a:pt x="269754" y="327725"/>
                    </a:lnTo>
                    <a:lnTo>
                      <a:pt x="281368" y="321029"/>
                    </a:lnTo>
                    <a:lnTo>
                      <a:pt x="292278" y="312572"/>
                    </a:lnTo>
                    <a:lnTo>
                      <a:pt x="302484" y="303410"/>
                    </a:lnTo>
                    <a:lnTo>
                      <a:pt x="311282" y="293190"/>
                    </a:lnTo>
                    <a:lnTo>
                      <a:pt x="320080" y="282266"/>
                    </a:lnTo>
                    <a:lnTo>
                      <a:pt x="326767" y="270637"/>
                    </a:lnTo>
                    <a:lnTo>
                      <a:pt x="333102" y="257951"/>
                    </a:lnTo>
                    <a:lnTo>
                      <a:pt x="337677" y="244912"/>
                    </a:lnTo>
                    <a:lnTo>
                      <a:pt x="341548" y="231169"/>
                    </a:lnTo>
                    <a:lnTo>
                      <a:pt x="343308" y="217073"/>
                    </a:lnTo>
                    <a:lnTo>
                      <a:pt x="344364" y="202625"/>
                    </a:lnTo>
                    <a:lnTo>
                      <a:pt x="344012" y="191349"/>
                    </a:lnTo>
                    <a:lnTo>
                      <a:pt x="342604" y="180425"/>
                    </a:lnTo>
                    <a:lnTo>
                      <a:pt x="340492" y="169853"/>
                    </a:lnTo>
                    <a:lnTo>
                      <a:pt x="337677" y="159986"/>
                    </a:lnTo>
                    <a:lnTo>
                      <a:pt x="334510" y="150119"/>
                    </a:lnTo>
                    <a:lnTo>
                      <a:pt x="329934" y="140252"/>
                    </a:lnTo>
                    <a:lnTo>
                      <a:pt x="325711" y="131442"/>
                    </a:lnTo>
                    <a:lnTo>
                      <a:pt x="320080" y="122632"/>
                    </a:lnTo>
                    <a:lnTo>
                      <a:pt x="313746" y="114527"/>
                    </a:lnTo>
                    <a:lnTo>
                      <a:pt x="307411" y="106422"/>
                    </a:lnTo>
                    <a:lnTo>
                      <a:pt x="300020" y="99022"/>
                    </a:lnTo>
                    <a:lnTo>
                      <a:pt x="292278" y="91974"/>
                    </a:lnTo>
                    <a:lnTo>
                      <a:pt x="284183" y="85983"/>
                    </a:lnTo>
                    <a:lnTo>
                      <a:pt x="275737" y="80345"/>
                    </a:lnTo>
                    <a:lnTo>
                      <a:pt x="266587" y="75412"/>
                    </a:lnTo>
                    <a:lnTo>
                      <a:pt x="257085" y="70831"/>
                    </a:lnTo>
                    <a:lnTo>
                      <a:pt x="257261" y="70421"/>
                    </a:lnTo>
                    <a:lnTo>
                      <a:pt x="251230" y="68076"/>
                    </a:lnTo>
                    <a:lnTo>
                      <a:pt x="244526" y="65960"/>
                    </a:lnTo>
                    <a:lnTo>
                      <a:pt x="237822" y="63843"/>
                    </a:lnTo>
                    <a:lnTo>
                      <a:pt x="230765" y="62080"/>
                    </a:lnTo>
                    <a:lnTo>
                      <a:pt x="223355" y="61021"/>
                    </a:lnTo>
                    <a:lnTo>
                      <a:pt x="216651" y="59963"/>
                    </a:lnTo>
                    <a:lnTo>
                      <a:pt x="209241" y="59258"/>
                    </a:lnTo>
                    <a:close/>
                    <a:moveTo>
                      <a:pt x="172545" y="0"/>
                    </a:moveTo>
                    <a:lnTo>
                      <a:pt x="185247" y="26807"/>
                    </a:lnTo>
                    <a:lnTo>
                      <a:pt x="189834" y="26454"/>
                    </a:lnTo>
                    <a:lnTo>
                      <a:pt x="194069" y="26102"/>
                    </a:lnTo>
                    <a:lnTo>
                      <a:pt x="198303" y="26102"/>
                    </a:lnTo>
                    <a:lnTo>
                      <a:pt x="202890" y="26102"/>
                    </a:lnTo>
                    <a:lnTo>
                      <a:pt x="206771" y="26102"/>
                    </a:lnTo>
                    <a:lnTo>
                      <a:pt x="211358" y="26454"/>
                    </a:lnTo>
                    <a:lnTo>
                      <a:pt x="215240" y="26454"/>
                    </a:lnTo>
                    <a:lnTo>
                      <a:pt x="219827" y="26807"/>
                    </a:lnTo>
                    <a:lnTo>
                      <a:pt x="232882" y="1058"/>
                    </a:lnTo>
                    <a:lnTo>
                      <a:pt x="253700" y="5291"/>
                    </a:lnTo>
                    <a:lnTo>
                      <a:pt x="253700" y="33862"/>
                    </a:lnTo>
                    <a:lnTo>
                      <a:pt x="255465" y="34567"/>
                    </a:lnTo>
                    <a:lnTo>
                      <a:pt x="257934" y="35273"/>
                    </a:lnTo>
                    <a:lnTo>
                      <a:pt x="260051" y="35978"/>
                    </a:lnTo>
                    <a:lnTo>
                      <a:pt x="262169" y="37036"/>
                    </a:lnTo>
                    <a:lnTo>
                      <a:pt x="264286" y="37742"/>
                    </a:lnTo>
                    <a:lnTo>
                      <a:pt x="266403" y="38447"/>
                    </a:lnTo>
                    <a:lnTo>
                      <a:pt x="268520" y="39505"/>
                    </a:lnTo>
                    <a:lnTo>
                      <a:pt x="270637" y="40211"/>
                    </a:lnTo>
                    <a:lnTo>
                      <a:pt x="270452" y="40640"/>
                    </a:lnTo>
                    <a:lnTo>
                      <a:pt x="272218" y="41230"/>
                    </a:lnTo>
                    <a:lnTo>
                      <a:pt x="273625" y="42287"/>
                    </a:lnTo>
                    <a:lnTo>
                      <a:pt x="275737" y="42992"/>
                    </a:lnTo>
                    <a:lnTo>
                      <a:pt x="277497" y="43696"/>
                    </a:lnTo>
                    <a:lnTo>
                      <a:pt x="279608" y="44754"/>
                    </a:lnTo>
                    <a:lnTo>
                      <a:pt x="281016" y="45811"/>
                    </a:lnTo>
                    <a:lnTo>
                      <a:pt x="283128" y="46516"/>
                    </a:lnTo>
                    <a:lnTo>
                      <a:pt x="284535" y="47573"/>
                    </a:lnTo>
                    <a:lnTo>
                      <a:pt x="305651" y="28191"/>
                    </a:lnTo>
                    <a:lnTo>
                      <a:pt x="323248" y="39820"/>
                    </a:lnTo>
                    <a:lnTo>
                      <a:pt x="313042" y="66954"/>
                    </a:lnTo>
                    <a:lnTo>
                      <a:pt x="316209" y="69773"/>
                    </a:lnTo>
                    <a:lnTo>
                      <a:pt x="319728" y="72593"/>
                    </a:lnTo>
                    <a:lnTo>
                      <a:pt x="322544" y="75412"/>
                    </a:lnTo>
                    <a:lnTo>
                      <a:pt x="325711" y="78231"/>
                    </a:lnTo>
                    <a:lnTo>
                      <a:pt x="328527" y="81402"/>
                    </a:lnTo>
                    <a:lnTo>
                      <a:pt x="331342" y="84926"/>
                    </a:lnTo>
                    <a:lnTo>
                      <a:pt x="334158" y="88098"/>
                    </a:lnTo>
                    <a:lnTo>
                      <a:pt x="336973" y="91269"/>
                    </a:lnTo>
                    <a:lnTo>
                      <a:pt x="364072" y="81050"/>
                    </a:lnTo>
                    <a:lnTo>
                      <a:pt x="375333" y="98670"/>
                    </a:lnTo>
                    <a:lnTo>
                      <a:pt x="355977" y="120166"/>
                    </a:lnTo>
                    <a:lnTo>
                      <a:pt x="357737" y="123689"/>
                    </a:lnTo>
                    <a:lnTo>
                      <a:pt x="359849" y="127918"/>
                    </a:lnTo>
                    <a:lnTo>
                      <a:pt x="361256" y="131794"/>
                    </a:lnTo>
                    <a:lnTo>
                      <a:pt x="363016" y="135318"/>
                    </a:lnTo>
                    <a:lnTo>
                      <a:pt x="364424" y="139547"/>
                    </a:lnTo>
                    <a:lnTo>
                      <a:pt x="365831" y="143776"/>
                    </a:lnTo>
                    <a:lnTo>
                      <a:pt x="367239" y="147652"/>
                    </a:lnTo>
                    <a:lnTo>
                      <a:pt x="368647" y="151881"/>
                    </a:lnTo>
                    <a:lnTo>
                      <a:pt x="398913" y="152233"/>
                    </a:lnTo>
                    <a:lnTo>
                      <a:pt x="403136" y="172672"/>
                    </a:lnTo>
                    <a:lnTo>
                      <a:pt x="374630" y="185358"/>
                    </a:lnTo>
                    <a:lnTo>
                      <a:pt x="375333" y="194168"/>
                    </a:lnTo>
                    <a:lnTo>
                      <a:pt x="375333" y="202978"/>
                    </a:lnTo>
                    <a:lnTo>
                      <a:pt x="374982" y="211435"/>
                    </a:lnTo>
                    <a:lnTo>
                      <a:pt x="374278" y="219540"/>
                    </a:lnTo>
                    <a:lnTo>
                      <a:pt x="400321" y="231169"/>
                    </a:lnTo>
                    <a:lnTo>
                      <a:pt x="396097" y="251608"/>
                    </a:lnTo>
                    <a:lnTo>
                      <a:pt x="367943" y="253017"/>
                    </a:lnTo>
                    <a:lnTo>
                      <a:pt x="366535" y="257246"/>
                    </a:lnTo>
                    <a:lnTo>
                      <a:pt x="365127" y="260770"/>
                    </a:lnTo>
                    <a:lnTo>
                      <a:pt x="363720" y="264999"/>
                    </a:lnTo>
                    <a:lnTo>
                      <a:pt x="361960" y="268875"/>
                    </a:lnTo>
                    <a:lnTo>
                      <a:pt x="360552" y="273104"/>
                    </a:lnTo>
                    <a:lnTo>
                      <a:pt x="358441" y="276628"/>
                    </a:lnTo>
                    <a:lnTo>
                      <a:pt x="356681" y="280856"/>
                    </a:lnTo>
                    <a:lnTo>
                      <a:pt x="354921" y="284380"/>
                    </a:lnTo>
                    <a:lnTo>
                      <a:pt x="372166" y="304819"/>
                    </a:lnTo>
                    <a:lnTo>
                      <a:pt x="360904" y="322086"/>
                    </a:lnTo>
                    <a:lnTo>
                      <a:pt x="335213" y="312924"/>
                    </a:lnTo>
                    <a:lnTo>
                      <a:pt x="332398" y="316096"/>
                    </a:lnTo>
                    <a:lnTo>
                      <a:pt x="329582" y="319267"/>
                    </a:lnTo>
                    <a:lnTo>
                      <a:pt x="326767" y="322086"/>
                    </a:lnTo>
                    <a:lnTo>
                      <a:pt x="323952" y="325258"/>
                    </a:lnTo>
                    <a:lnTo>
                      <a:pt x="320784" y="328429"/>
                    </a:lnTo>
                    <a:lnTo>
                      <a:pt x="317617" y="331249"/>
                    </a:lnTo>
                    <a:lnTo>
                      <a:pt x="314449" y="334068"/>
                    </a:lnTo>
                    <a:lnTo>
                      <a:pt x="310930" y="336887"/>
                    </a:lnTo>
                    <a:lnTo>
                      <a:pt x="321136" y="364373"/>
                    </a:lnTo>
                    <a:lnTo>
                      <a:pt x="303892" y="375650"/>
                    </a:lnTo>
                    <a:lnTo>
                      <a:pt x="282424" y="355564"/>
                    </a:lnTo>
                    <a:lnTo>
                      <a:pt x="278553" y="357326"/>
                    </a:lnTo>
                    <a:lnTo>
                      <a:pt x="275033" y="359088"/>
                    </a:lnTo>
                    <a:lnTo>
                      <a:pt x="270810" y="361202"/>
                    </a:lnTo>
                    <a:lnTo>
                      <a:pt x="267291" y="362612"/>
                    </a:lnTo>
                    <a:lnTo>
                      <a:pt x="263068" y="364373"/>
                    </a:lnTo>
                    <a:lnTo>
                      <a:pt x="259196" y="365431"/>
                    </a:lnTo>
                    <a:lnTo>
                      <a:pt x="254973" y="367193"/>
                    </a:lnTo>
                    <a:lnTo>
                      <a:pt x="251102" y="368602"/>
                    </a:lnTo>
                    <a:lnTo>
                      <a:pt x="247935" y="393270"/>
                    </a:lnTo>
                    <a:lnTo>
                      <a:pt x="227523" y="397146"/>
                    </a:lnTo>
                    <a:lnTo>
                      <a:pt x="216965" y="374945"/>
                    </a:lnTo>
                    <a:lnTo>
                      <a:pt x="213094" y="375298"/>
                    </a:lnTo>
                    <a:lnTo>
                      <a:pt x="208519" y="375650"/>
                    </a:lnTo>
                    <a:lnTo>
                      <a:pt x="204295" y="375650"/>
                    </a:lnTo>
                    <a:lnTo>
                      <a:pt x="200424" y="375650"/>
                    </a:lnTo>
                    <a:lnTo>
                      <a:pt x="195849" y="375650"/>
                    </a:lnTo>
                    <a:lnTo>
                      <a:pt x="191978" y="375298"/>
                    </a:lnTo>
                    <a:lnTo>
                      <a:pt x="187403" y="375298"/>
                    </a:lnTo>
                    <a:lnTo>
                      <a:pt x="183531" y="374945"/>
                    </a:lnTo>
                    <a:lnTo>
                      <a:pt x="171214" y="398203"/>
                    </a:lnTo>
                    <a:lnTo>
                      <a:pt x="150802" y="393974"/>
                    </a:lnTo>
                    <a:lnTo>
                      <a:pt x="149746" y="367897"/>
                    </a:lnTo>
                    <a:lnTo>
                      <a:pt x="147635" y="367193"/>
                    </a:lnTo>
                    <a:lnTo>
                      <a:pt x="145523" y="366488"/>
                    </a:lnTo>
                    <a:lnTo>
                      <a:pt x="143763" y="366135"/>
                    </a:lnTo>
                    <a:lnTo>
                      <a:pt x="142004" y="365078"/>
                    </a:lnTo>
                    <a:lnTo>
                      <a:pt x="139892" y="364373"/>
                    </a:lnTo>
                    <a:lnTo>
                      <a:pt x="138132" y="363669"/>
                    </a:lnTo>
                    <a:lnTo>
                      <a:pt x="136021" y="362612"/>
                    </a:lnTo>
                    <a:lnTo>
                      <a:pt x="133909" y="361907"/>
                    </a:lnTo>
                    <a:lnTo>
                      <a:pt x="133935" y="361845"/>
                    </a:lnTo>
                    <a:lnTo>
                      <a:pt x="131967" y="361190"/>
                    </a:lnTo>
                    <a:lnTo>
                      <a:pt x="130202" y="360132"/>
                    </a:lnTo>
                    <a:lnTo>
                      <a:pt x="128085" y="359426"/>
                    </a:lnTo>
                    <a:lnTo>
                      <a:pt x="126321" y="358721"/>
                    </a:lnTo>
                    <a:lnTo>
                      <a:pt x="124204" y="357310"/>
                    </a:lnTo>
                    <a:lnTo>
                      <a:pt x="122440" y="356604"/>
                    </a:lnTo>
                    <a:lnTo>
                      <a:pt x="120675" y="355899"/>
                    </a:lnTo>
                    <a:lnTo>
                      <a:pt x="118558" y="354488"/>
                    </a:lnTo>
                    <a:lnTo>
                      <a:pt x="96682" y="373535"/>
                    </a:lnTo>
                    <a:lnTo>
                      <a:pt x="79745" y="361895"/>
                    </a:lnTo>
                    <a:lnTo>
                      <a:pt x="89977" y="335441"/>
                    </a:lnTo>
                    <a:lnTo>
                      <a:pt x="86449" y="332619"/>
                    </a:lnTo>
                    <a:lnTo>
                      <a:pt x="83273" y="329797"/>
                    </a:lnTo>
                    <a:lnTo>
                      <a:pt x="80450" y="326976"/>
                    </a:lnTo>
                    <a:lnTo>
                      <a:pt x="77275" y="324154"/>
                    </a:lnTo>
                    <a:lnTo>
                      <a:pt x="74452" y="320979"/>
                    </a:lnTo>
                    <a:lnTo>
                      <a:pt x="71629" y="318157"/>
                    </a:lnTo>
                    <a:lnTo>
                      <a:pt x="68806" y="314983"/>
                    </a:lnTo>
                    <a:lnTo>
                      <a:pt x="65983" y="311456"/>
                    </a:lnTo>
                    <a:lnTo>
                      <a:pt x="39520" y="320627"/>
                    </a:lnTo>
                    <a:lnTo>
                      <a:pt x="27876" y="302990"/>
                    </a:lnTo>
                    <a:lnTo>
                      <a:pt x="46577" y="282885"/>
                    </a:lnTo>
                    <a:lnTo>
                      <a:pt x="44812" y="279005"/>
                    </a:lnTo>
                    <a:lnTo>
                      <a:pt x="43048" y="275125"/>
                    </a:lnTo>
                    <a:lnTo>
                      <a:pt x="41284" y="271245"/>
                    </a:lnTo>
                    <a:lnTo>
                      <a:pt x="39872" y="267365"/>
                    </a:lnTo>
                    <a:lnTo>
                      <a:pt x="38108" y="263132"/>
                    </a:lnTo>
                    <a:lnTo>
                      <a:pt x="36697" y="259252"/>
                    </a:lnTo>
                    <a:lnTo>
                      <a:pt x="35285" y="255020"/>
                    </a:lnTo>
                    <a:lnTo>
                      <a:pt x="34227" y="251140"/>
                    </a:lnTo>
                    <a:lnTo>
                      <a:pt x="4234" y="250082"/>
                    </a:lnTo>
                    <a:lnTo>
                      <a:pt x="0" y="229976"/>
                    </a:lnTo>
                    <a:lnTo>
                      <a:pt x="27170" y="217631"/>
                    </a:lnTo>
                    <a:lnTo>
                      <a:pt x="26817" y="209166"/>
                    </a:lnTo>
                    <a:lnTo>
                      <a:pt x="26817" y="200700"/>
                    </a:lnTo>
                    <a:lnTo>
                      <a:pt x="26817" y="192235"/>
                    </a:lnTo>
                    <a:lnTo>
                      <a:pt x="27170" y="183769"/>
                    </a:lnTo>
                    <a:lnTo>
                      <a:pt x="0" y="169661"/>
                    </a:lnTo>
                    <a:lnTo>
                      <a:pt x="4234" y="149203"/>
                    </a:lnTo>
                    <a:lnTo>
                      <a:pt x="34227" y="149908"/>
                    </a:lnTo>
                    <a:lnTo>
                      <a:pt x="35285" y="145675"/>
                    </a:lnTo>
                    <a:lnTo>
                      <a:pt x="37050" y="141795"/>
                    </a:lnTo>
                    <a:lnTo>
                      <a:pt x="38108" y="137563"/>
                    </a:lnTo>
                    <a:lnTo>
                      <a:pt x="39872" y="133683"/>
                    </a:lnTo>
                    <a:lnTo>
                      <a:pt x="41990" y="130155"/>
                    </a:lnTo>
                    <a:lnTo>
                      <a:pt x="43401" y="125923"/>
                    </a:lnTo>
                    <a:lnTo>
                      <a:pt x="45518" y="121690"/>
                    </a:lnTo>
                    <a:lnTo>
                      <a:pt x="47635" y="118163"/>
                    </a:lnTo>
                    <a:lnTo>
                      <a:pt x="25053" y="94530"/>
                    </a:lnTo>
                    <a:lnTo>
                      <a:pt x="37050" y="77599"/>
                    </a:lnTo>
                    <a:lnTo>
                      <a:pt x="66689" y="89592"/>
                    </a:lnTo>
                    <a:lnTo>
                      <a:pt x="69512" y="86418"/>
                    </a:lnTo>
                    <a:lnTo>
                      <a:pt x="72335" y="83243"/>
                    </a:lnTo>
                    <a:lnTo>
                      <a:pt x="75158" y="80069"/>
                    </a:lnTo>
                    <a:lnTo>
                      <a:pt x="78333" y="76894"/>
                    </a:lnTo>
                    <a:lnTo>
                      <a:pt x="81156" y="74072"/>
                    </a:lnTo>
                    <a:lnTo>
                      <a:pt x="84685" y="71250"/>
                    </a:lnTo>
                    <a:lnTo>
                      <a:pt x="87860" y="68076"/>
                    </a:lnTo>
                    <a:lnTo>
                      <a:pt x="91036" y="65254"/>
                    </a:lnTo>
                    <a:lnTo>
                      <a:pt x="78686" y="35978"/>
                    </a:lnTo>
                    <a:lnTo>
                      <a:pt x="96329" y="24338"/>
                    </a:lnTo>
                    <a:lnTo>
                      <a:pt x="119617" y="46207"/>
                    </a:lnTo>
                    <a:lnTo>
                      <a:pt x="123145" y="44443"/>
                    </a:lnTo>
                    <a:lnTo>
                      <a:pt x="127027" y="42680"/>
                    </a:lnTo>
                    <a:lnTo>
                      <a:pt x="131261" y="40563"/>
                    </a:lnTo>
                    <a:lnTo>
                      <a:pt x="134789" y="39153"/>
                    </a:lnTo>
                    <a:lnTo>
                      <a:pt x="139024" y="37389"/>
                    </a:lnTo>
                    <a:lnTo>
                      <a:pt x="142905" y="35978"/>
                    </a:lnTo>
                    <a:lnTo>
                      <a:pt x="147492" y="34567"/>
                    </a:lnTo>
                    <a:lnTo>
                      <a:pt x="151726" y="33156"/>
                    </a:lnTo>
                    <a:lnTo>
                      <a:pt x="152079" y="388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pPr defTabSz="342892">
                  <a:defRPr/>
                </a:pPr>
                <a:endParaRPr lang="en-US" sz="750" kern="0" dirty="0">
                  <a:solidFill>
                    <a:sysClr val="windowText" lastClr="000000"/>
                  </a:solidFill>
                  <a:latin typeface="+mj-lt"/>
                  <a:ea typeface="ＭＳ Ｐゴシック" pitchFamily="34" charset="-128"/>
                  <a:cs typeface="CiscoSansTT Light"/>
                </a:endParaRPr>
              </a:p>
            </p:txBody>
          </p:sp>
          <p:sp>
            <p:nvSpPr>
              <p:cNvPr id="221" name="Oval 220"/>
              <p:cNvSpPr/>
              <p:nvPr/>
            </p:nvSpPr>
            <p:spPr>
              <a:xfrm>
                <a:off x="8265077" y="3220819"/>
                <a:ext cx="138138" cy="138138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2892">
                  <a:defRPr/>
                </a:pPr>
                <a:endParaRPr lang="en-US" sz="750" kern="0" dirty="0">
                  <a:solidFill>
                    <a:sysClr val="windowText" lastClr="000000"/>
                  </a:solidFill>
                  <a:latin typeface="+mj-lt"/>
                  <a:ea typeface="ＭＳ Ｐゴシック" pitchFamily="34" charset="-128"/>
                  <a:cs typeface="CiscoSansTT Light"/>
                </a:endParaRPr>
              </a:p>
            </p:txBody>
          </p:sp>
          <p:sp>
            <p:nvSpPr>
              <p:cNvPr id="222" name="Oval 221"/>
              <p:cNvSpPr/>
              <p:nvPr/>
            </p:nvSpPr>
            <p:spPr>
              <a:xfrm>
                <a:off x="8703101" y="3178180"/>
                <a:ext cx="99374" cy="99374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2892">
                  <a:defRPr/>
                </a:pPr>
                <a:endParaRPr lang="en-US" sz="750" kern="0" dirty="0">
                  <a:solidFill>
                    <a:sysClr val="windowText" lastClr="000000"/>
                  </a:solidFill>
                  <a:latin typeface="+mj-lt"/>
                  <a:ea typeface="ＭＳ Ｐゴシック" pitchFamily="34" charset="-128"/>
                  <a:cs typeface="CiscoSansTT Light"/>
                </a:endParaRPr>
              </a:p>
            </p:txBody>
          </p:sp>
          <p:sp>
            <p:nvSpPr>
              <p:cNvPr id="223" name="Oval 222"/>
              <p:cNvSpPr/>
              <p:nvPr/>
            </p:nvSpPr>
            <p:spPr>
              <a:xfrm>
                <a:off x="8561087" y="3432254"/>
                <a:ext cx="78936" cy="78936"/>
              </a:xfrm>
              <a:prstGeom prst="ellipse">
                <a:avLst/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342892">
                  <a:defRPr/>
                </a:pPr>
                <a:endParaRPr lang="en-US" sz="750" kern="0" dirty="0">
                  <a:solidFill>
                    <a:sysClr val="windowText" lastClr="000000"/>
                  </a:solidFill>
                  <a:latin typeface="+mj-lt"/>
                  <a:ea typeface="ＭＳ Ｐゴシック" pitchFamily="34" charset="-128"/>
                  <a:cs typeface="CiscoSansTT Light"/>
                </a:endParaRPr>
              </a:p>
            </p:txBody>
          </p:sp>
        </p:grpSp>
      </p:grpSp>
      <p:sp>
        <p:nvSpPr>
          <p:cNvPr id="224" name="Rectangle 223"/>
          <p:cNvSpPr/>
          <p:nvPr/>
        </p:nvSpPr>
        <p:spPr>
          <a:xfrm>
            <a:off x="6577212" y="1559928"/>
            <a:ext cx="890591" cy="342900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Network</a:t>
            </a:r>
          </a:p>
          <a:p>
            <a:pPr algn="ctr"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Analytics</a:t>
            </a:r>
          </a:p>
        </p:txBody>
      </p:sp>
      <p:sp>
        <p:nvSpPr>
          <p:cNvPr id="225" name="Freeform 6"/>
          <p:cNvSpPr>
            <a:spLocks noChangeAspect="1" noEditPoints="1"/>
          </p:cNvSpPr>
          <p:nvPr/>
        </p:nvSpPr>
        <p:spPr bwMode="auto">
          <a:xfrm rot="5400000">
            <a:off x="6947415" y="1975952"/>
            <a:ext cx="137160" cy="262562"/>
          </a:xfrm>
          <a:custGeom>
            <a:avLst/>
            <a:gdLst>
              <a:gd name="T0" fmla="*/ 578 w 578"/>
              <a:gd name="T1" fmla="*/ 856 h 1106"/>
              <a:gd name="T2" fmla="*/ 474 w 578"/>
              <a:gd name="T3" fmla="*/ 262 h 1106"/>
              <a:gd name="T4" fmla="*/ 498 w 578"/>
              <a:gd name="T5" fmla="*/ 120 h 1106"/>
              <a:gd name="T6" fmla="*/ 465 w 578"/>
              <a:gd name="T7" fmla="*/ 88 h 1106"/>
              <a:gd name="T8" fmla="*/ 421 w 578"/>
              <a:gd name="T9" fmla="*/ 262 h 1106"/>
              <a:gd name="T10" fmla="*/ 334 w 578"/>
              <a:gd name="T11" fmla="*/ 278 h 1106"/>
              <a:gd name="T12" fmla="*/ 297 w 578"/>
              <a:gd name="T13" fmla="*/ 63 h 1106"/>
              <a:gd name="T14" fmla="*/ 257 w 578"/>
              <a:gd name="T15" fmla="*/ 32 h 1106"/>
              <a:gd name="T16" fmla="*/ 244 w 578"/>
              <a:gd name="T17" fmla="*/ 262 h 1106"/>
              <a:gd name="T18" fmla="*/ 194 w 578"/>
              <a:gd name="T19" fmla="*/ 262 h 1106"/>
              <a:gd name="T20" fmla="*/ 101 w 578"/>
              <a:gd name="T21" fmla="*/ 113 h 1106"/>
              <a:gd name="T22" fmla="*/ 49 w 578"/>
              <a:gd name="T23" fmla="*/ 88 h 1106"/>
              <a:gd name="T24" fmla="*/ 141 w 578"/>
              <a:gd name="T25" fmla="*/ 159 h 1106"/>
              <a:gd name="T26" fmla="*/ 104 w 578"/>
              <a:gd name="T27" fmla="*/ 278 h 1106"/>
              <a:gd name="T28" fmla="*/ 104 w 578"/>
              <a:gd name="T29" fmla="*/ 856 h 1106"/>
              <a:gd name="T30" fmla="*/ 141 w 578"/>
              <a:gd name="T31" fmla="*/ 982 h 1106"/>
              <a:gd name="T32" fmla="*/ 49 w 578"/>
              <a:gd name="T33" fmla="*/ 1053 h 1106"/>
              <a:gd name="T34" fmla="*/ 101 w 578"/>
              <a:gd name="T35" fmla="*/ 1028 h 1106"/>
              <a:gd name="T36" fmla="*/ 194 w 578"/>
              <a:gd name="T37" fmla="*/ 872 h 1106"/>
              <a:gd name="T38" fmla="*/ 244 w 578"/>
              <a:gd name="T39" fmla="*/ 872 h 1106"/>
              <a:gd name="T40" fmla="*/ 257 w 578"/>
              <a:gd name="T41" fmla="*/ 1074 h 1106"/>
              <a:gd name="T42" fmla="*/ 297 w 578"/>
              <a:gd name="T43" fmla="*/ 1043 h 1106"/>
              <a:gd name="T44" fmla="*/ 334 w 578"/>
              <a:gd name="T45" fmla="*/ 856 h 1106"/>
              <a:gd name="T46" fmla="*/ 421 w 578"/>
              <a:gd name="T47" fmla="*/ 872 h 1106"/>
              <a:gd name="T48" fmla="*/ 467 w 578"/>
              <a:gd name="T49" fmla="*/ 1053 h 1106"/>
              <a:gd name="T50" fmla="*/ 499 w 578"/>
              <a:gd name="T51" fmla="*/ 1020 h 1106"/>
              <a:gd name="T52" fmla="*/ 437 w 578"/>
              <a:gd name="T53" fmla="*/ 872 h 1106"/>
              <a:gd name="T54" fmla="*/ 513 w 578"/>
              <a:gd name="T55" fmla="*/ 88 h 1106"/>
              <a:gd name="T56" fmla="*/ 497 w 578"/>
              <a:gd name="T57" fmla="*/ 72 h 1106"/>
              <a:gd name="T58" fmla="*/ 305 w 578"/>
              <a:gd name="T59" fmla="*/ 32 h 1106"/>
              <a:gd name="T60" fmla="*/ 81 w 578"/>
              <a:gd name="T61" fmla="*/ 104 h 1106"/>
              <a:gd name="T62" fmla="*/ 97 w 578"/>
              <a:gd name="T63" fmla="*/ 88 h 1106"/>
              <a:gd name="T64" fmla="*/ 65 w 578"/>
              <a:gd name="T65" fmla="*/ 1053 h 1106"/>
              <a:gd name="T66" fmla="*/ 86 w 578"/>
              <a:gd name="T67" fmla="*/ 1038 h 1106"/>
              <a:gd name="T68" fmla="*/ 81 w 578"/>
              <a:gd name="T69" fmla="*/ 1069 h 1106"/>
              <a:gd name="T70" fmla="*/ 273 w 578"/>
              <a:gd name="T71" fmla="*/ 1074 h 1106"/>
              <a:gd name="T72" fmla="*/ 499 w 578"/>
              <a:gd name="T73" fmla="*/ 1036 h 1106"/>
              <a:gd name="T74" fmla="*/ 483 w 578"/>
              <a:gd name="T75" fmla="*/ 1053 h 1106"/>
              <a:gd name="T76" fmla="*/ 516 w 578"/>
              <a:gd name="T77" fmla="*/ 340 h 1106"/>
              <a:gd name="T78" fmla="*/ 433 w 578"/>
              <a:gd name="T79" fmla="*/ 505 h 1106"/>
              <a:gd name="T80" fmla="*/ 267 w 578"/>
              <a:gd name="T81" fmla="*/ 688 h 1106"/>
              <a:gd name="T82" fmla="*/ 176 w 578"/>
              <a:gd name="T83" fmla="*/ 466 h 1106"/>
              <a:gd name="T84" fmla="*/ 62 w 578"/>
              <a:gd name="T85" fmla="*/ 559 h 1106"/>
              <a:gd name="T86" fmla="*/ 108 w 578"/>
              <a:gd name="T87" fmla="*/ 575 h 1106"/>
              <a:gd name="T88" fmla="*/ 179 w 578"/>
              <a:gd name="T89" fmla="*/ 587 h 1106"/>
              <a:gd name="T90" fmla="*/ 352 w 578"/>
              <a:gd name="T91" fmla="*/ 441 h 1106"/>
              <a:gd name="T92" fmla="*/ 453 w 578"/>
              <a:gd name="T93" fmla="*/ 583 h 1106"/>
              <a:gd name="T94" fmla="*/ 62 w 578"/>
              <a:gd name="T95" fmla="*/ 794 h 1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78" h="1106">
                <a:moveTo>
                  <a:pt x="474" y="872"/>
                </a:moveTo>
                <a:cubicBezTo>
                  <a:pt x="474" y="856"/>
                  <a:pt x="474" y="856"/>
                  <a:pt x="474" y="856"/>
                </a:cubicBezTo>
                <a:cubicBezTo>
                  <a:pt x="578" y="856"/>
                  <a:pt x="578" y="856"/>
                  <a:pt x="578" y="856"/>
                </a:cubicBezTo>
                <a:cubicBezTo>
                  <a:pt x="578" y="278"/>
                  <a:pt x="578" y="278"/>
                  <a:pt x="578" y="278"/>
                </a:cubicBezTo>
                <a:cubicBezTo>
                  <a:pt x="474" y="278"/>
                  <a:pt x="474" y="278"/>
                  <a:pt x="474" y="278"/>
                </a:cubicBezTo>
                <a:cubicBezTo>
                  <a:pt x="474" y="262"/>
                  <a:pt x="474" y="262"/>
                  <a:pt x="474" y="262"/>
                </a:cubicBezTo>
                <a:cubicBezTo>
                  <a:pt x="437" y="262"/>
                  <a:pt x="437" y="262"/>
                  <a:pt x="437" y="262"/>
                </a:cubicBezTo>
                <a:cubicBezTo>
                  <a:pt x="437" y="160"/>
                  <a:pt x="437" y="160"/>
                  <a:pt x="437" y="160"/>
                </a:cubicBezTo>
                <a:cubicBezTo>
                  <a:pt x="498" y="120"/>
                  <a:pt x="498" y="120"/>
                  <a:pt x="498" y="120"/>
                </a:cubicBezTo>
                <a:cubicBezTo>
                  <a:pt x="515" y="120"/>
                  <a:pt x="529" y="105"/>
                  <a:pt x="529" y="88"/>
                </a:cubicBezTo>
                <a:cubicBezTo>
                  <a:pt x="529" y="70"/>
                  <a:pt x="515" y="56"/>
                  <a:pt x="497" y="56"/>
                </a:cubicBezTo>
                <a:cubicBezTo>
                  <a:pt x="479" y="56"/>
                  <a:pt x="465" y="70"/>
                  <a:pt x="465" y="88"/>
                </a:cubicBezTo>
                <a:cubicBezTo>
                  <a:pt x="465" y="99"/>
                  <a:pt x="470" y="108"/>
                  <a:pt x="478" y="114"/>
                </a:cubicBezTo>
                <a:cubicBezTo>
                  <a:pt x="421" y="151"/>
                  <a:pt x="421" y="151"/>
                  <a:pt x="421" y="151"/>
                </a:cubicBezTo>
                <a:cubicBezTo>
                  <a:pt x="421" y="262"/>
                  <a:pt x="421" y="262"/>
                  <a:pt x="421" y="262"/>
                </a:cubicBezTo>
                <a:cubicBezTo>
                  <a:pt x="384" y="262"/>
                  <a:pt x="384" y="262"/>
                  <a:pt x="384" y="262"/>
                </a:cubicBezTo>
                <a:cubicBezTo>
                  <a:pt x="384" y="278"/>
                  <a:pt x="384" y="278"/>
                  <a:pt x="384" y="278"/>
                </a:cubicBezTo>
                <a:cubicBezTo>
                  <a:pt x="334" y="278"/>
                  <a:pt x="334" y="278"/>
                  <a:pt x="334" y="278"/>
                </a:cubicBezTo>
                <a:cubicBezTo>
                  <a:pt x="334" y="262"/>
                  <a:pt x="334" y="262"/>
                  <a:pt x="334" y="262"/>
                </a:cubicBezTo>
                <a:cubicBezTo>
                  <a:pt x="297" y="262"/>
                  <a:pt x="297" y="262"/>
                  <a:pt x="297" y="262"/>
                </a:cubicBezTo>
                <a:cubicBezTo>
                  <a:pt x="297" y="63"/>
                  <a:pt x="297" y="63"/>
                  <a:pt x="297" y="63"/>
                </a:cubicBezTo>
                <a:cubicBezTo>
                  <a:pt x="311" y="59"/>
                  <a:pt x="321" y="47"/>
                  <a:pt x="321" y="32"/>
                </a:cubicBezTo>
                <a:cubicBezTo>
                  <a:pt x="321" y="14"/>
                  <a:pt x="307" y="0"/>
                  <a:pt x="289" y="0"/>
                </a:cubicBezTo>
                <a:cubicBezTo>
                  <a:pt x="271" y="0"/>
                  <a:pt x="257" y="14"/>
                  <a:pt x="257" y="32"/>
                </a:cubicBezTo>
                <a:cubicBezTo>
                  <a:pt x="257" y="47"/>
                  <a:pt x="267" y="59"/>
                  <a:pt x="281" y="63"/>
                </a:cubicBezTo>
                <a:cubicBezTo>
                  <a:pt x="281" y="262"/>
                  <a:pt x="281" y="262"/>
                  <a:pt x="281" y="262"/>
                </a:cubicBezTo>
                <a:cubicBezTo>
                  <a:pt x="244" y="262"/>
                  <a:pt x="244" y="262"/>
                  <a:pt x="244" y="262"/>
                </a:cubicBezTo>
                <a:cubicBezTo>
                  <a:pt x="244" y="278"/>
                  <a:pt x="244" y="278"/>
                  <a:pt x="244" y="278"/>
                </a:cubicBezTo>
                <a:cubicBezTo>
                  <a:pt x="194" y="278"/>
                  <a:pt x="194" y="278"/>
                  <a:pt x="194" y="278"/>
                </a:cubicBezTo>
                <a:cubicBezTo>
                  <a:pt x="194" y="262"/>
                  <a:pt x="194" y="262"/>
                  <a:pt x="194" y="262"/>
                </a:cubicBezTo>
                <a:cubicBezTo>
                  <a:pt x="157" y="262"/>
                  <a:pt x="157" y="262"/>
                  <a:pt x="157" y="262"/>
                </a:cubicBezTo>
                <a:cubicBezTo>
                  <a:pt x="157" y="150"/>
                  <a:pt x="157" y="150"/>
                  <a:pt x="157" y="150"/>
                </a:cubicBezTo>
                <a:cubicBezTo>
                  <a:pt x="101" y="113"/>
                  <a:pt x="101" y="113"/>
                  <a:pt x="101" y="113"/>
                </a:cubicBezTo>
                <a:cubicBezTo>
                  <a:pt x="108" y="108"/>
                  <a:pt x="113" y="98"/>
                  <a:pt x="113" y="88"/>
                </a:cubicBezTo>
                <a:cubicBezTo>
                  <a:pt x="113" y="70"/>
                  <a:pt x="99" y="56"/>
                  <a:pt x="81" y="56"/>
                </a:cubicBezTo>
                <a:cubicBezTo>
                  <a:pt x="63" y="56"/>
                  <a:pt x="49" y="70"/>
                  <a:pt x="49" y="88"/>
                </a:cubicBezTo>
                <a:cubicBezTo>
                  <a:pt x="49" y="106"/>
                  <a:pt x="63" y="120"/>
                  <a:pt x="81" y="120"/>
                </a:cubicBezTo>
                <a:cubicBezTo>
                  <a:pt x="81" y="120"/>
                  <a:pt x="82" y="120"/>
                  <a:pt x="82" y="120"/>
                </a:cubicBezTo>
                <a:cubicBezTo>
                  <a:pt x="141" y="159"/>
                  <a:pt x="141" y="159"/>
                  <a:pt x="141" y="159"/>
                </a:cubicBezTo>
                <a:cubicBezTo>
                  <a:pt x="141" y="262"/>
                  <a:pt x="141" y="262"/>
                  <a:pt x="141" y="262"/>
                </a:cubicBezTo>
                <a:cubicBezTo>
                  <a:pt x="104" y="262"/>
                  <a:pt x="104" y="262"/>
                  <a:pt x="104" y="262"/>
                </a:cubicBezTo>
                <a:cubicBezTo>
                  <a:pt x="104" y="278"/>
                  <a:pt x="104" y="278"/>
                  <a:pt x="104" y="278"/>
                </a:cubicBezTo>
                <a:cubicBezTo>
                  <a:pt x="0" y="278"/>
                  <a:pt x="0" y="278"/>
                  <a:pt x="0" y="278"/>
                </a:cubicBezTo>
                <a:cubicBezTo>
                  <a:pt x="0" y="856"/>
                  <a:pt x="0" y="856"/>
                  <a:pt x="0" y="856"/>
                </a:cubicBezTo>
                <a:cubicBezTo>
                  <a:pt x="104" y="856"/>
                  <a:pt x="104" y="856"/>
                  <a:pt x="104" y="856"/>
                </a:cubicBezTo>
                <a:cubicBezTo>
                  <a:pt x="104" y="872"/>
                  <a:pt x="104" y="872"/>
                  <a:pt x="104" y="872"/>
                </a:cubicBezTo>
                <a:cubicBezTo>
                  <a:pt x="141" y="872"/>
                  <a:pt x="141" y="872"/>
                  <a:pt x="141" y="872"/>
                </a:cubicBezTo>
                <a:cubicBezTo>
                  <a:pt x="141" y="982"/>
                  <a:pt x="141" y="982"/>
                  <a:pt x="141" y="982"/>
                </a:cubicBezTo>
                <a:cubicBezTo>
                  <a:pt x="83" y="1021"/>
                  <a:pt x="83" y="1021"/>
                  <a:pt x="83" y="1021"/>
                </a:cubicBezTo>
                <a:cubicBezTo>
                  <a:pt x="82" y="1021"/>
                  <a:pt x="82" y="1020"/>
                  <a:pt x="81" y="1020"/>
                </a:cubicBezTo>
                <a:cubicBezTo>
                  <a:pt x="63" y="1020"/>
                  <a:pt x="49" y="1035"/>
                  <a:pt x="49" y="1053"/>
                </a:cubicBezTo>
                <a:cubicBezTo>
                  <a:pt x="49" y="1070"/>
                  <a:pt x="63" y="1085"/>
                  <a:pt x="81" y="1085"/>
                </a:cubicBezTo>
                <a:cubicBezTo>
                  <a:pt x="99" y="1085"/>
                  <a:pt x="113" y="1070"/>
                  <a:pt x="113" y="1053"/>
                </a:cubicBezTo>
                <a:cubicBezTo>
                  <a:pt x="113" y="1042"/>
                  <a:pt x="108" y="1033"/>
                  <a:pt x="101" y="1028"/>
                </a:cubicBezTo>
                <a:cubicBezTo>
                  <a:pt x="157" y="991"/>
                  <a:pt x="157" y="991"/>
                  <a:pt x="157" y="991"/>
                </a:cubicBezTo>
                <a:cubicBezTo>
                  <a:pt x="157" y="872"/>
                  <a:pt x="157" y="872"/>
                  <a:pt x="157" y="872"/>
                </a:cubicBezTo>
                <a:cubicBezTo>
                  <a:pt x="194" y="872"/>
                  <a:pt x="194" y="872"/>
                  <a:pt x="194" y="872"/>
                </a:cubicBezTo>
                <a:cubicBezTo>
                  <a:pt x="194" y="856"/>
                  <a:pt x="194" y="856"/>
                  <a:pt x="194" y="856"/>
                </a:cubicBezTo>
                <a:cubicBezTo>
                  <a:pt x="244" y="856"/>
                  <a:pt x="244" y="856"/>
                  <a:pt x="244" y="856"/>
                </a:cubicBezTo>
                <a:cubicBezTo>
                  <a:pt x="244" y="872"/>
                  <a:pt x="244" y="872"/>
                  <a:pt x="244" y="872"/>
                </a:cubicBezTo>
                <a:cubicBezTo>
                  <a:pt x="281" y="872"/>
                  <a:pt x="281" y="872"/>
                  <a:pt x="281" y="872"/>
                </a:cubicBezTo>
                <a:cubicBezTo>
                  <a:pt x="281" y="1043"/>
                  <a:pt x="281" y="1043"/>
                  <a:pt x="281" y="1043"/>
                </a:cubicBezTo>
                <a:cubicBezTo>
                  <a:pt x="267" y="1046"/>
                  <a:pt x="257" y="1059"/>
                  <a:pt x="257" y="1074"/>
                </a:cubicBezTo>
                <a:cubicBezTo>
                  <a:pt x="257" y="1092"/>
                  <a:pt x="271" y="1106"/>
                  <a:pt x="289" y="1106"/>
                </a:cubicBezTo>
                <a:cubicBezTo>
                  <a:pt x="307" y="1106"/>
                  <a:pt x="321" y="1092"/>
                  <a:pt x="321" y="1074"/>
                </a:cubicBezTo>
                <a:cubicBezTo>
                  <a:pt x="321" y="1059"/>
                  <a:pt x="311" y="1046"/>
                  <a:pt x="297" y="1043"/>
                </a:cubicBezTo>
                <a:cubicBezTo>
                  <a:pt x="297" y="872"/>
                  <a:pt x="297" y="872"/>
                  <a:pt x="297" y="872"/>
                </a:cubicBezTo>
                <a:cubicBezTo>
                  <a:pt x="334" y="872"/>
                  <a:pt x="334" y="872"/>
                  <a:pt x="334" y="872"/>
                </a:cubicBezTo>
                <a:cubicBezTo>
                  <a:pt x="334" y="856"/>
                  <a:pt x="334" y="856"/>
                  <a:pt x="334" y="856"/>
                </a:cubicBezTo>
                <a:cubicBezTo>
                  <a:pt x="384" y="856"/>
                  <a:pt x="384" y="856"/>
                  <a:pt x="384" y="856"/>
                </a:cubicBezTo>
                <a:cubicBezTo>
                  <a:pt x="384" y="872"/>
                  <a:pt x="384" y="872"/>
                  <a:pt x="384" y="872"/>
                </a:cubicBezTo>
                <a:cubicBezTo>
                  <a:pt x="421" y="872"/>
                  <a:pt x="421" y="872"/>
                  <a:pt x="421" y="872"/>
                </a:cubicBezTo>
                <a:cubicBezTo>
                  <a:pt x="421" y="991"/>
                  <a:pt x="421" y="991"/>
                  <a:pt x="421" y="991"/>
                </a:cubicBezTo>
                <a:cubicBezTo>
                  <a:pt x="478" y="1028"/>
                  <a:pt x="478" y="1028"/>
                  <a:pt x="478" y="1028"/>
                </a:cubicBezTo>
                <a:cubicBezTo>
                  <a:pt x="471" y="1034"/>
                  <a:pt x="467" y="1043"/>
                  <a:pt x="467" y="1053"/>
                </a:cubicBezTo>
                <a:cubicBezTo>
                  <a:pt x="467" y="1070"/>
                  <a:pt x="481" y="1085"/>
                  <a:pt x="499" y="1085"/>
                </a:cubicBezTo>
                <a:cubicBezTo>
                  <a:pt x="517" y="1085"/>
                  <a:pt x="531" y="1070"/>
                  <a:pt x="531" y="1053"/>
                </a:cubicBezTo>
                <a:cubicBezTo>
                  <a:pt x="531" y="1035"/>
                  <a:pt x="517" y="1020"/>
                  <a:pt x="499" y="1020"/>
                </a:cubicBezTo>
                <a:cubicBezTo>
                  <a:pt x="498" y="1020"/>
                  <a:pt x="497" y="1021"/>
                  <a:pt x="496" y="1021"/>
                </a:cubicBezTo>
                <a:cubicBezTo>
                  <a:pt x="437" y="982"/>
                  <a:pt x="437" y="982"/>
                  <a:pt x="437" y="982"/>
                </a:cubicBezTo>
                <a:cubicBezTo>
                  <a:pt x="437" y="872"/>
                  <a:pt x="437" y="872"/>
                  <a:pt x="437" y="872"/>
                </a:cubicBezTo>
                <a:lnTo>
                  <a:pt x="474" y="872"/>
                </a:lnTo>
                <a:close/>
                <a:moveTo>
                  <a:pt x="497" y="72"/>
                </a:moveTo>
                <a:cubicBezTo>
                  <a:pt x="506" y="72"/>
                  <a:pt x="513" y="79"/>
                  <a:pt x="513" y="88"/>
                </a:cubicBezTo>
                <a:cubicBezTo>
                  <a:pt x="513" y="97"/>
                  <a:pt x="506" y="104"/>
                  <a:pt x="497" y="104"/>
                </a:cubicBezTo>
                <a:cubicBezTo>
                  <a:pt x="488" y="104"/>
                  <a:pt x="481" y="97"/>
                  <a:pt x="481" y="88"/>
                </a:cubicBezTo>
                <a:cubicBezTo>
                  <a:pt x="481" y="79"/>
                  <a:pt x="488" y="72"/>
                  <a:pt x="497" y="72"/>
                </a:cubicBezTo>
                <a:close/>
                <a:moveTo>
                  <a:pt x="273" y="32"/>
                </a:moveTo>
                <a:cubicBezTo>
                  <a:pt x="273" y="23"/>
                  <a:pt x="280" y="16"/>
                  <a:pt x="289" y="16"/>
                </a:cubicBezTo>
                <a:cubicBezTo>
                  <a:pt x="298" y="16"/>
                  <a:pt x="305" y="23"/>
                  <a:pt x="305" y="32"/>
                </a:cubicBezTo>
                <a:cubicBezTo>
                  <a:pt x="305" y="41"/>
                  <a:pt x="298" y="48"/>
                  <a:pt x="289" y="48"/>
                </a:cubicBezTo>
                <a:cubicBezTo>
                  <a:pt x="280" y="48"/>
                  <a:pt x="273" y="41"/>
                  <a:pt x="273" y="32"/>
                </a:cubicBezTo>
                <a:close/>
                <a:moveTo>
                  <a:pt x="81" y="104"/>
                </a:moveTo>
                <a:cubicBezTo>
                  <a:pt x="72" y="104"/>
                  <a:pt x="65" y="97"/>
                  <a:pt x="65" y="88"/>
                </a:cubicBezTo>
                <a:cubicBezTo>
                  <a:pt x="65" y="79"/>
                  <a:pt x="72" y="72"/>
                  <a:pt x="81" y="72"/>
                </a:cubicBezTo>
                <a:cubicBezTo>
                  <a:pt x="90" y="72"/>
                  <a:pt x="97" y="79"/>
                  <a:pt x="97" y="88"/>
                </a:cubicBezTo>
                <a:cubicBezTo>
                  <a:pt x="97" y="97"/>
                  <a:pt x="90" y="104"/>
                  <a:pt x="81" y="104"/>
                </a:cubicBezTo>
                <a:close/>
                <a:moveTo>
                  <a:pt x="81" y="1069"/>
                </a:moveTo>
                <a:cubicBezTo>
                  <a:pt x="72" y="1069"/>
                  <a:pt x="65" y="1061"/>
                  <a:pt x="65" y="1053"/>
                </a:cubicBezTo>
                <a:cubicBezTo>
                  <a:pt x="65" y="1044"/>
                  <a:pt x="72" y="1036"/>
                  <a:pt x="81" y="1036"/>
                </a:cubicBezTo>
                <a:cubicBezTo>
                  <a:pt x="83" y="1036"/>
                  <a:pt x="84" y="1037"/>
                  <a:pt x="85" y="1037"/>
                </a:cubicBezTo>
                <a:cubicBezTo>
                  <a:pt x="86" y="1038"/>
                  <a:pt x="86" y="1038"/>
                  <a:pt x="86" y="1038"/>
                </a:cubicBezTo>
                <a:cubicBezTo>
                  <a:pt x="86" y="1037"/>
                  <a:pt x="86" y="1037"/>
                  <a:pt x="86" y="1037"/>
                </a:cubicBezTo>
                <a:cubicBezTo>
                  <a:pt x="93" y="1039"/>
                  <a:pt x="97" y="1045"/>
                  <a:pt x="97" y="1053"/>
                </a:cubicBezTo>
                <a:cubicBezTo>
                  <a:pt x="97" y="1061"/>
                  <a:pt x="90" y="1069"/>
                  <a:pt x="81" y="1069"/>
                </a:cubicBezTo>
                <a:close/>
                <a:moveTo>
                  <a:pt x="305" y="1074"/>
                </a:moveTo>
                <a:cubicBezTo>
                  <a:pt x="305" y="1083"/>
                  <a:pt x="298" y="1090"/>
                  <a:pt x="289" y="1090"/>
                </a:cubicBezTo>
                <a:cubicBezTo>
                  <a:pt x="280" y="1090"/>
                  <a:pt x="273" y="1083"/>
                  <a:pt x="273" y="1074"/>
                </a:cubicBezTo>
                <a:cubicBezTo>
                  <a:pt x="273" y="1065"/>
                  <a:pt x="280" y="1058"/>
                  <a:pt x="289" y="1058"/>
                </a:cubicBezTo>
                <a:cubicBezTo>
                  <a:pt x="298" y="1058"/>
                  <a:pt x="305" y="1065"/>
                  <a:pt x="305" y="1074"/>
                </a:cubicBezTo>
                <a:close/>
                <a:moveTo>
                  <a:pt x="499" y="1036"/>
                </a:moveTo>
                <a:cubicBezTo>
                  <a:pt x="508" y="1036"/>
                  <a:pt x="515" y="1044"/>
                  <a:pt x="515" y="1053"/>
                </a:cubicBezTo>
                <a:cubicBezTo>
                  <a:pt x="515" y="1061"/>
                  <a:pt x="508" y="1069"/>
                  <a:pt x="499" y="1069"/>
                </a:cubicBezTo>
                <a:cubicBezTo>
                  <a:pt x="490" y="1069"/>
                  <a:pt x="483" y="1061"/>
                  <a:pt x="483" y="1053"/>
                </a:cubicBezTo>
                <a:cubicBezTo>
                  <a:pt x="483" y="1044"/>
                  <a:pt x="490" y="1036"/>
                  <a:pt x="499" y="1036"/>
                </a:cubicBezTo>
                <a:close/>
                <a:moveTo>
                  <a:pt x="62" y="340"/>
                </a:moveTo>
                <a:cubicBezTo>
                  <a:pt x="516" y="340"/>
                  <a:pt x="516" y="340"/>
                  <a:pt x="516" y="340"/>
                </a:cubicBezTo>
                <a:cubicBezTo>
                  <a:pt x="516" y="567"/>
                  <a:pt x="516" y="567"/>
                  <a:pt x="516" y="567"/>
                </a:cubicBezTo>
                <a:cubicBezTo>
                  <a:pt x="463" y="567"/>
                  <a:pt x="463" y="567"/>
                  <a:pt x="463" y="567"/>
                </a:cubicBezTo>
                <a:cubicBezTo>
                  <a:pt x="433" y="505"/>
                  <a:pt x="433" y="505"/>
                  <a:pt x="433" y="505"/>
                </a:cubicBezTo>
                <a:cubicBezTo>
                  <a:pt x="411" y="615"/>
                  <a:pt x="411" y="615"/>
                  <a:pt x="411" y="615"/>
                </a:cubicBezTo>
                <a:cubicBezTo>
                  <a:pt x="352" y="378"/>
                  <a:pt x="352" y="378"/>
                  <a:pt x="352" y="378"/>
                </a:cubicBezTo>
                <a:cubicBezTo>
                  <a:pt x="267" y="688"/>
                  <a:pt x="267" y="688"/>
                  <a:pt x="267" y="688"/>
                </a:cubicBezTo>
                <a:cubicBezTo>
                  <a:pt x="242" y="571"/>
                  <a:pt x="242" y="571"/>
                  <a:pt x="242" y="571"/>
                </a:cubicBezTo>
                <a:cubicBezTo>
                  <a:pt x="193" y="571"/>
                  <a:pt x="193" y="571"/>
                  <a:pt x="193" y="571"/>
                </a:cubicBezTo>
                <a:cubicBezTo>
                  <a:pt x="176" y="466"/>
                  <a:pt x="176" y="466"/>
                  <a:pt x="176" y="466"/>
                </a:cubicBezTo>
                <a:cubicBezTo>
                  <a:pt x="137" y="621"/>
                  <a:pt x="137" y="621"/>
                  <a:pt x="137" y="621"/>
                </a:cubicBezTo>
                <a:cubicBezTo>
                  <a:pt x="120" y="559"/>
                  <a:pt x="120" y="559"/>
                  <a:pt x="120" y="559"/>
                </a:cubicBezTo>
                <a:cubicBezTo>
                  <a:pt x="62" y="559"/>
                  <a:pt x="62" y="559"/>
                  <a:pt x="62" y="559"/>
                </a:cubicBezTo>
                <a:lnTo>
                  <a:pt x="62" y="340"/>
                </a:lnTo>
                <a:close/>
                <a:moveTo>
                  <a:pt x="62" y="575"/>
                </a:moveTo>
                <a:cubicBezTo>
                  <a:pt x="108" y="575"/>
                  <a:pt x="108" y="575"/>
                  <a:pt x="108" y="575"/>
                </a:cubicBezTo>
                <a:cubicBezTo>
                  <a:pt x="139" y="683"/>
                  <a:pt x="139" y="683"/>
                  <a:pt x="139" y="683"/>
                </a:cubicBezTo>
                <a:cubicBezTo>
                  <a:pt x="172" y="546"/>
                  <a:pt x="172" y="546"/>
                  <a:pt x="172" y="546"/>
                </a:cubicBezTo>
                <a:cubicBezTo>
                  <a:pt x="179" y="587"/>
                  <a:pt x="179" y="587"/>
                  <a:pt x="179" y="587"/>
                </a:cubicBezTo>
                <a:cubicBezTo>
                  <a:pt x="230" y="587"/>
                  <a:pt x="230" y="587"/>
                  <a:pt x="230" y="587"/>
                </a:cubicBezTo>
                <a:cubicBezTo>
                  <a:pt x="265" y="756"/>
                  <a:pt x="265" y="756"/>
                  <a:pt x="265" y="756"/>
                </a:cubicBezTo>
                <a:cubicBezTo>
                  <a:pt x="352" y="441"/>
                  <a:pt x="352" y="441"/>
                  <a:pt x="352" y="441"/>
                </a:cubicBezTo>
                <a:cubicBezTo>
                  <a:pt x="413" y="689"/>
                  <a:pt x="413" y="689"/>
                  <a:pt x="413" y="689"/>
                </a:cubicBezTo>
                <a:cubicBezTo>
                  <a:pt x="439" y="555"/>
                  <a:pt x="439" y="555"/>
                  <a:pt x="439" y="555"/>
                </a:cubicBezTo>
                <a:cubicBezTo>
                  <a:pt x="453" y="583"/>
                  <a:pt x="453" y="583"/>
                  <a:pt x="453" y="583"/>
                </a:cubicBezTo>
                <a:cubicBezTo>
                  <a:pt x="516" y="583"/>
                  <a:pt x="516" y="583"/>
                  <a:pt x="516" y="583"/>
                </a:cubicBezTo>
                <a:cubicBezTo>
                  <a:pt x="516" y="794"/>
                  <a:pt x="516" y="794"/>
                  <a:pt x="516" y="794"/>
                </a:cubicBezTo>
                <a:cubicBezTo>
                  <a:pt x="62" y="794"/>
                  <a:pt x="62" y="794"/>
                  <a:pt x="62" y="794"/>
                </a:cubicBezTo>
                <a:lnTo>
                  <a:pt x="62" y="57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vert="horz" wrap="square" lIns="68514" tIns="34257" rIns="68514" bIns="34257" numCol="1" anchor="t" anchorCtr="0" compatLnSpc="1">
            <a:prstTxWarp prst="textNoShape">
              <a:avLst/>
            </a:prstTxWarp>
          </a:bodyPr>
          <a:lstStyle/>
          <a:p>
            <a:pPr defTabSz="342769">
              <a:defRPr/>
            </a:pPr>
            <a:endParaRPr lang="en-US" kern="0" dirty="0" smtClean="0">
              <a:solidFill>
                <a:sysClr val="windowText" lastClr="000000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226" name="Rectangle 225"/>
          <p:cNvSpPr/>
          <p:nvPr/>
        </p:nvSpPr>
        <p:spPr>
          <a:xfrm>
            <a:off x="4239130" y="2522881"/>
            <a:ext cx="837891" cy="392415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r"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Advanced</a:t>
            </a:r>
          </a:p>
          <a:p>
            <a:pPr algn="r"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Malware</a:t>
            </a:r>
          </a:p>
        </p:txBody>
      </p:sp>
      <p:sp>
        <p:nvSpPr>
          <p:cNvPr id="227" name="Freeform 226"/>
          <p:cNvSpPr>
            <a:spLocks noChangeAspect="1" noEditPoints="1"/>
          </p:cNvSpPr>
          <p:nvPr/>
        </p:nvSpPr>
        <p:spPr bwMode="auto">
          <a:xfrm>
            <a:off x="5145601" y="2663893"/>
            <a:ext cx="274320" cy="110390"/>
          </a:xfrm>
          <a:custGeom>
            <a:avLst/>
            <a:gdLst>
              <a:gd name="T0" fmla="*/ 4420 w 5953"/>
              <a:gd name="T1" fmla="*/ 372 h 2214"/>
              <a:gd name="T2" fmla="*/ 3947 w 5953"/>
              <a:gd name="T3" fmla="*/ 585 h 2214"/>
              <a:gd name="T4" fmla="*/ 3540 w 5953"/>
              <a:gd name="T5" fmla="*/ 852 h 2214"/>
              <a:gd name="T6" fmla="*/ 3279 w 5953"/>
              <a:gd name="T7" fmla="*/ 1058 h 2214"/>
              <a:gd name="T8" fmla="*/ 3237 w 5953"/>
              <a:gd name="T9" fmla="*/ 1120 h 2214"/>
              <a:gd name="T10" fmla="*/ 3434 w 5953"/>
              <a:gd name="T11" fmla="*/ 1282 h 2214"/>
              <a:gd name="T12" fmla="*/ 3800 w 5953"/>
              <a:gd name="T13" fmla="*/ 1540 h 2214"/>
              <a:gd name="T14" fmla="*/ 4259 w 5953"/>
              <a:gd name="T15" fmla="*/ 1784 h 2214"/>
              <a:gd name="T16" fmla="*/ 4738 w 5953"/>
              <a:gd name="T17" fmla="*/ 1902 h 2214"/>
              <a:gd name="T18" fmla="*/ 5243 w 5953"/>
              <a:gd name="T19" fmla="*/ 1813 h 2214"/>
              <a:gd name="T20" fmla="*/ 5541 w 5953"/>
              <a:gd name="T21" fmla="*/ 1566 h 2214"/>
              <a:gd name="T22" fmla="*/ 5671 w 5953"/>
              <a:gd name="T23" fmla="*/ 1255 h 2214"/>
              <a:gd name="T24" fmla="*/ 5671 w 5953"/>
              <a:gd name="T25" fmla="*/ 959 h 2214"/>
              <a:gd name="T26" fmla="*/ 5541 w 5953"/>
              <a:gd name="T27" fmla="*/ 650 h 2214"/>
              <a:gd name="T28" fmla="*/ 5243 w 5953"/>
              <a:gd name="T29" fmla="*/ 401 h 2214"/>
              <a:gd name="T30" fmla="*/ 1114 w 5953"/>
              <a:gd name="T31" fmla="*/ 312 h 2214"/>
              <a:gd name="T32" fmla="*/ 646 w 5953"/>
              <a:gd name="T33" fmla="*/ 435 h 2214"/>
              <a:gd name="T34" fmla="*/ 381 w 5953"/>
              <a:gd name="T35" fmla="*/ 699 h 2214"/>
              <a:gd name="T36" fmla="*/ 274 w 5953"/>
              <a:gd name="T37" fmla="*/ 1009 h 2214"/>
              <a:gd name="T38" fmla="*/ 294 w 5953"/>
              <a:gd name="T39" fmla="*/ 1307 h 2214"/>
              <a:gd name="T40" fmla="*/ 450 w 5953"/>
              <a:gd name="T41" fmla="*/ 1613 h 2214"/>
              <a:gd name="T42" fmla="*/ 778 w 5953"/>
              <a:gd name="T43" fmla="*/ 1842 h 2214"/>
              <a:gd name="T44" fmla="*/ 1293 w 5953"/>
              <a:gd name="T45" fmla="*/ 1896 h 2214"/>
              <a:gd name="T46" fmla="*/ 1773 w 5953"/>
              <a:gd name="T47" fmla="*/ 1750 h 2214"/>
              <a:gd name="T48" fmla="*/ 2223 w 5953"/>
              <a:gd name="T49" fmla="*/ 1495 h 2214"/>
              <a:gd name="T50" fmla="*/ 2566 w 5953"/>
              <a:gd name="T51" fmla="*/ 1244 h 2214"/>
              <a:gd name="T52" fmla="*/ 2726 w 5953"/>
              <a:gd name="T53" fmla="*/ 1111 h 2214"/>
              <a:gd name="T54" fmla="*/ 2643 w 5953"/>
              <a:gd name="T55" fmla="*/ 1033 h 2214"/>
              <a:gd name="T56" fmla="*/ 2353 w 5953"/>
              <a:gd name="T57" fmla="*/ 809 h 2214"/>
              <a:gd name="T58" fmla="*/ 1930 w 5953"/>
              <a:gd name="T59" fmla="*/ 544 h 2214"/>
              <a:gd name="T60" fmla="*/ 1452 w 5953"/>
              <a:gd name="T61" fmla="*/ 349 h 2214"/>
              <a:gd name="T62" fmla="*/ 4940 w 5953"/>
              <a:gd name="T63" fmla="*/ 5 h 2214"/>
              <a:gd name="T64" fmla="*/ 5472 w 5953"/>
              <a:gd name="T65" fmla="*/ 188 h 2214"/>
              <a:gd name="T66" fmla="*/ 5839 w 5953"/>
              <a:gd name="T67" fmla="*/ 616 h 2214"/>
              <a:gd name="T68" fmla="*/ 5951 w 5953"/>
              <a:gd name="T69" fmla="*/ 1179 h 2214"/>
              <a:gd name="T70" fmla="*/ 5776 w 5953"/>
              <a:gd name="T71" fmla="*/ 1712 h 2214"/>
              <a:gd name="T72" fmla="*/ 5398 w 5953"/>
              <a:gd name="T73" fmla="*/ 2071 h 2214"/>
              <a:gd name="T74" fmla="*/ 4833 w 5953"/>
              <a:gd name="T75" fmla="*/ 2214 h 2214"/>
              <a:gd name="T76" fmla="*/ 4113 w 5953"/>
              <a:gd name="T77" fmla="*/ 2061 h 2214"/>
              <a:gd name="T78" fmla="*/ 3308 w 5953"/>
              <a:gd name="T79" fmla="*/ 1600 h 2214"/>
              <a:gd name="T80" fmla="*/ 2645 w 5953"/>
              <a:gd name="T81" fmla="*/ 1600 h 2214"/>
              <a:gd name="T82" fmla="*/ 1840 w 5953"/>
              <a:gd name="T83" fmla="*/ 2061 h 2214"/>
              <a:gd name="T84" fmla="*/ 1119 w 5953"/>
              <a:gd name="T85" fmla="*/ 2214 h 2214"/>
              <a:gd name="T86" fmla="*/ 554 w 5953"/>
              <a:gd name="T87" fmla="*/ 2071 h 2214"/>
              <a:gd name="T88" fmla="*/ 177 w 5953"/>
              <a:gd name="T89" fmla="*/ 1712 h 2214"/>
              <a:gd name="T90" fmla="*/ 2 w 5953"/>
              <a:gd name="T91" fmla="*/ 1179 h 2214"/>
              <a:gd name="T92" fmla="*/ 114 w 5953"/>
              <a:gd name="T93" fmla="*/ 616 h 2214"/>
              <a:gd name="T94" fmla="*/ 480 w 5953"/>
              <a:gd name="T95" fmla="*/ 188 h 2214"/>
              <a:gd name="T96" fmla="*/ 1013 w 5953"/>
              <a:gd name="T97" fmla="*/ 5 h 2214"/>
              <a:gd name="T98" fmla="*/ 1708 w 5953"/>
              <a:gd name="T99" fmla="*/ 105 h 2214"/>
              <a:gd name="T100" fmla="*/ 2513 w 5953"/>
              <a:gd name="T101" fmla="*/ 518 h 2214"/>
              <a:gd name="T102" fmla="*/ 3181 w 5953"/>
              <a:gd name="T103" fmla="*/ 715 h 2214"/>
              <a:gd name="T104" fmla="*/ 3985 w 5953"/>
              <a:gd name="T105" fmla="*/ 208 h 2214"/>
              <a:gd name="T106" fmla="*/ 4727 w 5953"/>
              <a:gd name="T107" fmla="*/ 4 h 2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953" h="2214">
                <a:moveTo>
                  <a:pt x="4839" y="312"/>
                </a:moveTo>
                <a:lnTo>
                  <a:pt x="4738" y="312"/>
                </a:lnTo>
                <a:lnTo>
                  <a:pt x="4660" y="318"/>
                </a:lnTo>
                <a:lnTo>
                  <a:pt x="4580" y="330"/>
                </a:lnTo>
                <a:lnTo>
                  <a:pt x="4501" y="349"/>
                </a:lnTo>
                <a:lnTo>
                  <a:pt x="4420" y="372"/>
                </a:lnTo>
                <a:lnTo>
                  <a:pt x="4340" y="399"/>
                </a:lnTo>
                <a:lnTo>
                  <a:pt x="4259" y="430"/>
                </a:lnTo>
                <a:lnTo>
                  <a:pt x="4180" y="464"/>
                </a:lnTo>
                <a:lnTo>
                  <a:pt x="4100" y="502"/>
                </a:lnTo>
                <a:lnTo>
                  <a:pt x="4023" y="544"/>
                </a:lnTo>
                <a:lnTo>
                  <a:pt x="3947" y="585"/>
                </a:lnTo>
                <a:lnTo>
                  <a:pt x="3873" y="628"/>
                </a:lnTo>
                <a:lnTo>
                  <a:pt x="3800" y="674"/>
                </a:lnTo>
                <a:lnTo>
                  <a:pt x="3730" y="719"/>
                </a:lnTo>
                <a:lnTo>
                  <a:pt x="3663" y="764"/>
                </a:lnTo>
                <a:lnTo>
                  <a:pt x="3600" y="809"/>
                </a:lnTo>
                <a:lnTo>
                  <a:pt x="3540" y="852"/>
                </a:lnTo>
                <a:lnTo>
                  <a:pt x="3485" y="894"/>
                </a:lnTo>
                <a:lnTo>
                  <a:pt x="3434" y="932"/>
                </a:lnTo>
                <a:lnTo>
                  <a:pt x="3387" y="970"/>
                </a:lnTo>
                <a:lnTo>
                  <a:pt x="3346" y="1002"/>
                </a:lnTo>
                <a:lnTo>
                  <a:pt x="3309" y="1033"/>
                </a:lnTo>
                <a:lnTo>
                  <a:pt x="3279" y="1058"/>
                </a:lnTo>
                <a:lnTo>
                  <a:pt x="3255" y="1078"/>
                </a:lnTo>
                <a:lnTo>
                  <a:pt x="3237" y="1094"/>
                </a:lnTo>
                <a:lnTo>
                  <a:pt x="3226" y="1103"/>
                </a:lnTo>
                <a:lnTo>
                  <a:pt x="3223" y="1107"/>
                </a:lnTo>
                <a:lnTo>
                  <a:pt x="3226" y="1111"/>
                </a:lnTo>
                <a:lnTo>
                  <a:pt x="3237" y="1120"/>
                </a:lnTo>
                <a:lnTo>
                  <a:pt x="3255" y="1136"/>
                </a:lnTo>
                <a:lnTo>
                  <a:pt x="3279" y="1156"/>
                </a:lnTo>
                <a:lnTo>
                  <a:pt x="3309" y="1181"/>
                </a:lnTo>
                <a:lnTo>
                  <a:pt x="3346" y="1212"/>
                </a:lnTo>
                <a:lnTo>
                  <a:pt x="3387" y="1244"/>
                </a:lnTo>
                <a:lnTo>
                  <a:pt x="3434" y="1282"/>
                </a:lnTo>
                <a:lnTo>
                  <a:pt x="3485" y="1322"/>
                </a:lnTo>
                <a:lnTo>
                  <a:pt x="3540" y="1363"/>
                </a:lnTo>
                <a:lnTo>
                  <a:pt x="3600" y="1407"/>
                </a:lnTo>
                <a:lnTo>
                  <a:pt x="3663" y="1450"/>
                </a:lnTo>
                <a:lnTo>
                  <a:pt x="3730" y="1495"/>
                </a:lnTo>
                <a:lnTo>
                  <a:pt x="3800" y="1540"/>
                </a:lnTo>
                <a:lnTo>
                  <a:pt x="3873" y="1586"/>
                </a:lnTo>
                <a:lnTo>
                  <a:pt x="3947" y="1629"/>
                </a:lnTo>
                <a:lnTo>
                  <a:pt x="4023" y="1670"/>
                </a:lnTo>
                <a:lnTo>
                  <a:pt x="4100" y="1712"/>
                </a:lnTo>
                <a:lnTo>
                  <a:pt x="4180" y="1750"/>
                </a:lnTo>
                <a:lnTo>
                  <a:pt x="4259" y="1784"/>
                </a:lnTo>
                <a:lnTo>
                  <a:pt x="4340" y="1817"/>
                </a:lnTo>
                <a:lnTo>
                  <a:pt x="4420" y="1844"/>
                </a:lnTo>
                <a:lnTo>
                  <a:pt x="4501" y="1865"/>
                </a:lnTo>
                <a:lnTo>
                  <a:pt x="4580" y="1884"/>
                </a:lnTo>
                <a:lnTo>
                  <a:pt x="4660" y="1896"/>
                </a:lnTo>
                <a:lnTo>
                  <a:pt x="4738" y="1902"/>
                </a:lnTo>
                <a:lnTo>
                  <a:pt x="4839" y="1902"/>
                </a:lnTo>
                <a:lnTo>
                  <a:pt x="4933" y="1896"/>
                </a:lnTo>
                <a:lnTo>
                  <a:pt x="5019" y="1884"/>
                </a:lnTo>
                <a:lnTo>
                  <a:pt x="5100" y="1865"/>
                </a:lnTo>
                <a:lnTo>
                  <a:pt x="5174" y="1842"/>
                </a:lnTo>
                <a:lnTo>
                  <a:pt x="5243" y="1813"/>
                </a:lnTo>
                <a:lnTo>
                  <a:pt x="5306" y="1781"/>
                </a:lnTo>
                <a:lnTo>
                  <a:pt x="5364" y="1743"/>
                </a:lnTo>
                <a:lnTo>
                  <a:pt x="5416" y="1703"/>
                </a:lnTo>
                <a:lnTo>
                  <a:pt x="5462" y="1660"/>
                </a:lnTo>
                <a:lnTo>
                  <a:pt x="5503" y="1613"/>
                </a:lnTo>
                <a:lnTo>
                  <a:pt x="5541" y="1566"/>
                </a:lnTo>
                <a:lnTo>
                  <a:pt x="5572" y="1515"/>
                </a:lnTo>
                <a:lnTo>
                  <a:pt x="5601" y="1465"/>
                </a:lnTo>
                <a:lnTo>
                  <a:pt x="5624" y="1412"/>
                </a:lnTo>
                <a:lnTo>
                  <a:pt x="5642" y="1360"/>
                </a:lnTo>
                <a:lnTo>
                  <a:pt x="5658" y="1307"/>
                </a:lnTo>
                <a:lnTo>
                  <a:pt x="5671" y="1255"/>
                </a:lnTo>
                <a:lnTo>
                  <a:pt x="5678" y="1205"/>
                </a:lnTo>
                <a:lnTo>
                  <a:pt x="5684" y="1154"/>
                </a:lnTo>
                <a:lnTo>
                  <a:pt x="5685" y="1107"/>
                </a:lnTo>
                <a:lnTo>
                  <a:pt x="5684" y="1060"/>
                </a:lnTo>
                <a:lnTo>
                  <a:pt x="5678" y="1009"/>
                </a:lnTo>
                <a:lnTo>
                  <a:pt x="5671" y="959"/>
                </a:lnTo>
                <a:lnTo>
                  <a:pt x="5658" y="908"/>
                </a:lnTo>
                <a:lnTo>
                  <a:pt x="5642" y="856"/>
                </a:lnTo>
                <a:lnTo>
                  <a:pt x="5624" y="804"/>
                </a:lnTo>
                <a:lnTo>
                  <a:pt x="5601" y="751"/>
                </a:lnTo>
                <a:lnTo>
                  <a:pt x="5572" y="699"/>
                </a:lnTo>
                <a:lnTo>
                  <a:pt x="5541" y="650"/>
                </a:lnTo>
                <a:lnTo>
                  <a:pt x="5503" y="601"/>
                </a:lnTo>
                <a:lnTo>
                  <a:pt x="5462" y="554"/>
                </a:lnTo>
                <a:lnTo>
                  <a:pt x="5416" y="511"/>
                </a:lnTo>
                <a:lnTo>
                  <a:pt x="5364" y="471"/>
                </a:lnTo>
                <a:lnTo>
                  <a:pt x="5306" y="435"/>
                </a:lnTo>
                <a:lnTo>
                  <a:pt x="5243" y="401"/>
                </a:lnTo>
                <a:lnTo>
                  <a:pt x="5174" y="374"/>
                </a:lnTo>
                <a:lnTo>
                  <a:pt x="5100" y="349"/>
                </a:lnTo>
                <a:lnTo>
                  <a:pt x="5019" y="330"/>
                </a:lnTo>
                <a:lnTo>
                  <a:pt x="4933" y="318"/>
                </a:lnTo>
                <a:lnTo>
                  <a:pt x="4839" y="312"/>
                </a:lnTo>
                <a:close/>
                <a:moveTo>
                  <a:pt x="1114" y="312"/>
                </a:moveTo>
                <a:lnTo>
                  <a:pt x="1020" y="318"/>
                </a:lnTo>
                <a:lnTo>
                  <a:pt x="933" y="330"/>
                </a:lnTo>
                <a:lnTo>
                  <a:pt x="852" y="349"/>
                </a:lnTo>
                <a:lnTo>
                  <a:pt x="778" y="374"/>
                </a:lnTo>
                <a:lnTo>
                  <a:pt x="710" y="401"/>
                </a:lnTo>
                <a:lnTo>
                  <a:pt x="646" y="435"/>
                </a:lnTo>
                <a:lnTo>
                  <a:pt x="589" y="471"/>
                </a:lnTo>
                <a:lnTo>
                  <a:pt x="536" y="511"/>
                </a:lnTo>
                <a:lnTo>
                  <a:pt x="491" y="554"/>
                </a:lnTo>
                <a:lnTo>
                  <a:pt x="450" y="601"/>
                </a:lnTo>
                <a:lnTo>
                  <a:pt x="412" y="650"/>
                </a:lnTo>
                <a:lnTo>
                  <a:pt x="381" y="699"/>
                </a:lnTo>
                <a:lnTo>
                  <a:pt x="352" y="751"/>
                </a:lnTo>
                <a:lnTo>
                  <a:pt x="329" y="804"/>
                </a:lnTo>
                <a:lnTo>
                  <a:pt x="311" y="856"/>
                </a:lnTo>
                <a:lnTo>
                  <a:pt x="294" y="908"/>
                </a:lnTo>
                <a:lnTo>
                  <a:pt x="282" y="959"/>
                </a:lnTo>
                <a:lnTo>
                  <a:pt x="274" y="1009"/>
                </a:lnTo>
                <a:lnTo>
                  <a:pt x="269" y="1060"/>
                </a:lnTo>
                <a:lnTo>
                  <a:pt x="267" y="1107"/>
                </a:lnTo>
                <a:lnTo>
                  <a:pt x="269" y="1154"/>
                </a:lnTo>
                <a:lnTo>
                  <a:pt x="274" y="1205"/>
                </a:lnTo>
                <a:lnTo>
                  <a:pt x="282" y="1255"/>
                </a:lnTo>
                <a:lnTo>
                  <a:pt x="294" y="1307"/>
                </a:lnTo>
                <a:lnTo>
                  <a:pt x="311" y="1360"/>
                </a:lnTo>
                <a:lnTo>
                  <a:pt x="329" y="1412"/>
                </a:lnTo>
                <a:lnTo>
                  <a:pt x="352" y="1465"/>
                </a:lnTo>
                <a:lnTo>
                  <a:pt x="381" y="1515"/>
                </a:lnTo>
                <a:lnTo>
                  <a:pt x="412" y="1566"/>
                </a:lnTo>
                <a:lnTo>
                  <a:pt x="450" y="1613"/>
                </a:lnTo>
                <a:lnTo>
                  <a:pt x="491" y="1660"/>
                </a:lnTo>
                <a:lnTo>
                  <a:pt x="536" y="1703"/>
                </a:lnTo>
                <a:lnTo>
                  <a:pt x="589" y="1743"/>
                </a:lnTo>
                <a:lnTo>
                  <a:pt x="646" y="1781"/>
                </a:lnTo>
                <a:lnTo>
                  <a:pt x="710" y="1813"/>
                </a:lnTo>
                <a:lnTo>
                  <a:pt x="778" y="1842"/>
                </a:lnTo>
                <a:lnTo>
                  <a:pt x="852" y="1865"/>
                </a:lnTo>
                <a:lnTo>
                  <a:pt x="933" y="1884"/>
                </a:lnTo>
                <a:lnTo>
                  <a:pt x="1020" y="1896"/>
                </a:lnTo>
                <a:lnTo>
                  <a:pt x="1114" y="1902"/>
                </a:lnTo>
                <a:lnTo>
                  <a:pt x="1215" y="1902"/>
                </a:lnTo>
                <a:lnTo>
                  <a:pt x="1293" y="1896"/>
                </a:lnTo>
                <a:lnTo>
                  <a:pt x="1372" y="1884"/>
                </a:lnTo>
                <a:lnTo>
                  <a:pt x="1452" y="1865"/>
                </a:lnTo>
                <a:lnTo>
                  <a:pt x="1533" y="1844"/>
                </a:lnTo>
                <a:lnTo>
                  <a:pt x="1612" y="1817"/>
                </a:lnTo>
                <a:lnTo>
                  <a:pt x="1694" y="1784"/>
                </a:lnTo>
                <a:lnTo>
                  <a:pt x="1773" y="1750"/>
                </a:lnTo>
                <a:lnTo>
                  <a:pt x="1852" y="1712"/>
                </a:lnTo>
                <a:lnTo>
                  <a:pt x="1930" y="1670"/>
                </a:lnTo>
                <a:lnTo>
                  <a:pt x="2006" y="1629"/>
                </a:lnTo>
                <a:lnTo>
                  <a:pt x="2080" y="1586"/>
                </a:lnTo>
                <a:lnTo>
                  <a:pt x="2152" y="1540"/>
                </a:lnTo>
                <a:lnTo>
                  <a:pt x="2223" y="1495"/>
                </a:lnTo>
                <a:lnTo>
                  <a:pt x="2289" y="1450"/>
                </a:lnTo>
                <a:lnTo>
                  <a:pt x="2353" y="1407"/>
                </a:lnTo>
                <a:lnTo>
                  <a:pt x="2412" y="1363"/>
                </a:lnTo>
                <a:lnTo>
                  <a:pt x="2468" y="1322"/>
                </a:lnTo>
                <a:lnTo>
                  <a:pt x="2519" y="1282"/>
                </a:lnTo>
                <a:lnTo>
                  <a:pt x="2566" y="1244"/>
                </a:lnTo>
                <a:lnTo>
                  <a:pt x="2607" y="1212"/>
                </a:lnTo>
                <a:lnTo>
                  <a:pt x="2643" y="1181"/>
                </a:lnTo>
                <a:lnTo>
                  <a:pt x="2674" y="1156"/>
                </a:lnTo>
                <a:lnTo>
                  <a:pt x="2697" y="1136"/>
                </a:lnTo>
                <a:lnTo>
                  <a:pt x="2715" y="1120"/>
                </a:lnTo>
                <a:lnTo>
                  <a:pt x="2726" y="1111"/>
                </a:lnTo>
                <a:lnTo>
                  <a:pt x="2730" y="1107"/>
                </a:lnTo>
                <a:lnTo>
                  <a:pt x="2726" y="1103"/>
                </a:lnTo>
                <a:lnTo>
                  <a:pt x="2715" y="1094"/>
                </a:lnTo>
                <a:lnTo>
                  <a:pt x="2697" y="1078"/>
                </a:lnTo>
                <a:lnTo>
                  <a:pt x="2674" y="1058"/>
                </a:lnTo>
                <a:lnTo>
                  <a:pt x="2643" y="1033"/>
                </a:lnTo>
                <a:lnTo>
                  <a:pt x="2607" y="1002"/>
                </a:lnTo>
                <a:lnTo>
                  <a:pt x="2566" y="970"/>
                </a:lnTo>
                <a:lnTo>
                  <a:pt x="2519" y="932"/>
                </a:lnTo>
                <a:lnTo>
                  <a:pt x="2468" y="894"/>
                </a:lnTo>
                <a:lnTo>
                  <a:pt x="2412" y="852"/>
                </a:lnTo>
                <a:lnTo>
                  <a:pt x="2353" y="809"/>
                </a:lnTo>
                <a:lnTo>
                  <a:pt x="2289" y="764"/>
                </a:lnTo>
                <a:lnTo>
                  <a:pt x="2223" y="719"/>
                </a:lnTo>
                <a:lnTo>
                  <a:pt x="2152" y="674"/>
                </a:lnTo>
                <a:lnTo>
                  <a:pt x="2080" y="628"/>
                </a:lnTo>
                <a:lnTo>
                  <a:pt x="2006" y="585"/>
                </a:lnTo>
                <a:lnTo>
                  <a:pt x="1930" y="544"/>
                </a:lnTo>
                <a:lnTo>
                  <a:pt x="1852" y="502"/>
                </a:lnTo>
                <a:lnTo>
                  <a:pt x="1773" y="464"/>
                </a:lnTo>
                <a:lnTo>
                  <a:pt x="1694" y="430"/>
                </a:lnTo>
                <a:lnTo>
                  <a:pt x="1612" y="399"/>
                </a:lnTo>
                <a:lnTo>
                  <a:pt x="1533" y="372"/>
                </a:lnTo>
                <a:lnTo>
                  <a:pt x="1452" y="349"/>
                </a:lnTo>
                <a:lnTo>
                  <a:pt x="1372" y="330"/>
                </a:lnTo>
                <a:lnTo>
                  <a:pt x="1293" y="318"/>
                </a:lnTo>
                <a:lnTo>
                  <a:pt x="1215" y="312"/>
                </a:lnTo>
                <a:lnTo>
                  <a:pt x="1114" y="312"/>
                </a:lnTo>
                <a:close/>
                <a:moveTo>
                  <a:pt x="4833" y="0"/>
                </a:moveTo>
                <a:lnTo>
                  <a:pt x="4940" y="5"/>
                </a:lnTo>
                <a:lnTo>
                  <a:pt x="5046" y="18"/>
                </a:lnTo>
                <a:lnTo>
                  <a:pt x="5151" y="43"/>
                </a:lnTo>
                <a:lnTo>
                  <a:pt x="5236" y="69"/>
                </a:lnTo>
                <a:lnTo>
                  <a:pt x="5319" y="103"/>
                </a:lnTo>
                <a:lnTo>
                  <a:pt x="5398" y="143"/>
                </a:lnTo>
                <a:lnTo>
                  <a:pt x="5472" y="188"/>
                </a:lnTo>
                <a:lnTo>
                  <a:pt x="5545" y="242"/>
                </a:lnTo>
                <a:lnTo>
                  <a:pt x="5611" y="300"/>
                </a:lnTo>
                <a:lnTo>
                  <a:pt x="5678" y="372"/>
                </a:lnTo>
                <a:lnTo>
                  <a:pt x="5740" y="450"/>
                </a:lnTo>
                <a:lnTo>
                  <a:pt x="5794" y="531"/>
                </a:lnTo>
                <a:lnTo>
                  <a:pt x="5839" y="616"/>
                </a:lnTo>
                <a:lnTo>
                  <a:pt x="5879" y="706"/>
                </a:lnTo>
                <a:lnTo>
                  <a:pt x="5909" y="796"/>
                </a:lnTo>
                <a:lnTo>
                  <a:pt x="5931" y="890"/>
                </a:lnTo>
                <a:lnTo>
                  <a:pt x="5945" y="986"/>
                </a:lnTo>
                <a:lnTo>
                  <a:pt x="5953" y="1084"/>
                </a:lnTo>
                <a:lnTo>
                  <a:pt x="5951" y="1179"/>
                </a:lnTo>
                <a:lnTo>
                  <a:pt x="5940" y="1277"/>
                </a:lnTo>
                <a:lnTo>
                  <a:pt x="5922" y="1372"/>
                </a:lnTo>
                <a:lnTo>
                  <a:pt x="5893" y="1466"/>
                </a:lnTo>
                <a:lnTo>
                  <a:pt x="5857" y="1558"/>
                </a:lnTo>
                <a:lnTo>
                  <a:pt x="5819" y="1636"/>
                </a:lnTo>
                <a:lnTo>
                  <a:pt x="5776" y="1712"/>
                </a:lnTo>
                <a:lnTo>
                  <a:pt x="5725" y="1784"/>
                </a:lnTo>
                <a:lnTo>
                  <a:pt x="5671" y="1851"/>
                </a:lnTo>
                <a:lnTo>
                  <a:pt x="5611" y="1914"/>
                </a:lnTo>
                <a:lnTo>
                  <a:pt x="5545" y="1974"/>
                </a:lnTo>
                <a:lnTo>
                  <a:pt x="5472" y="2026"/>
                </a:lnTo>
                <a:lnTo>
                  <a:pt x="5398" y="2071"/>
                </a:lnTo>
                <a:lnTo>
                  <a:pt x="5319" y="2111"/>
                </a:lnTo>
                <a:lnTo>
                  <a:pt x="5236" y="2145"/>
                </a:lnTo>
                <a:lnTo>
                  <a:pt x="5151" y="2172"/>
                </a:lnTo>
                <a:lnTo>
                  <a:pt x="5046" y="2196"/>
                </a:lnTo>
                <a:lnTo>
                  <a:pt x="4940" y="2210"/>
                </a:lnTo>
                <a:lnTo>
                  <a:pt x="4833" y="2214"/>
                </a:lnTo>
                <a:lnTo>
                  <a:pt x="4727" y="2212"/>
                </a:lnTo>
                <a:lnTo>
                  <a:pt x="4606" y="2198"/>
                </a:lnTo>
                <a:lnTo>
                  <a:pt x="4483" y="2176"/>
                </a:lnTo>
                <a:lnTo>
                  <a:pt x="4364" y="2147"/>
                </a:lnTo>
                <a:lnTo>
                  <a:pt x="4245" y="2109"/>
                </a:lnTo>
                <a:lnTo>
                  <a:pt x="4113" y="2061"/>
                </a:lnTo>
                <a:lnTo>
                  <a:pt x="3985" y="2006"/>
                </a:lnTo>
                <a:lnTo>
                  <a:pt x="3856" y="1945"/>
                </a:lnTo>
                <a:lnTo>
                  <a:pt x="3714" y="1869"/>
                </a:lnTo>
                <a:lnTo>
                  <a:pt x="3575" y="1786"/>
                </a:lnTo>
                <a:lnTo>
                  <a:pt x="3439" y="1696"/>
                </a:lnTo>
                <a:lnTo>
                  <a:pt x="3308" y="1600"/>
                </a:lnTo>
                <a:lnTo>
                  <a:pt x="3181" y="1499"/>
                </a:lnTo>
                <a:lnTo>
                  <a:pt x="3076" y="1409"/>
                </a:lnTo>
                <a:lnTo>
                  <a:pt x="2975" y="1315"/>
                </a:lnTo>
                <a:lnTo>
                  <a:pt x="2876" y="1409"/>
                </a:lnTo>
                <a:lnTo>
                  <a:pt x="2771" y="1499"/>
                </a:lnTo>
                <a:lnTo>
                  <a:pt x="2645" y="1600"/>
                </a:lnTo>
                <a:lnTo>
                  <a:pt x="2513" y="1696"/>
                </a:lnTo>
                <a:lnTo>
                  <a:pt x="2378" y="1786"/>
                </a:lnTo>
                <a:lnTo>
                  <a:pt x="2239" y="1869"/>
                </a:lnTo>
                <a:lnTo>
                  <a:pt x="2096" y="1945"/>
                </a:lnTo>
                <a:lnTo>
                  <a:pt x="1968" y="2006"/>
                </a:lnTo>
                <a:lnTo>
                  <a:pt x="1840" y="2061"/>
                </a:lnTo>
                <a:lnTo>
                  <a:pt x="1708" y="2109"/>
                </a:lnTo>
                <a:lnTo>
                  <a:pt x="1589" y="2147"/>
                </a:lnTo>
                <a:lnTo>
                  <a:pt x="1470" y="2176"/>
                </a:lnTo>
                <a:lnTo>
                  <a:pt x="1347" y="2198"/>
                </a:lnTo>
                <a:lnTo>
                  <a:pt x="1226" y="2212"/>
                </a:lnTo>
                <a:lnTo>
                  <a:pt x="1119" y="2214"/>
                </a:lnTo>
                <a:lnTo>
                  <a:pt x="1013" y="2210"/>
                </a:lnTo>
                <a:lnTo>
                  <a:pt x="906" y="2196"/>
                </a:lnTo>
                <a:lnTo>
                  <a:pt x="802" y="2172"/>
                </a:lnTo>
                <a:lnTo>
                  <a:pt x="717" y="2145"/>
                </a:lnTo>
                <a:lnTo>
                  <a:pt x="634" y="2111"/>
                </a:lnTo>
                <a:lnTo>
                  <a:pt x="554" y="2071"/>
                </a:lnTo>
                <a:lnTo>
                  <a:pt x="480" y="2026"/>
                </a:lnTo>
                <a:lnTo>
                  <a:pt x="408" y="1974"/>
                </a:lnTo>
                <a:lnTo>
                  <a:pt x="341" y="1914"/>
                </a:lnTo>
                <a:lnTo>
                  <a:pt x="282" y="1851"/>
                </a:lnTo>
                <a:lnTo>
                  <a:pt x="227" y="1784"/>
                </a:lnTo>
                <a:lnTo>
                  <a:pt x="177" y="1712"/>
                </a:lnTo>
                <a:lnTo>
                  <a:pt x="134" y="1636"/>
                </a:lnTo>
                <a:lnTo>
                  <a:pt x="96" y="1558"/>
                </a:lnTo>
                <a:lnTo>
                  <a:pt x="60" y="1466"/>
                </a:lnTo>
                <a:lnTo>
                  <a:pt x="31" y="1372"/>
                </a:lnTo>
                <a:lnTo>
                  <a:pt x="13" y="1277"/>
                </a:lnTo>
                <a:lnTo>
                  <a:pt x="2" y="1179"/>
                </a:lnTo>
                <a:lnTo>
                  <a:pt x="0" y="1084"/>
                </a:lnTo>
                <a:lnTo>
                  <a:pt x="7" y="986"/>
                </a:lnTo>
                <a:lnTo>
                  <a:pt x="22" y="890"/>
                </a:lnTo>
                <a:lnTo>
                  <a:pt x="43" y="796"/>
                </a:lnTo>
                <a:lnTo>
                  <a:pt x="74" y="706"/>
                </a:lnTo>
                <a:lnTo>
                  <a:pt x="114" y="616"/>
                </a:lnTo>
                <a:lnTo>
                  <a:pt x="159" y="531"/>
                </a:lnTo>
                <a:lnTo>
                  <a:pt x="213" y="450"/>
                </a:lnTo>
                <a:lnTo>
                  <a:pt x="273" y="372"/>
                </a:lnTo>
                <a:lnTo>
                  <a:pt x="341" y="300"/>
                </a:lnTo>
                <a:lnTo>
                  <a:pt x="408" y="242"/>
                </a:lnTo>
                <a:lnTo>
                  <a:pt x="480" y="188"/>
                </a:lnTo>
                <a:lnTo>
                  <a:pt x="554" y="143"/>
                </a:lnTo>
                <a:lnTo>
                  <a:pt x="634" y="103"/>
                </a:lnTo>
                <a:lnTo>
                  <a:pt x="717" y="69"/>
                </a:lnTo>
                <a:lnTo>
                  <a:pt x="802" y="43"/>
                </a:lnTo>
                <a:lnTo>
                  <a:pt x="906" y="18"/>
                </a:lnTo>
                <a:lnTo>
                  <a:pt x="1013" y="5"/>
                </a:lnTo>
                <a:lnTo>
                  <a:pt x="1119" y="0"/>
                </a:lnTo>
                <a:lnTo>
                  <a:pt x="1226" y="4"/>
                </a:lnTo>
                <a:lnTo>
                  <a:pt x="1347" y="16"/>
                </a:lnTo>
                <a:lnTo>
                  <a:pt x="1470" y="38"/>
                </a:lnTo>
                <a:lnTo>
                  <a:pt x="1589" y="69"/>
                </a:lnTo>
                <a:lnTo>
                  <a:pt x="1708" y="105"/>
                </a:lnTo>
                <a:lnTo>
                  <a:pt x="1840" y="153"/>
                </a:lnTo>
                <a:lnTo>
                  <a:pt x="1968" y="208"/>
                </a:lnTo>
                <a:lnTo>
                  <a:pt x="2096" y="269"/>
                </a:lnTo>
                <a:lnTo>
                  <a:pt x="2239" y="345"/>
                </a:lnTo>
                <a:lnTo>
                  <a:pt x="2378" y="428"/>
                </a:lnTo>
                <a:lnTo>
                  <a:pt x="2513" y="518"/>
                </a:lnTo>
                <a:lnTo>
                  <a:pt x="2645" y="614"/>
                </a:lnTo>
                <a:lnTo>
                  <a:pt x="2771" y="715"/>
                </a:lnTo>
                <a:lnTo>
                  <a:pt x="2876" y="805"/>
                </a:lnTo>
                <a:lnTo>
                  <a:pt x="2975" y="899"/>
                </a:lnTo>
                <a:lnTo>
                  <a:pt x="3076" y="805"/>
                </a:lnTo>
                <a:lnTo>
                  <a:pt x="3181" y="715"/>
                </a:lnTo>
                <a:lnTo>
                  <a:pt x="3308" y="614"/>
                </a:lnTo>
                <a:lnTo>
                  <a:pt x="3439" y="518"/>
                </a:lnTo>
                <a:lnTo>
                  <a:pt x="3575" y="428"/>
                </a:lnTo>
                <a:lnTo>
                  <a:pt x="3714" y="345"/>
                </a:lnTo>
                <a:lnTo>
                  <a:pt x="3856" y="269"/>
                </a:lnTo>
                <a:lnTo>
                  <a:pt x="3985" y="208"/>
                </a:lnTo>
                <a:lnTo>
                  <a:pt x="4113" y="153"/>
                </a:lnTo>
                <a:lnTo>
                  <a:pt x="4245" y="105"/>
                </a:lnTo>
                <a:lnTo>
                  <a:pt x="4364" y="69"/>
                </a:lnTo>
                <a:lnTo>
                  <a:pt x="4483" y="38"/>
                </a:lnTo>
                <a:lnTo>
                  <a:pt x="4606" y="16"/>
                </a:lnTo>
                <a:lnTo>
                  <a:pt x="4727" y="4"/>
                </a:lnTo>
                <a:lnTo>
                  <a:pt x="4833" y="0"/>
                </a:lnTo>
                <a:close/>
              </a:path>
            </a:pathLst>
          </a:cu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80">
              <a:defRPr/>
            </a:pPr>
            <a:endParaRPr lang="en-US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228" name="Rectangle 227"/>
          <p:cNvSpPr/>
          <p:nvPr/>
        </p:nvSpPr>
        <p:spPr>
          <a:xfrm>
            <a:off x="7879283" y="2071908"/>
            <a:ext cx="1082607" cy="230833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Secure Internet Gateway</a:t>
            </a:r>
          </a:p>
        </p:txBody>
      </p:sp>
      <p:sp>
        <p:nvSpPr>
          <p:cNvPr id="229" name="Freeform 228"/>
          <p:cNvSpPr>
            <a:spLocks noChangeAspect="1"/>
          </p:cNvSpPr>
          <p:nvPr/>
        </p:nvSpPr>
        <p:spPr bwMode="auto">
          <a:xfrm flipH="1">
            <a:off x="7558957" y="2256152"/>
            <a:ext cx="229172" cy="137160"/>
          </a:xfrm>
          <a:custGeom>
            <a:avLst/>
            <a:gdLst>
              <a:gd name="T0" fmla="*/ 699 w 799"/>
              <a:gd name="T1" fmla="*/ 264 h 464"/>
              <a:gd name="T2" fmla="*/ 698 w 799"/>
              <a:gd name="T3" fmla="*/ 264 h 464"/>
              <a:gd name="T4" fmla="*/ 699 w 799"/>
              <a:gd name="T5" fmla="*/ 253 h 464"/>
              <a:gd name="T6" fmla="*/ 635 w 799"/>
              <a:gd name="T7" fmla="*/ 190 h 464"/>
              <a:gd name="T8" fmla="*/ 623 w 799"/>
              <a:gd name="T9" fmla="*/ 191 h 464"/>
              <a:gd name="T10" fmla="*/ 629 w 799"/>
              <a:gd name="T11" fmla="*/ 153 h 464"/>
              <a:gd name="T12" fmla="*/ 457 w 799"/>
              <a:gd name="T13" fmla="*/ 0 h 464"/>
              <a:gd name="T14" fmla="*/ 288 w 799"/>
              <a:gd name="T15" fmla="*/ 124 h 464"/>
              <a:gd name="T16" fmla="*/ 229 w 799"/>
              <a:gd name="T17" fmla="*/ 102 h 464"/>
              <a:gd name="T18" fmla="*/ 138 w 799"/>
              <a:gd name="T19" fmla="*/ 194 h 464"/>
              <a:gd name="T20" fmla="*/ 138 w 799"/>
              <a:gd name="T21" fmla="*/ 199 h 464"/>
              <a:gd name="T22" fmla="*/ 133 w 799"/>
              <a:gd name="T23" fmla="*/ 198 h 464"/>
              <a:gd name="T24" fmla="*/ 0 w 799"/>
              <a:gd name="T25" fmla="*/ 331 h 464"/>
              <a:gd name="T26" fmla="*/ 133 w 799"/>
              <a:gd name="T27" fmla="*/ 464 h 464"/>
              <a:gd name="T28" fmla="*/ 699 w 799"/>
              <a:gd name="T29" fmla="*/ 464 h 464"/>
              <a:gd name="T30" fmla="*/ 799 w 799"/>
              <a:gd name="T31" fmla="*/ 364 h 464"/>
              <a:gd name="T32" fmla="*/ 699 w 799"/>
              <a:gd name="T33" fmla="*/ 2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99" h="464">
                <a:moveTo>
                  <a:pt x="699" y="264"/>
                </a:moveTo>
                <a:cubicBezTo>
                  <a:pt x="698" y="264"/>
                  <a:pt x="698" y="264"/>
                  <a:pt x="698" y="264"/>
                </a:cubicBezTo>
                <a:cubicBezTo>
                  <a:pt x="698" y="260"/>
                  <a:pt x="699" y="257"/>
                  <a:pt x="699" y="253"/>
                </a:cubicBezTo>
                <a:cubicBezTo>
                  <a:pt x="699" y="218"/>
                  <a:pt x="670" y="190"/>
                  <a:pt x="635" y="190"/>
                </a:cubicBezTo>
                <a:cubicBezTo>
                  <a:pt x="631" y="190"/>
                  <a:pt x="627" y="190"/>
                  <a:pt x="623" y="191"/>
                </a:cubicBezTo>
                <a:cubicBezTo>
                  <a:pt x="627" y="179"/>
                  <a:pt x="629" y="166"/>
                  <a:pt x="629" y="153"/>
                </a:cubicBezTo>
                <a:cubicBezTo>
                  <a:pt x="629" y="69"/>
                  <a:pt x="552" y="0"/>
                  <a:pt x="457" y="0"/>
                </a:cubicBezTo>
                <a:cubicBezTo>
                  <a:pt x="373" y="0"/>
                  <a:pt x="304" y="53"/>
                  <a:pt x="288" y="124"/>
                </a:cubicBezTo>
                <a:cubicBezTo>
                  <a:pt x="272" y="110"/>
                  <a:pt x="252" y="102"/>
                  <a:pt x="229" y="102"/>
                </a:cubicBezTo>
                <a:cubicBezTo>
                  <a:pt x="179" y="102"/>
                  <a:pt x="138" y="143"/>
                  <a:pt x="138" y="194"/>
                </a:cubicBezTo>
                <a:cubicBezTo>
                  <a:pt x="138" y="195"/>
                  <a:pt x="138" y="197"/>
                  <a:pt x="138" y="199"/>
                </a:cubicBezTo>
                <a:cubicBezTo>
                  <a:pt x="133" y="198"/>
                  <a:pt x="133" y="198"/>
                  <a:pt x="133" y="198"/>
                </a:cubicBezTo>
                <a:cubicBezTo>
                  <a:pt x="59" y="198"/>
                  <a:pt x="0" y="257"/>
                  <a:pt x="0" y="331"/>
                </a:cubicBezTo>
                <a:cubicBezTo>
                  <a:pt x="0" y="404"/>
                  <a:pt x="59" y="464"/>
                  <a:pt x="133" y="464"/>
                </a:cubicBezTo>
                <a:cubicBezTo>
                  <a:pt x="699" y="464"/>
                  <a:pt x="699" y="464"/>
                  <a:pt x="699" y="464"/>
                </a:cubicBezTo>
                <a:cubicBezTo>
                  <a:pt x="754" y="464"/>
                  <a:pt x="799" y="419"/>
                  <a:pt x="799" y="364"/>
                </a:cubicBezTo>
                <a:cubicBezTo>
                  <a:pt x="799" y="309"/>
                  <a:pt x="754" y="264"/>
                  <a:pt x="699" y="264"/>
                </a:cubicBezTo>
                <a:close/>
              </a:path>
            </a:pathLst>
          </a:cu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lIns="121878" tIns="60938" rIns="121878" bIns="60938" rtlCol="0" anchor="ctr"/>
          <a:lstStyle/>
          <a:p>
            <a:pPr algn="ctr" defTabSz="514230">
              <a:defRPr/>
            </a:pPr>
            <a:endParaRPr lang="en-US" sz="1050" kern="0" dirty="0">
              <a:solidFill>
                <a:sysClr val="windowText" lastClr="000000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8682435" y="3107799"/>
            <a:ext cx="598481" cy="230833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Web</a:t>
            </a:r>
          </a:p>
        </p:txBody>
      </p:sp>
      <p:sp>
        <p:nvSpPr>
          <p:cNvPr id="231" name="TextBox 230"/>
          <p:cNvSpPr txBox="1">
            <a:spLocks noChangeAspect="1"/>
          </p:cNvSpPr>
          <p:nvPr/>
        </p:nvSpPr>
        <p:spPr>
          <a:xfrm>
            <a:off x="8207582" y="3139241"/>
            <a:ext cx="538225" cy="21358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ctr" defTabSz="514279">
              <a:defRPr/>
            </a:pPr>
            <a:r>
              <a:rPr lang="en-US" sz="788" b="1" kern="0" spc="169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rPr>
              <a:t>WWW</a:t>
            </a:r>
          </a:p>
        </p:txBody>
      </p:sp>
      <p:sp>
        <p:nvSpPr>
          <p:cNvPr id="232" name="Rectangle 231"/>
          <p:cNvSpPr/>
          <p:nvPr/>
        </p:nvSpPr>
        <p:spPr>
          <a:xfrm>
            <a:off x="8375698" y="2547638"/>
            <a:ext cx="812189" cy="342900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Policy and Access</a:t>
            </a:r>
          </a:p>
        </p:txBody>
      </p:sp>
      <p:grpSp>
        <p:nvGrpSpPr>
          <p:cNvPr id="233" name="Group 232"/>
          <p:cNvGrpSpPr>
            <a:grpSpLocks noChangeAspect="1"/>
          </p:cNvGrpSpPr>
          <p:nvPr/>
        </p:nvGrpSpPr>
        <p:grpSpPr>
          <a:xfrm>
            <a:off x="8092918" y="2616218"/>
            <a:ext cx="143626" cy="205740"/>
            <a:chOff x="7014148" y="2873468"/>
            <a:chExt cx="312831" cy="448122"/>
          </a:xfrm>
        </p:grpSpPr>
        <p:sp>
          <p:nvSpPr>
            <p:cNvPr id="234" name="Freeform 579"/>
            <p:cNvSpPr>
              <a:spLocks/>
            </p:cNvSpPr>
            <p:nvPr/>
          </p:nvSpPr>
          <p:spPr bwMode="auto">
            <a:xfrm>
              <a:off x="7150882" y="2878985"/>
              <a:ext cx="33356" cy="16184"/>
            </a:xfrm>
            <a:custGeom>
              <a:avLst/>
              <a:gdLst>
                <a:gd name="T0" fmla="*/ 32 w 115"/>
                <a:gd name="T1" fmla="*/ 0 h 56"/>
                <a:gd name="T2" fmla="*/ 72 w 115"/>
                <a:gd name="T3" fmla="*/ 0 h 56"/>
                <a:gd name="T4" fmla="*/ 0 w 115"/>
                <a:gd name="T5" fmla="*/ 24 h 56"/>
                <a:gd name="T6" fmla="*/ 32 w 115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5"/>
                <a:gd name="T13" fmla="*/ 0 h 56"/>
                <a:gd name="T14" fmla="*/ 115 w 115"/>
                <a:gd name="T15" fmla="*/ 56 h 5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5" h="56">
                  <a:moveTo>
                    <a:pt x="32" y="0"/>
                  </a:moveTo>
                  <a:cubicBezTo>
                    <a:pt x="45" y="0"/>
                    <a:pt x="59" y="0"/>
                    <a:pt x="72" y="0"/>
                  </a:cubicBezTo>
                  <a:cubicBezTo>
                    <a:pt x="115" y="34"/>
                    <a:pt x="15" y="56"/>
                    <a:pt x="0" y="24"/>
                  </a:cubicBezTo>
                  <a:cubicBezTo>
                    <a:pt x="0" y="5"/>
                    <a:pt x="22" y="8"/>
                    <a:pt x="32" y="0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35" name="Freeform 580"/>
            <p:cNvSpPr>
              <a:spLocks/>
            </p:cNvSpPr>
            <p:nvPr/>
          </p:nvSpPr>
          <p:spPr bwMode="auto">
            <a:xfrm>
              <a:off x="7102197" y="2873468"/>
              <a:ext cx="159911" cy="59954"/>
            </a:xfrm>
            <a:custGeom>
              <a:avLst/>
              <a:gdLst>
                <a:gd name="T0" fmla="*/ 376 w 552"/>
                <a:gd name="T1" fmla="*/ 75 h 207"/>
                <a:gd name="T2" fmla="*/ 308 w 552"/>
                <a:gd name="T3" fmla="*/ 79 h 207"/>
                <a:gd name="T4" fmla="*/ 452 w 552"/>
                <a:gd name="T5" fmla="*/ 123 h 207"/>
                <a:gd name="T6" fmla="*/ 552 w 552"/>
                <a:gd name="T7" fmla="*/ 207 h 207"/>
                <a:gd name="T8" fmla="*/ 428 w 552"/>
                <a:gd name="T9" fmla="*/ 155 h 207"/>
                <a:gd name="T10" fmla="*/ 200 w 552"/>
                <a:gd name="T11" fmla="*/ 127 h 207"/>
                <a:gd name="T12" fmla="*/ 124 w 552"/>
                <a:gd name="T13" fmla="*/ 111 h 207"/>
                <a:gd name="T14" fmla="*/ 0 w 552"/>
                <a:gd name="T15" fmla="*/ 131 h 207"/>
                <a:gd name="T16" fmla="*/ 224 w 552"/>
                <a:gd name="T17" fmla="*/ 71 h 207"/>
                <a:gd name="T18" fmla="*/ 376 w 552"/>
                <a:gd name="T19" fmla="*/ 75 h 20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2"/>
                <a:gd name="T31" fmla="*/ 0 h 207"/>
                <a:gd name="T32" fmla="*/ 552 w 552"/>
                <a:gd name="T33" fmla="*/ 207 h 20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2" h="207">
                  <a:moveTo>
                    <a:pt x="376" y="75"/>
                  </a:moveTo>
                  <a:cubicBezTo>
                    <a:pt x="349" y="75"/>
                    <a:pt x="328" y="67"/>
                    <a:pt x="308" y="79"/>
                  </a:cubicBezTo>
                  <a:cubicBezTo>
                    <a:pt x="347" y="104"/>
                    <a:pt x="405" y="105"/>
                    <a:pt x="452" y="123"/>
                  </a:cubicBezTo>
                  <a:cubicBezTo>
                    <a:pt x="494" y="139"/>
                    <a:pt x="548" y="155"/>
                    <a:pt x="552" y="207"/>
                  </a:cubicBezTo>
                  <a:cubicBezTo>
                    <a:pt x="510" y="197"/>
                    <a:pt x="473" y="171"/>
                    <a:pt x="428" y="155"/>
                  </a:cubicBezTo>
                  <a:cubicBezTo>
                    <a:pt x="359" y="130"/>
                    <a:pt x="295" y="137"/>
                    <a:pt x="200" y="127"/>
                  </a:cubicBezTo>
                  <a:cubicBezTo>
                    <a:pt x="174" y="124"/>
                    <a:pt x="150" y="111"/>
                    <a:pt x="124" y="111"/>
                  </a:cubicBezTo>
                  <a:cubicBezTo>
                    <a:pt x="77" y="112"/>
                    <a:pt x="41" y="154"/>
                    <a:pt x="0" y="131"/>
                  </a:cubicBezTo>
                  <a:cubicBezTo>
                    <a:pt x="17" y="48"/>
                    <a:pt x="142" y="83"/>
                    <a:pt x="224" y="71"/>
                  </a:cubicBezTo>
                  <a:cubicBezTo>
                    <a:pt x="275" y="64"/>
                    <a:pt x="359" y="0"/>
                    <a:pt x="376" y="75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36" name="Freeform 581"/>
            <p:cNvSpPr>
              <a:spLocks/>
            </p:cNvSpPr>
            <p:nvPr/>
          </p:nvSpPr>
          <p:spPr bwMode="auto">
            <a:xfrm>
              <a:off x="7219309" y="2886832"/>
              <a:ext cx="24894" cy="21456"/>
            </a:xfrm>
            <a:custGeom>
              <a:avLst/>
              <a:gdLst>
                <a:gd name="T0" fmla="*/ 80 w 86"/>
                <a:gd name="T1" fmla="*/ 65 h 74"/>
                <a:gd name="T2" fmla="*/ 0 w 86"/>
                <a:gd name="T3" fmla="*/ 41 h 74"/>
                <a:gd name="T4" fmla="*/ 80 w 86"/>
                <a:gd name="T5" fmla="*/ 65 h 74"/>
                <a:gd name="T6" fmla="*/ 0 60000 65536"/>
                <a:gd name="T7" fmla="*/ 0 60000 65536"/>
                <a:gd name="T8" fmla="*/ 0 60000 65536"/>
                <a:gd name="T9" fmla="*/ 0 w 86"/>
                <a:gd name="T10" fmla="*/ 0 h 74"/>
                <a:gd name="T11" fmla="*/ 86 w 86"/>
                <a:gd name="T12" fmla="*/ 74 h 7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" h="74">
                  <a:moveTo>
                    <a:pt x="80" y="65"/>
                  </a:moveTo>
                  <a:cubicBezTo>
                    <a:pt x="52" y="74"/>
                    <a:pt x="18" y="55"/>
                    <a:pt x="0" y="41"/>
                  </a:cubicBezTo>
                  <a:cubicBezTo>
                    <a:pt x="8" y="0"/>
                    <a:pt x="86" y="28"/>
                    <a:pt x="80" y="65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37" name="Freeform 582"/>
            <p:cNvSpPr>
              <a:spLocks/>
            </p:cNvSpPr>
            <p:nvPr/>
          </p:nvSpPr>
          <p:spPr bwMode="auto">
            <a:xfrm>
              <a:off x="7049220" y="2910250"/>
              <a:ext cx="264146" cy="126283"/>
            </a:xfrm>
            <a:custGeom>
              <a:avLst/>
              <a:gdLst>
                <a:gd name="T0" fmla="*/ 895 w 912"/>
                <a:gd name="T1" fmla="*/ 436 h 436"/>
                <a:gd name="T2" fmla="*/ 831 w 912"/>
                <a:gd name="T3" fmla="*/ 336 h 436"/>
                <a:gd name="T4" fmla="*/ 759 w 912"/>
                <a:gd name="T5" fmla="*/ 248 h 436"/>
                <a:gd name="T6" fmla="*/ 747 w 912"/>
                <a:gd name="T7" fmla="*/ 184 h 436"/>
                <a:gd name="T8" fmla="*/ 491 w 912"/>
                <a:gd name="T9" fmla="*/ 64 h 436"/>
                <a:gd name="T10" fmla="*/ 295 w 912"/>
                <a:gd name="T11" fmla="*/ 44 h 436"/>
                <a:gd name="T12" fmla="*/ 479 w 912"/>
                <a:gd name="T13" fmla="*/ 84 h 436"/>
                <a:gd name="T14" fmla="*/ 727 w 912"/>
                <a:gd name="T15" fmla="*/ 220 h 436"/>
                <a:gd name="T16" fmla="*/ 471 w 912"/>
                <a:gd name="T17" fmla="*/ 120 h 436"/>
                <a:gd name="T18" fmla="*/ 363 w 912"/>
                <a:gd name="T19" fmla="*/ 120 h 436"/>
                <a:gd name="T20" fmla="*/ 275 w 912"/>
                <a:gd name="T21" fmla="*/ 92 h 436"/>
                <a:gd name="T22" fmla="*/ 7 w 912"/>
                <a:gd name="T23" fmla="*/ 216 h 436"/>
                <a:gd name="T24" fmla="*/ 99 w 912"/>
                <a:gd name="T25" fmla="*/ 132 h 436"/>
                <a:gd name="T26" fmla="*/ 251 w 912"/>
                <a:gd name="T27" fmla="*/ 24 h 436"/>
                <a:gd name="T28" fmla="*/ 387 w 912"/>
                <a:gd name="T29" fmla="*/ 24 h 436"/>
                <a:gd name="T30" fmla="*/ 503 w 912"/>
                <a:gd name="T31" fmla="*/ 28 h 436"/>
                <a:gd name="T32" fmla="*/ 779 w 912"/>
                <a:gd name="T33" fmla="*/ 148 h 436"/>
                <a:gd name="T34" fmla="*/ 803 w 912"/>
                <a:gd name="T35" fmla="*/ 228 h 436"/>
                <a:gd name="T36" fmla="*/ 847 w 912"/>
                <a:gd name="T37" fmla="*/ 276 h 436"/>
                <a:gd name="T38" fmla="*/ 895 w 912"/>
                <a:gd name="T39" fmla="*/ 436 h 4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12"/>
                <a:gd name="T61" fmla="*/ 0 h 436"/>
                <a:gd name="T62" fmla="*/ 912 w 912"/>
                <a:gd name="T63" fmla="*/ 436 h 4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12" h="436">
                  <a:moveTo>
                    <a:pt x="895" y="436"/>
                  </a:moveTo>
                  <a:cubicBezTo>
                    <a:pt x="864" y="406"/>
                    <a:pt x="854" y="371"/>
                    <a:pt x="831" y="336"/>
                  </a:cubicBezTo>
                  <a:cubicBezTo>
                    <a:pt x="811" y="305"/>
                    <a:pt x="772" y="280"/>
                    <a:pt x="759" y="248"/>
                  </a:cubicBezTo>
                  <a:cubicBezTo>
                    <a:pt x="752" y="230"/>
                    <a:pt x="756" y="204"/>
                    <a:pt x="747" y="184"/>
                  </a:cubicBezTo>
                  <a:cubicBezTo>
                    <a:pt x="721" y="123"/>
                    <a:pt x="586" y="71"/>
                    <a:pt x="491" y="64"/>
                  </a:cubicBezTo>
                  <a:cubicBezTo>
                    <a:pt x="413" y="58"/>
                    <a:pt x="362" y="58"/>
                    <a:pt x="295" y="44"/>
                  </a:cubicBezTo>
                  <a:cubicBezTo>
                    <a:pt x="321" y="92"/>
                    <a:pt x="409" y="79"/>
                    <a:pt x="479" y="84"/>
                  </a:cubicBezTo>
                  <a:cubicBezTo>
                    <a:pt x="591" y="92"/>
                    <a:pt x="712" y="133"/>
                    <a:pt x="727" y="220"/>
                  </a:cubicBezTo>
                  <a:cubicBezTo>
                    <a:pt x="646" y="185"/>
                    <a:pt x="577" y="128"/>
                    <a:pt x="471" y="120"/>
                  </a:cubicBezTo>
                  <a:cubicBezTo>
                    <a:pt x="437" y="117"/>
                    <a:pt x="399" y="124"/>
                    <a:pt x="363" y="120"/>
                  </a:cubicBezTo>
                  <a:cubicBezTo>
                    <a:pt x="333" y="116"/>
                    <a:pt x="305" y="94"/>
                    <a:pt x="275" y="92"/>
                  </a:cubicBezTo>
                  <a:cubicBezTo>
                    <a:pt x="165" y="84"/>
                    <a:pt x="112" y="218"/>
                    <a:pt x="7" y="216"/>
                  </a:cubicBezTo>
                  <a:cubicBezTo>
                    <a:pt x="0" y="168"/>
                    <a:pt x="63" y="154"/>
                    <a:pt x="99" y="132"/>
                  </a:cubicBezTo>
                  <a:cubicBezTo>
                    <a:pt x="142" y="106"/>
                    <a:pt x="199" y="55"/>
                    <a:pt x="251" y="24"/>
                  </a:cubicBezTo>
                  <a:cubicBezTo>
                    <a:pt x="292" y="0"/>
                    <a:pt x="338" y="16"/>
                    <a:pt x="387" y="24"/>
                  </a:cubicBezTo>
                  <a:cubicBezTo>
                    <a:pt x="425" y="30"/>
                    <a:pt x="464" y="25"/>
                    <a:pt x="503" y="28"/>
                  </a:cubicBezTo>
                  <a:cubicBezTo>
                    <a:pt x="592" y="34"/>
                    <a:pt x="736" y="87"/>
                    <a:pt x="779" y="148"/>
                  </a:cubicBezTo>
                  <a:cubicBezTo>
                    <a:pt x="796" y="173"/>
                    <a:pt x="793" y="202"/>
                    <a:pt x="803" y="228"/>
                  </a:cubicBezTo>
                  <a:cubicBezTo>
                    <a:pt x="811" y="248"/>
                    <a:pt x="831" y="256"/>
                    <a:pt x="847" y="276"/>
                  </a:cubicBezTo>
                  <a:cubicBezTo>
                    <a:pt x="880" y="315"/>
                    <a:pt x="912" y="375"/>
                    <a:pt x="895" y="436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38" name="Freeform 583"/>
            <p:cNvSpPr>
              <a:spLocks/>
            </p:cNvSpPr>
            <p:nvPr/>
          </p:nvSpPr>
          <p:spPr bwMode="auto">
            <a:xfrm>
              <a:off x="7069822" y="2916625"/>
              <a:ext cx="31271" cy="23785"/>
            </a:xfrm>
            <a:custGeom>
              <a:avLst/>
              <a:gdLst>
                <a:gd name="T0" fmla="*/ 108 w 108"/>
                <a:gd name="T1" fmla="*/ 10 h 82"/>
                <a:gd name="T2" fmla="*/ 0 w 108"/>
                <a:gd name="T3" fmla="*/ 82 h 82"/>
                <a:gd name="T4" fmla="*/ 108 w 108"/>
                <a:gd name="T5" fmla="*/ 10 h 82"/>
                <a:gd name="T6" fmla="*/ 0 60000 65536"/>
                <a:gd name="T7" fmla="*/ 0 60000 65536"/>
                <a:gd name="T8" fmla="*/ 0 60000 65536"/>
                <a:gd name="T9" fmla="*/ 0 w 108"/>
                <a:gd name="T10" fmla="*/ 0 h 82"/>
                <a:gd name="T11" fmla="*/ 108 w 108"/>
                <a:gd name="T12" fmla="*/ 82 h 8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8" h="82">
                  <a:moveTo>
                    <a:pt x="108" y="10"/>
                  </a:moveTo>
                  <a:cubicBezTo>
                    <a:pt x="93" y="53"/>
                    <a:pt x="43" y="81"/>
                    <a:pt x="0" y="82"/>
                  </a:cubicBezTo>
                  <a:cubicBezTo>
                    <a:pt x="14" y="38"/>
                    <a:pt x="53" y="0"/>
                    <a:pt x="108" y="10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39" name="Freeform 584"/>
            <p:cNvSpPr>
              <a:spLocks/>
            </p:cNvSpPr>
            <p:nvPr/>
          </p:nvSpPr>
          <p:spPr bwMode="auto">
            <a:xfrm>
              <a:off x="7023468" y="2936978"/>
              <a:ext cx="112330" cy="105318"/>
            </a:xfrm>
            <a:custGeom>
              <a:avLst/>
              <a:gdLst>
                <a:gd name="T0" fmla="*/ 388 w 388"/>
                <a:gd name="T1" fmla="*/ 36 h 364"/>
                <a:gd name="T2" fmla="*/ 220 w 388"/>
                <a:gd name="T3" fmla="*/ 148 h 364"/>
                <a:gd name="T4" fmla="*/ 192 w 388"/>
                <a:gd name="T5" fmla="*/ 200 h 364"/>
                <a:gd name="T6" fmla="*/ 96 w 388"/>
                <a:gd name="T7" fmla="*/ 276 h 364"/>
                <a:gd name="T8" fmla="*/ 12 w 388"/>
                <a:gd name="T9" fmla="*/ 364 h 364"/>
                <a:gd name="T10" fmla="*/ 88 w 388"/>
                <a:gd name="T11" fmla="*/ 232 h 364"/>
                <a:gd name="T12" fmla="*/ 160 w 388"/>
                <a:gd name="T13" fmla="*/ 184 h 364"/>
                <a:gd name="T14" fmla="*/ 208 w 388"/>
                <a:gd name="T15" fmla="*/ 104 h 364"/>
                <a:gd name="T16" fmla="*/ 388 w 388"/>
                <a:gd name="T17" fmla="*/ 36 h 36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8"/>
                <a:gd name="T28" fmla="*/ 0 h 364"/>
                <a:gd name="T29" fmla="*/ 388 w 388"/>
                <a:gd name="T30" fmla="*/ 364 h 36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8" h="364">
                  <a:moveTo>
                    <a:pt x="388" y="36"/>
                  </a:moveTo>
                  <a:cubicBezTo>
                    <a:pt x="327" y="76"/>
                    <a:pt x="262" y="93"/>
                    <a:pt x="220" y="148"/>
                  </a:cubicBezTo>
                  <a:cubicBezTo>
                    <a:pt x="208" y="164"/>
                    <a:pt x="205" y="185"/>
                    <a:pt x="192" y="200"/>
                  </a:cubicBezTo>
                  <a:cubicBezTo>
                    <a:pt x="166" y="229"/>
                    <a:pt x="126" y="246"/>
                    <a:pt x="96" y="276"/>
                  </a:cubicBezTo>
                  <a:cubicBezTo>
                    <a:pt x="66" y="306"/>
                    <a:pt x="53" y="347"/>
                    <a:pt x="12" y="364"/>
                  </a:cubicBezTo>
                  <a:cubicBezTo>
                    <a:pt x="0" y="307"/>
                    <a:pt x="48" y="268"/>
                    <a:pt x="88" y="232"/>
                  </a:cubicBezTo>
                  <a:cubicBezTo>
                    <a:pt x="110" y="212"/>
                    <a:pt x="142" y="202"/>
                    <a:pt x="160" y="184"/>
                  </a:cubicBezTo>
                  <a:cubicBezTo>
                    <a:pt x="179" y="165"/>
                    <a:pt x="187" y="127"/>
                    <a:pt x="208" y="104"/>
                  </a:cubicBezTo>
                  <a:cubicBezTo>
                    <a:pt x="245" y="65"/>
                    <a:pt x="341" y="0"/>
                    <a:pt x="388" y="36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0" name="Freeform 585"/>
            <p:cNvSpPr>
              <a:spLocks/>
            </p:cNvSpPr>
            <p:nvPr/>
          </p:nvSpPr>
          <p:spPr bwMode="auto">
            <a:xfrm>
              <a:off x="7091774" y="2946786"/>
              <a:ext cx="235205" cy="231111"/>
            </a:xfrm>
            <a:custGeom>
              <a:avLst/>
              <a:gdLst>
                <a:gd name="T0" fmla="*/ 812 w 812"/>
                <a:gd name="T1" fmla="*/ 598 h 798"/>
                <a:gd name="T2" fmla="*/ 812 w 812"/>
                <a:gd name="T3" fmla="*/ 682 h 798"/>
                <a:gd name="T4" fmla="*/ 760 w 812"/>
                <a:gd name="T5" fmla="*/ 798 h 798"/>
                <a:gd name="T6" fmla="*/ 772 w 812"/>
                <a:gd name="T7" fmla="*/ 590 h 798"/>
                <a:gd name="T8" fmla="*/ 576 w 812"/>
                <a:gd name="T9" fmla="*/ 182 h 798"/>
                <a:gd name="T10" fmla="*/ 100 w 812"/>
                <a:gd name="T11" fmla="*/ 94 h 798"/>
                <a:gd name="T12" fmla="*/ 0 w 812"/>
                <a:gd name="T13" fmla="*/ 154 h 798"/>
                <a:gd name="T14" fmla="*/ 112 w 812"/>
                <a:gd name="T15" fmla="*/ 50 h 798"/>
                <a:gd name="T16" fmla="*/ 364 w 812"/>
                <a:gd name="T17" fmla="*/ 22 h 798"/>
                <a:gd name="T18" fmla="*/ 812 w 812"/>
                <a:gd name="T19" fmla="*/ 598 h 7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12"/>
                <a:gd name="T31" fmla="*/ 0 h 798"/>
                <a:gd name="T32" fmla="*/ 812 w 812"/>
                <a:gd name="T33" fmla="*/ 798 h 79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12" h="798">
                  <a:moveTo>
                    <a:pt x="812" y="598"/>
                  </a:moveTo>
                  <a:cubicBezTo>
                    <a:pt x="812" y="626"/>
                    <a:pt x="812" y="654"/>
                    <a:pt x="812" y="682"/>
                  </a:cubicBezTo>
                  <a:cubicBezTo>
                    <a:pt x="796" y="722"/>
                    <a:pt x="801" y="783"/>
                    <a:pt x="760" y="798"/>
                  </a:cubicBezTo>
                  <a:cubicBezTo>
                    <a:pt x="757" y="729"/>
                    <a:pt x="777" y="659"/>
                    <a:pt x="772" y="590"/>
                  </a:cubicBezTo>
                  <a:cubicBezTo>
                    <a:pt x="760" y="437"/>
                    <a:pt x="656" y="264"/>
                    <a:pt x="576" y="182"/>
                  </a:cubicBezTo>
                  <a:cubicBezTo>
                    <a:pt x="477" y="80"/>
                    <a:pt x="267" y="0"/>
                    <a:pt x="100" y="94"/>
                  </a:cubicBezTo>
                  <a:cubicBezTo>
                    <a:pt x="64" y="114"/>
                    <a:pt x="48" y="161"/>
                    <a:pt x="0" y="154"/>
                  </a:cubicBezTo>
                  <a:cubicBezTo>
                    <a:pt x="13" y="101"/>
                    <a:pt x="67" y="72"/>
                    <a:pt x="112" y="50"/>
                  </a:cubicBezTo>
                  <a:cubicBezTo>
                    <a:pt x="181" y="17"/>
                    <a:pt x="283" y="3"/>
                    <a:pt x="364" y="22"/>
                  </a:cubicBezTo>
                  <a:cubicBezTo>
                    <a:pt x="614" y="81"/>
                    <a:pt x="776" y="324"/>
                    <a:pt x="812" y="598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1" name="Freeform 586"/>
            <p:cNvSpPr>
              <a:spLocks/>
            </p:cNvSpPr>
            <p:nvPr/>
          </p:nvSpPr>
          <p:spPr bwMode="auto">
            <a:xfrm>
              <a:off x="7014148" y="2968487"/>
              <a:ext cx="295172" cy="198988"/>
            </a:xfrm>
            <a:custGeom>
              <a:avLst/>
              <a:gdLst>
                <a:gd name="T0" fmla="*/ 0 w 1019"/>
                <a:gd name="T1" fmla="*/ 467 h 687"/>
                <a:gd name="T2" fmla="*/ 0 w 1019"/>
                <a:gd name="T3" fmla="*/ 435 h 687"/>
                <a:gd name="T4" fmla="*/ 220 w 1019"/>
                <a:gd name="T5" fmla="*/ 131 h 687"/>
                <a:gd name="T6" fmla="*/ 296 w 1019"/>
                <a:gd name="T7" fmla="*/ 103 h 687"/>
                <a:gd name="T8" fmla="*/ 380 w 1019"/>
                <a:gd name="T9" fmla="*/ 43 h 687"/>
                <a:gd name="T10" fmla="*/ 588 w 1019"/>
                <a:gd name="T11" fmla="*/ 3 h 687"/>
                <a:gd name="T12" fmla="*/ 844 w 1019"/>
                <a:gd name="T13" fmla="*/ 143 h 687"/>
                <a:gd name="T14" fmla="*/ 1012 w 1019"/>
                <a:gd name="T15" fmla="*/ 551 h 687"/>
                <a:gd name="T16" fmla="*/ 976 w 1019"/>
                <a:gd name="T17" fmla="*/ 687 h 687"/>
                <a:gd name="T18" fmla="*/ 968 w 1019"/>
                <a:gd name="T19" fmla="*/ 539 h 687"/>
                <a:gd name="T20" fmla="*/ 820 w 1019"/>
                <a:gd name="T21" fmla="*/ 187 h 687"/>
                <a:gd name="T22" fmla="*/ 412 w 1019"/>
                <a:gd name="T23" fmla="*/ 75 h 687"/>
                <a:gd name="T24" fmla="*/ 304 w 1019"/>
                <a:gd name="T25" fmla="*/ 151 h 687"/>
                <a:gd name="T26" fmla="*/ 232 w 1019"/>
                <a:gd name="T27" fmla="*/ 171 h 687"/>
                <a:gd name="T28" fmla="*/ 68 w 1019"/>
                <a:gd name="T29" fmla="*/ 371 h 687"/>
                <a:gd name="T30" fmla="*/ 0 w 1019"/>
                <a:gd name="T31" fmla="*/ 467 h 68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19"/>
                <a:gd name="T49" fmla="*/ 0 h 687"/>
                <a:gd name="T50" fmla="*/ 1019 w 1019"/>
                <a:gd name="T51" fmla="*/ 687 h 68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19" h="687">
                  <a:moveTo>
                    <a:pt x="0" y="467"/>
                  </a:moveTo>
                  <a:cubicBezTo>
                    <a:pt x="0" y="456"/>
                    <a:pt x="0" y="446"/>
                    <a:pt x="0" y="435"/>
                  </a:cubicBezTo>
                  <a:cubicBezTo>
                    <a:pt x="35" y="319"/>
                    <a:pt x="123" y="178"/>
                    <a:pt x="220" y="131"/>
                  </a:cubicBezTo>
                  <a:cubicBezTo>
                    <a:pt x="245" y="119"/>
                    <a:pt x="272" y="115"/>
                    <a:pt x="296" y="103"/>
                  </a:cubicBezTo>
                  <a:cubicBezTo>
                    <a:pt x="329" y="86"/>
                    <a:pt x="354" y="58"/>
                    <a:pt x="380" y="43"/>
                  </a:cubicBezTo>
                  <a:cubicBezTo>
                    <a:pt x="432" y="14"/>
                    <a:pt x="497" y="0"/>
                    <a:pt x="588" y="3"/>
                  </a:cubicBezTo>
                  <a:cubicBezTo>
                    <a:pt x="693" y="7"/>
                    <a:pt x="788" y="78"/>
                    <a:pt x="844" y="143"/>
                  </a:cubicBezTo>
                  <a:cubicBezTo>
                    <a:pt x="930" y="242"/>
                    <a:pt x="1012" y="387"/>
                    <a:pt x="1012" y="551"/>
                  </a:cubicBezTo>
                  <a:cubicBezTo>
                    <a:pt x="1012" y="598"/>
                    <a:pt x="1019" y="653"/>
                    <a:pt x="976" y="687"/>
                  </a:cubicBezTo>
                  <a:cubicBezTo>
                    <a:pt x="955" y="635"/>
                    <a:pt x="970" y="584"/>
                    <a:pt x="968" y="539"/>
                  </a:cubicBezTo>
                  <a:cubicBezTo>
                    <a:pt x="961" y="392"/>
                    <a:pt x="890" y="271"/>
                    <a:pt x="820" y="187"/>
                  </a:cubicBezTo>
                  <a:cubicBezTo>
                    <a:pt x="740" y="91"/>
                    <a:pt x="571" y="0"/>
                    <a:pt x="412" y="75"/>
                  </a:cubicBezTo>
                  <a:cubicBezTo>
                    <a:pt x="373" y="93"/>
                    <a:pt x="347" y="132"/>
                    <a:pt x="304" y="151"/>
                  </a:cubicBezTo>
                  <a:cubicBezTo>
                    <a:pt x="283" y="160"/>
                    <a:pt x="256" y="159"/>
                    <a:pt x="232" y="171"/>
                  </a:cubicBezTo>
                  <a:cubicBezTo>
                    <a:pt x="156" y="208"/>
                    <a:pt x="102" y="300"/>
                    <a:pt x="68" y="371"/>
                  </a:cubicBezTo>
                  <a:cubicBezTo>
                    <a:pt x="52" y="406"/>
                    <a:pt x="34" y="484"/>
                    <a:pt x="0" y="467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2" name="Freeform 587"/>
            <p:cNvSpPr>
              <a:spLocks/>
            </p:cNvSpPr>
            <p:nvPr/>
          </p:nvSpPr>
          <p:spPr bwMode="auto">
            <a:xfrm>
              <a:off x="7038184" y="2974004"/>
              <a:ext cx="31639" cy="28935"/>
            </a:xfrm>
            <a:custGeom>
              <a:avLst/>
              <a:gdLst>
                <a:gd name="T0" fmla="*/ 109 w 109"/>
                <a:gd name="T1" fmla="*/ 0 h 100"/>
                <a:gd name="T2" fmla="*/ 1 w 109"/>
                <a:gd name="T3" fmla="*/ 100 h 100"/>
                <a:gd name="T4" fmla="*/ 109 w 109"/>
                <a:gd name="T5" fmla="*/ 0 h 100"/>
                <a:gd name="T6" fmla="*/ 0 60000 65536"/>
                <a:gd name="T7" fmla="*/ 0 60000 65536"/>
                <a:gd name="T8" fmla="*/ 0 60000 65536"/>
                <a:gd name="T9" fmla="*/ 0 w 109"/>
                <a:gd name="T10" fmla="*/ 0 h 100"/>
                <a:gd name="T11" fmla="*/ 109 w 109"/>
                <a:gd name="T12" fmla="*/ 100 h 1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9" h="100">
                  <a:moveTo>
                    <a:pt x="109" y="0"/>
                  </a:moveTo>
                  <a:cubicBezTo>
                    <a:pt x="102" y="62"/>
                    <a:pt x="47" y="77"/>
                    <a:pt x="1" y="100"/>
                  </a:cubicBezTo>
                  <a:cubicBezTo>
                    <a:pt x="0" y="45"/>
                    <a:pt x="52" y="10"/>
                    <a:pt x="109" y="0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3" name="Freeform 588"/>
            <p:cNvSpPr>
              <a:spLocks/>
            </p:cNvSpPr>
            <p:nvPr/>
          </p:nvSpPr>
          <p:spPr bwMode="auto">
            <a:xfrm>
              <a:off x="7018195" y="2988717"/>
              <a:ext cx="241583" cy="305042"/>
            </a:xfrm>
            <a:custGeom>
              <a:avLst/>
              <a:gdLst>
                <a:gd name="T0" fmla="*/ 386 w 834"/>
                <a:gd name="T1" fmla="*/ 105 h 1053"/>
                <a:gd name="T2" fmla="*/ 470 w 834"/>
                <a:gd name="T3" fmla="*/ 85 h 1053"/>
                <a:gd name="T4" fmla="*/ 834 w 834"/>
                <a:gd name="T5" fmla="*/ 397 h 1053"/>
                <a:gd name="T6" fmla="*/ 830 w 834"/>
                <a:gd name="T7" fmla="*/ 429 h 1053"/>
                <a:gd name="T8" fmla="*/ 694 w 834"/>
                <a:gd name="T9" fmla="*/ 869 h 1053"/>
                <a:gd name="T10" fmla="*/ 542 w 834"/>
                <a:gd name="T11" fmla="*/ 937 h 1053"/>
                <a:gd name="T12" fmla="*/ 434 w 834"/>
                <a:gd name="T13" fmla="*/ 1001 h 1053"/>
                <a:gd name="T14" fmla="*/ 302 w 834"/>
                <a:gd name="T15" fmla="*/ 1021 h 1053"/>
                <a:gd name="T16" fmla="*/ 222 w 834"/>
                <a:gd name="T17" fmla="*/ 1045 h 1053"/>
                <a:gd name="T18" fmla="*/ 390 w 834"/>
                <a:gd name="T19" fmla="*/ 965 h 1053"/>
                <a:gd name="T20" fmla="*/ 690 w 834"/>
                <a:gd name="T21" fmla="*/ 625 h 1053"/>
                <a:gd name="T22" fmla="*/ 714 w 834"/>
                <a:gd name="T23" fmla="*/ 521 h 1053"/>
                <a:gd name="T24" fmla="*/ 722 w 834"/>
                <a:gd name="T25" fmla="*/ 653 h 1053"/>
                <a:gd name="T26" fmla="*/ 622 w 834"/>
                <a:gd name="T27" fmla="*/ 861 h 1053"/>
                <a:gd name="T28" fmla="*/ 766 w 834"/>
                <a:gd name="T29" fmla="*/ 529 h 1053"/>
                <a:gd name="T30" fmla="*/ 778 w 834"/>
                <a:gd name="T31" fmla="*/ 361 h 1053"/>
                <a:gd name="T32" fmla="*/ 522 w 834"/>
                <a:gd name="T33" fmla="*/ 133 h 1053"/>
                <a:gd name="T34" fmla="*/ 326 w 834"/>
                <a:gd name="T35" fmla="*/ 205 h 1053"/>
                <a:gd name="T36" fmla="*/ 202 w 834"/>
                <a:gd name="T37" fmla="*/ 321 h 1053"/>
                <a:gd name="T38" fmla="*/ 114 w 834"/>
                <a:gd name="T39" fmla="*/ 505 h 1053"/>
                <a:gd name="T40" fmla="*/ 18 w 834"/>
                <a:gd name="T41" fmla="*/ 645 h 1053"/>
                <a:gd name="T42" fmla="*/ 78 w 834"/>
                <a:gd name="T43" fmla="*/ 477 h 1053"/>
                <a:gd name="T44" fmla="*/ 150 w 834"/>
                <a:gd name="T45" fmla="*/ 309 h 1053"/>
                <a:gd name="T46" fmla="*/ 266 w 834"/>
                <a:gd name="T47" fmla="*/ 185 h 1053"/>
                <a:gd name="T48" fmla="*/ 502 w 834"/>
                <a:gd name="T49" fmla="*/ 5 h 1053"/>
                <a:gd name="T50" fmla="*/ 574 w 834"/>
                <a:gd name="T51" fmla="*/ 25 h 1053"/>
                <a:gd name="T52" fmla="*/ 470 w 834"/>
                <a:gd name="T53" fmla="*/ 57 h 1053"/>
                <a:gd name="T54" fmla="*/ 386 w 834"/>
                <a:gd name="T55" fmla="*/ 105 h 105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34"/>
                <a:gd name="T85" fmla="*/ 0 h 1053"/>
                <a:gd name="T86" fmla="*/ 834 w 834"/>
                <a:gd name="T87" fmla="*/ 1053 h 105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34" h="1053">
                  <a:moveTo>
                    <a:pt x="386" y="105"/>
                  </a:moveTo>
                  <a:cubicBezTo>
                    <a:pt x="419" y="107"/>
                    <a:pt x="441" y="88"/>
                    <a:pt x="470" y="85"/>
                  </a:cubicBezTo>
                  <a:cubicBezTo>
                    <a:pt x="658" y="63"/>
                    <a:pt x="834" y="235"/>
                    <a:pt x="834" y="397"/>
                  </a:cubicBezTo>
                  <a:cubicBezTo>
                    <a:pt x="834" y="407"/>
                    <a:pt x="832" y="420"/>
                    <a:pt x="830" y="429"/>
                  </a:cubicBezTo>
                  <a:cubicBezTo>
                    <a:pt x="792" y="614"/>
                    <a:pt x="805" y="765"/>
                    <a:pt x="694" y="869"/>
                  </a:cubicBezTo>
                  <a:cubicBezTo>
                    <a:pt x="652" y="909"/>
                    <a:pt x="601" y="916"/>
                    <a:pt x="542" y="937"/>
                  </a:cubicBezTo>
                  <a:cubicBezTo>
                    <a:pt x="502" y="951"/>
                    <a:pt x="477" y="984"/>
                    <a:pt x="434" y="1001"/>
                  </a:cubicBezTo>
                  <a:cubicBezTo>
                    <a:pt x="395" y="1017"/>
                    <a:pt x="348" y="1010"/>
                    <a:pt x="302" y="1021"/>
                  </a:cubicBezTo>
                  <a:cubicBezTo>
                    <a:pt x="278" y="1027"/>
                    <a:pt x="256" y="1053"/>
                    <a:pt x="222" y="1045"/>
                  </a:cubicBezTo>
                  <a:cubicBezTo>
                    <a:pt x="220" y="972"/>
                    <a:pt x="328" y="988"/>
                    <a:pt x="390" y="965"/>
                  </a:cubicBezTo>
                  <a:cubicBezTo>
                    <a:pt x="533" y="914"/>
                    <a:pt x="657" y="786"/>
                    <a:pt x="690" y="625"/>
                  </a:cubicBezTo>
                  <a:cubicBezTo>
                    <a:pt x="697" y="593"/>
                    <a:pt x="685" y="552"/>
                    <a:pt x="714" y="521"/>
                  </a:cubicBezTo>
                  <a:cubicBezTo>
                    <a:pt x="764" y="541"/>
                    <a:pt x="733" y="611"/>
                    <a:pt x="722" y="653"/>
                  </a:cubicBezTo>
                  <a:cubicBezTo>
                    <a:pt x="700" y="737"/>
                    <a:pt x="671" y="808"/>
                    <a:pt x="622" y="861"/>
                  </a:cubicBezTo>
                  <a:cubicBezTo>
                    <a:pt x="735" y="819"/>
                    <a:pt x="755" y="678"/>
                    <a:pt x="766" y="529"/>
                  </a:cubicBezTo>
                  <a:cubicBezTo>
                    <a:pt x="771" y="467"/>
                    <a:pt x="790" y="414"/>
                    <a:pt x="778" y="361"/>
                  </a:cubicBezTo>
                  <a:cubicBezTo>
                    <a:pt x="753" y="251"/>
                    <a:pt x="651" y="135"/>
                    <a:pt x="522" y="133"/>
                  </a:cubicBezTo>
                  <a:cubicBezTo>
                    <a:pt x="442" y="132"/>
                    <a:pt x="378" y="164"/>
                    <a:pt x="326" y="205"/>
                  </a:cubicBezTo>
                  <a:cubicBezTo>
                    <a:pt x="288" y="236"/>
                    <a:pt x="235" y="283"/>
                    <a:pt x="202" y="321"/>
                  </a:cubicBezTo>
                  <a:cubicBezTo>
                    <a:pt x="166" y="363"/>
                    <a:pt x="144" y="445"/>
                    <a:pt x="114" y="505"/>
                  </a:cubicBezTo>
                  <a:cubicBezTo>
                    <a:pt x="89" y="556"/>
                    <a:pt x="74" y="622"/>
                    <a:pt x="18" y="645"/>
                  </a:cubicBezTo>
                  <a:cubicBezTo>
                    <a:pt x="0" y="588"/>
                    <a:pt x="50" y="534"/>
                    <a:pt x="78" y="477"/>
                  </a:cubicBezTo>
                  <a:cubicBezTo>
                    <a:pt x="104" y="424"/>
                    <a:pt x="119" y="359"/>
                    <a:pt x="150" y="309"/>
                  </a:cubicBezTo>
                  <a:cubicBezTo>
                    <a:pt x="177" y="264"/>
                    <a:pt x="229" y="225"/>
                    <a:pt x="266" y="185"/>
                  </a:cubicBezTo>
                  <a:cubicBezTo>
                    <a:pt x="341" y="106"/>
                    <a:pt x="369" y="17"/>
                    <a:pt x="502" y="5"/>
                  </a:cubicBezTo>
                  <a:cubicBezTo>
                    <a:pt x="524" y="3"/>
                    <a:pt x="572" y="0"/>
                    <a:pt x="574" y="25"/>
                  </a:cubicBezTo>
                  <a:cubicBezTo>
                    <a:pt x="577" y="58"/>
                    <a:pt x="501" y="50"/>
                    <a:pt x="470" y="57"/>
                  </a:cubicBezTo>
                  <a:cubicBezTo>
                    <a:pt x="435" y="65"/>
                    <a:pt x="401" y="77"/>
                    <a:pt x="386" y="105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4" name="Freeform 589"/>
            <p:cNvSpPr>
              <a:spLocks/>
            </p:cNvSpPr>
            <p:nvPr/>
          </p:nvSpPr>
          <p:spPr bwMode="auto">
            <a:xfrm>
              <a:off x="7189142" y="2989084"/>
              <a:ext cx="100189" cy="178391"/>
            </a:xfrm>
            <a:custGeom>
              <a:avLst/>
              <a:gdLst>
                <a:gd name="T0" fmla="*/ 304 w 346"/>
                <a:gd name="T1" fmla="*/ 616 h 616"/>
                <a:gd name="T2" fmla="*/ 300 w 346"/>
                <a:gd name="T3" fmla="*/ 464 h 616"/>
                <a:gd name="T4" fmla="*/ 280 w 346"/>
                <a:gd name="T5" fmla="*/ 412 h 616"/>
                <a:gd name="T6" fmla="*/ 232 w 346"/>
                <a:gd name="T7" fmla="*/ 260 h 616"/>
                <a:gd name="T8" fmla="*/ 80 w 346"/>
                <a:gd name="T9" fmla="*/ 92 h 616"/>
                <a:gd name="T10" fmla="*/ 0 w 346"/>
                <a:gd name="T11" fmla="*/ 32 h 616"/>
                <a:gd name="T12" fmla="*/ 200 w 346"/>
                <a:gd name="T13" fmla="*/ 132 h 616"/>
                <a:gd name="T14" fmla="*/ 340 w 346"/>
                <a:gd name="T15" fmla="*/ 448 h 616"/>
                <a:gd name="T16" fmla="*/ 304 w 346"/>
                <a:gd name="T17" fmla="*/ 616 h 6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6"/>
                <a:gd name="T28" fmla="*/ 0 h 616"/>
                <a:gd name="T29" fmla="*/ 346 w 346"/>
                <a:gd name="T30" fmla="*/ 616 h 6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6" h="616">
                  <a:moveTo>
                    <a:pt x="304" y="616"/>
                  </a:moveTo>
                  <a:cubicBezTo>
                    <a:pt x="276" y="580"/>
                    <a:pt x="309" y="515"/>
                    <a:pt x="300" y="464"/>
                  </a:cubicBezTo>
                  <a:cubicBezTo>
                    <a:pt x="297" y="445"/>
                    <a:pt x="285" y="430"/>
                    <a:pt x="280" y="412"/>
                  </a:cubicBezTo>
                  <a:cubicBezTo>
                    <a:pt x="264" y="354"/>
                    <a:pt x="258" y="308"/>
                    <a:pt x="232" y="260"/>
                  </a:cubicBezTo>
                  <a:cubicBezTo>
                    <a:pt x="197" y="196"/>
                    <a:pt x="138" y="127"/>
                    <a:pt x="80" y="92"/>
                  </a:cubicBezTo>
                  <a:cubicBezTo>
                    <a:pt x="53" y="76"/>
                    <a:pt x="6" y="77"/>
                    <a:pt x="0" y="32"/>
                  </a:cubicBezTo>
                  <a:cubicBezTo>
                    <a:pt x="46" y="0"/>
                    <a:pt x="161" y="84"/>
                    <a:pt x="200" y="132"/>
                  </a:cubicBezTo>
                  <a:cubicBezTo>
                    <a:pt x="269" y="217"/>
                    <a:pt x="332" y="346"/>
                    <a:pt x="340" y="448"/>
                  </a:cubicBezTo>
                  <a:cubicBezTo>
                    <a:pt x="345" y="509"/>
                    <a:pt x="346" y="588"/>
                    <a:pt x="304" y="616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5" name="Freeform 590"/>
            <p:cNvSpPr>
              <a:spLocks/>
            </p:cNvSpPr>
            <p:nvPr/>
          </p:nvSpPr>
          <p:spPr bwMode="auto">
            <a:xfrm>
              <a:off x="7017704" y="3019123"/>
              <a:ext cx="81304" cy="121747"/>
            </a:xfrm>
            <a:custGeom>
              <a:avLst/>
              <a:gdLst>
                <a:gd name="T0" fmla="*/ 276 w 281"/>
                <a:gd name="T1" fmla="*/ 0 h 420"/>
                <a:gd name="T2" fmla="*/ 184 w 281"/>
                <a:gd name="T3" fmla="*/ 116 h 420"/>
                <a:gd name="T4" fmla="*/ 100 w 281"/>
                <a:gd name="T5" fmla="*/ 244 h 420"/>
                <a:gd name="T6" fmla="*/ 8 w 281"/>
                <a:gd name="T7" fmla="*/ 420 h 420"/>
                <a:gd name="T8" fmla="*/ 48 w 281"/>
                <a:gd name="T9" fmla="*/ 268 h 420"/>
                <a:gd name="T10" fmla="*/ 108 w 281"/>
                <a:gd name="T11" fmla="*/ 128 h 420"/>
                <a:gd name="T12" fmla="*/ 268 w 281"/>
                <a:gd name="T13" fmla="*/ 0 h 420"/>
                <a:gd name="T14" fmla="*/ 276 w 281"/>
                <a:gd name="T15" fmla="*/ 0 h 4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81"/>
                <a:gd name="T25" fmla="*/ 0 h 420"/>
                <a:gd name="T26" fmla="*/ 281 w 281"/>
                <a:gd name="T27" fmla="*/ 420 h 4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81" h="420">
                  <a:moveTo>
                    <a:pt x="276" y="0"/>
                  </a:moveTo>
                  <a:cubicBezTo>
                    <a:pt x="281" y="60"/>
                    <a:pt x="217" y="82"/>
                    <a:pt x="184" y="116"/>
                  </a:cubicBezTo>
                  <a:cubicBezTo>
                    <a:pt x="151" y="150"/>
                    <a:pt x="120" y="196"/>
                    <a:pt x="100" y="244"/>
                  </a:cubicBezTo>
                  <a:cubicBezTo>
                    <a:pt x="74" y="306"/>
                    <a:pt x="67" y="380"/>
                    <a:pt x="8" y="420"/>
                  </a:cubicBezTo>
                  <a:cubicBezTo>
                    <a:pt x="0" y="366"/>
                    <a:pt x="29" y="315"/>
                    <a:pt x="48" y="268"/>
                  </a:cubicBezTo>
                  <a:cubicBezTo>
                    <a:pt x="67" y="221"/>
                    <a:pt x="83" y="167"/>
                    <a:pt x="108" y="128"/>
                  </a:cubicBezTo>
                  <a:cubicBezTo>
                    <a:pt x="139" y="81"/>
                    <a:pt x="220" y="27"/>
                    <a:pt x="268" y="0"/>
                  </a:cubicBezTo>
                  <a:cubicBezTo>
                    <a:pt x="271" y="0"/>
                    <a:pt x="273" y="0"/>
                    <a:pt x="276" y="0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6" name="Freeform 591"/>
            <p:cNvSpPr>
              <a:spLocks/>
            </p:cNvSpPr>
            <p:nvPr/>
          </p:nvSpPr>
          <p:spPr bwMode="auto">
            <a:xfrm>
              <a:off x="7043089" y="3028686"/>
              <a:ext cx="200747" cy="240429"/>
            </a:xfrm>
            <a:custGeom>
              <a:avLst/>
              <a:gdLst>
                <a:gd name="T0" fmla="*/ 632 w 693"/>
                <a:gd name="T1" fmla="*/ 363 h 830"/>
                <a:gd name="T2" fmla="*/ 444 w 693"/>
                <a:gd name="T3" fmla="*/ 79 h 830"/>
                <a:gd name="T4" fmla="*/ 260 w 693"/>
                <a:gd name="T5" fmla="*/ 151 h 830"/>
                <a:gd name="T6" fmla="*/ 232 w 693"/>
                <a:gd name="T7" fmla="*/ 187 h 830"/>
                <a:gd name="T8" fmla="*/ 168 w 693"/>
                <a:gd name="T9" fmla="*/ 263 h 830"/>
                <a:gd name="T10" fmla="*/ 524 w 693"/>
                <a:gd name="T11" fmla="*/ 131 h 830"/>
                <a:gd name="T12" fmla="*/ 544 w 693"/>
                <a:gd name="T13" fmla="*/ 571 h 830"/>
                <a:gd name="T14" fmla="*/ 376 w 693"/>
                <a:gd name="T15" fmla="*/ 763 h 830"/>
                <a:gd name="T16" fmla="*/ 304 w 693"/>
                <a:gd name="T17" fmla="*/ 795 h 830"/>
                <a:gd name="T18" fmla="*/ 236 w 693"/>
                <a:gd name="T19" fmla="*/ 819 h 830"/>
                <a:gd name="T20" fmla="*/ 384 w 693"/>
                <a:gd name="T21" fmla="*/ 703 h 830"/>
                <a:gd name="T22" fmla="*/ 528 w 693"/>
                <a:gd name="T23" fmla="*/ 415 h 830"/>
                <a:gd name="T24" fmla="*/ 520 w 693"/>
                <a:gd name="T25" fmla="*/ 191 h 830"/>
                <a:gd name="T26" fmla="*/ 340 w 693"/>
                <a:gd name="T27" fmla="*/ 167 h 830"/>
                <a:gd name="T28" fmla="*/ 260 w 693"/>
                <a:gd name="T29" fmla="*/ 255 h 830"/>
                <a:gd name="T30" fmla="*/ 200 w 693"/>
                <a:gd name="T31" fmla="*/ 307 h 830"/>
                <a:gd name="T32" fmla="*/ 184 w 693"/>
                <a:gd name="T33" fmla="*/ 431 h 830"/>
                <a:gd name="T34" fmla="*/ 116 w 693"/>
                <a:gd name="T35" fmla="*/ 571 h 830"/>
                <a:gd name="T36" fmla="*/ 0 w 693"/>
                <a:gd name="T37" fmla="*/ 651 h 830"/>
                <a:gd name="T38" fmla="*/ 84 w 693"/>
                <a:gd name="T39" fmla="*/ 527 h 830"/>
                <a:gd name="T40" fmla="*/ 124 w 693"/>
                <a:gd name="T41" fmla="*/ 355 h 830"/>
                <a:gd name="T42" fmla="*/ 124 w 693"/>
                <a:gd name="T43" fmla="*/ 223 h 830"/>
                <a:gd name="T44" fmla="*/ 248 w 693"/>
                <a:gd name="T45" fmla="*/ 103 h 830"/>
                <a:gd name="T46" fmla="*/ 644 w 693"/>
                <a:gd name="T47" fmla="*/ 171 h 830"/>
                <a:gd name="T48" fmla="*/ 632 w 693"/>
                <a:gd name="T49" fmla="*/ 363 h 83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93"/>
                <a:gd name="T76" fmla="*/ 0 h 830"/>
                <a:gd name="T77" fmla="*/ 693 w 693"/>
                <a:gd name="T78" fmla="*/ 830 h 83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93" h="830">
                  <a:moveTo>
                    <a:pt x="632" y="363"/>
                  </a:moveTo>
                  <a:cubicBezTo>
                    <a:pt x="628" y="214"/>
                    <a:pt x="580" y="83"/>
                    <a:pt x="444" y="79"/>
                  </a:cubicBezTo>
                  <a:cubicBezTo>
                    <a:pt x="376" y="77"/>
                    <a:pt x="304" y="110"/>
                    <a:pt x="260" y="151"/>
                  </a:cubicBezTo>
                  <a:cubicBezTo>
                    <a:pt x="249" y="161"/>
                    <a:pt x="244" y="175"/>
                    <a:pt x="232" y="187"/>
                  </a:cubicBezTo>
                  <a:cubicBezTo>
                    <a:pt x="209" y="209"/>
                    <a:pt x="160" y="222"/>
                    <a:pt x="168" y="263"/>
                  </a:cubicBezTo>
                  <a:cubicBezTo>
                    <a:pt x="253" y="221"/>
                    <a:pt x="372" y="31"/>
                    <a:pt x="524" y="131"/>
                  </a:cubicBezTo>
                  <a:cubicBezTo>
                    <a:pt x="621" y="195"/>
                    <a:pt x="594" y="461"/>
                    <a:pt x="544" y="571"/>
                  </a:cubicBezTo>
                  <a:cubicBezTo>
                    <a:pt x="509" y="649"/>
                    <a:pt x="440" y="726"/>
                    <a:pt x="376" y="763"/>
                  </a:cubicBezTo>
                  <a:cubicBezTo>
                    <a:pt x="354" y="776"/>
                    <a:pt x="327" y="783"/>
                    <a:pt x="304" y="795"/>
                  </a:cubicBezTo>
                  <a:cubicBezTo>
                    <a:pt x="283" y="806"/>
                    <a:pt x="262" y="830"/>
                    <a:pt x="236" y="819"/>
                  </a:cubicBezTo>
                  <a:cubicBezTo>
                    <a:pt x="260" y="744"/>
                    <a:pt x="331" y="743"/>
                    <a:pt x="384" y="703"/>
                  </a:cubicBezTo>
                  <a:cubicBezTo>
                    <a:pt x="465" y="641"/>
                    <a:pt x="514" y="548"/>
                    <a:pt x="528" y="415"/>
                  </a:cubicBezTo>
                  <a:cubicBezTo>
                    <a:pt x="536" y="339"/>
                    <a:pt x="562" y="251"/>
                    <a:pt x="520" y="191"/>
                  </a:cubicBezTo>
                  <a:cubicBezTo>
                    <a:pt x="484" y="140"/>
                    <a:pt x="396" y="135"/>
                    <a:pt x="340" y="167"/>
                  </a:cubicBezTo>
                  <a:cubicBezTo>
                    <a:pt x="309" y="184"/>
                    <a:pt x="293" y="221"/>
                    <a:pt x="260" y="255"/>
                  </a:cubicBezTo>
                  <a:cubicBezTo>
                    <a:pt x="243" y="273"/>
                    <a:pt x="213" y="285"/>
                    <a:pt x="200" y="307"/>
                  </a:cubicBezTo>
                  <a:cubicBezTo>
                    <a:pt x="179" y="343"/>
                    <a:pt x="192" y="380"/>
                    <a:pt x="184" y="431"/>
                  </a:cubicBezTo>
                  <a:cubicBezTo>
                    <a:pt x="177" y="476"/>
                    <a:pt x="142" y="534"/>
                    <a:pt x="116" y="571"/>
                  </a:cubicBezTo>
                  <a:cubicBezTo>
                    <a:pt x="90" y="608"/>
                    <a:pt x="55" y="652"/>
                    <a:pt x="0" y="651"/>
                  </a:cubicBezTo>
                  <a:cubicBezTo>
                    <a:pt x="5" y="592"/>
                    <a:pt x="59" y="569"/>
                    <a:pt x="84" y="527"/>
                  </a:cubicBezTo>
                  <a:cubicBezTo>
                    <a:pt x="107" y="489"/>
                    <a:pt x="132" y="426"/>
                    <a:pt x="124" y="355"/>
                  </a:cubicBezTo>
                  <a:cubicBezTo>
                    <a:pt x="119" y="309"/>
                    <a:pt x="103" y="267"/>
                    <a:pt x="124" y="223"/>
                  </a:cubicBezTo>
                  <a:cubicBezTo>
                    <a:pt x="145" y="180"/>
                    <a:pt x="204" y="139"/>
                    <a:pt x="248" y="103"/>
                  </a:cubicBezTo>
                  <a:cubicBezTo>
                    <a:pt x="376" y="0"/>
                    <a:pt x="568" y="10"/>
                    <a:pt x="644" y="171"/>
                  </a:cubicBezTo>
                  <a:cubicBezTo>
                    <a:pt x="664" y="213"/>
                    <a:pt x="693" y="346"/>
                    <a:pt x="632" y="363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7" name="Freeform 592"/>
            <p:cNvSpPr>
              <a:spLocks/>
            </p:cNvSpPr>
            <p:nvPr/>
          </p:nvSpPr>
          <p:spPr bwMode="auto">
            <a:xfrm>
              <a:off x="7159833" y="3070494"/>
              <a:ext cx="37647" cy="26237"/>
            </a:xfrm>
            <a:custGeom>
              <a:avLst/>
              <a:gdLst>
                <a:gd name="T0" fmla="*/ 101 w 130"/>
                <a:gd name="T1" fmla="*/ 91 h 91"/>
                <a:gd name="T2" fmla="*/ 17 w 130"/>
                <a:gd name="T3" fmla="*/ 67 h 91"/>
                <a:gd name="T4" fmla="*/ 101 w 130"/>
                <a:gd name="T5" fmla="*/ 91 h 91"/>
                <a:gd name="T6" fmla="*/ 0 60000 65536"/>
                <a:gd name="T7" fmla="*/ 0 60000 65536"/>
                <a:gd name="T8" fmla="*/ 0 60000 65536"/>
                <a:gd name="T9" fmla="*/ 0 w 130"/>
                <a:gd name="T10" fmla="*/ 0 h 91"/>
                <a:gd name="T11" fmla="*/ 130 w 130"/>
                <a:gd name="T12" fmla="*/ 91 h 9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0" h="91">
                  <a:moveTo>
                    <a:pt x="101" y="91"/>
                  </a:moveTo>
                  <a:cubicBezTo>
                    <a:pt x="75" y="81"/>
                    <a:pt x="51" y="69"/>
                    <a:pt x="17" y="67"/>
                  </a:cubicBezTo>
                  <a:cubicBezTo>
                    <a:pt x="0" y="0"/>
                    <a:pt x="130" y="39"/>
                    <a:pt x="101" y="91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8" name="Freeform 593"/>
            <p:cNvSpPr>
              <a:spLocks/>
            </p:cNvSpPr>
            <p:nvPr/>
          </p:nvSpPr>
          <p:spPr bwMode="auto">
            <a:xfrm>
              <a:off x="7095820" y="3071598"/>
              <a:ext cx="64872" cy="76138"/>
            </a:xfrm>
            <a:custGeom>
              <a:avLst/>
              <a:gdLst>
                <a:gd name="T0" fmla="*/ 222 w 224"/>
                <a:gd name="T1" fmla="*/ 47 h 263"/>
                <a:gd name="T2" fmla="*/ 182 w 224"/>
                <a:gd name="T3" fmla="*/ 79 h 263"/>
                <a:gd name="T4" fmla="*/ 86 w 224"/>
                <a:gd name="T5" fmla="*/ 179 h 263"/>
                <a:gd name="T6" fmla="*/ 34 w 224"/>
                <a:gd name="T7" fmla="*/ 263 h 263"/>
                <a:gd name="T8" fmla="*/ 118 w 224"/>
                <a:gd name="T9" fmla="*/ 91 h 263"/>
                <a:gd name="T10" fmla="*/ 222 w 224"/>
                <a:gd name="T11" fmla="*/ 47 h 2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4"/>
                <a:gd name="T19" fmla="*/ 0 h 263"/>
                <a:gd name="T20" fmla="*/ 224 w 224"/>
                <a:gd name="T21" fmla="*/ 263 h 26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4" h="263">
                  <a:moveTo>
                    <a:pt x="222" y="47"/>
                  </a:moveTo>
                  <a:cubicBezTo>
                    <a:pt x="224" y="73"/>
                    <a:pt x="195" y="68"/>
                    <a:pt x="182" y="79"/>
                  </a:cubicBezTo>
                  <a:cubicBezTo>
                    <a:pt x="162" y="122"/>
                    <a:pt x="115" y="143"/>
                    <a:pt x="86" y="179"/>
                  </a:cubicBezTo>
                  <a:cubicBezTo>
                    <a:pt x="65" y="205"/>
                    <a:pt x="68" y="245"/>
                    <a:pt x="34" y="263"/>
                  </a:cubicBezTo>
                  <a:cubicBezTo>
                    <a:pt x="0" y="195"/>
                    <a:pt x="79" y="136"/>
                    <a:pt x="118" y="91"/>
                  </a:cubicBezTo>
                  <a:cubicBezTo>
                    <a:pt x="141" y="65"/>
                    <a:pt x="176" y="0"/>
                    <a:pt x="222" y="47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49" name="Freeform 594"/>
            <p:cNvSpPr>
              <a:spLocks/>
            </p:cNvSpPr>
            <p:nvPr/>
          </p:nvSpPr>
          <p:spPr bwMode="auto">
            <a:xfrm>
              <a:off x="7052409" y="3091582"/>
              <a:ext cx="139676" cy="183662"/>
            </a:xfrm>
            <a:custGeom>
              <a:avLst/>
              <a:gdLst>
                <a:gd name="T0" fmla="*/ 52 w 482"/>
                <a:gd name="T1" fmla="*/ 614 h 634"/>
                <a:gd name="T2" fmla="*/ 120 w 482"/>
                <a:gd name="T3" fmla="*/ 562 h 634"/>
                <a:gd name="T4" fmla="*/ 236 w 482"/>
                <a:gd name="T5" fmla="*/ 454 h 634"/>
                <a:gd name="T6" fmla="*/ 300 w 482"/>
                <a:gd name="T7" fmla="*/ 430 h 634"/>
                <a:gd name="T8" fmla="*/ 432 w 482"/>
                <a:gd name="T9" fmla="*/ 206 h 634"/>
                <a:gd name="T10" fmla="*/ 428 w 482"/>
                <a:gd name="T11" fmla="*/ 162 h 634"/>
                <a:gd name="T12" fmla="*/ 400 w 482"/>
                <a:gd name="T13" fmla="*/ 58 h 634"/>
                <a:gd name="T14" fmla="*/ 332 w 482"/>
                <a:gd name="T15" fmla="*/ 130 h 634"/>
                <a:gd name="T16" fmla="*/ 64 w 482"/>
                <a:gd name="T17" fmla="*/ 490 h 634"/>
                <a:gd name="T18" fmla="*/ 0 w 482"/>
                <a:gd name="T19" fmla="*/ 506 h 634"/>
                <a:gd name="T20" fmla="*/ 76 w 482"/>
                <a:gd name="T21" fmla="*/ 426 h 634"/>
                <a:gd name="T22" fmla="*/ 240 w 482"/>
                <a:gd name="T23" fmla="*/ 146 h 634"/>
                <a:gd name="T24" fmla="*/ 292 w 482"/>
                <a:gd name="T25" fmla="*/ 102 h 634"/>
                <a:gd name="T26" fmla="*/ 340 w 482"/>
                <a:gd name="T27" fmla="*/ 38 h 634"/>
                <a:gd name="T28" fmla="*/ 480 w 482"/>
                <a:gd name="T29" fmla="*/ 90 h 634"/>
                <a:gd name="T30" fmla="*/ 468 w 482"/>
                <a:gd name="T31" fmla="*/ 166 h 634"/>
                <a:gd name="T32" fmla="*/ 468 w 482"/>
                <a:gd name="T33" fmla="*/ 250 h 634"/>
                <a:gd name="T34" fmla="*/ 356 w 482"/>
                <a:gd name="T35" fmla="*/ 450 h 634"/>
                <a:gd name="T36" fmla="*/ 264 w 482"/>
                <a:gd name="T37" fmla="*/ 494 h 634"/>
                <a:gd name="T38" fmla="*/ 52 w 482"/>
                <a:gd name="T39" fmla="*/ 614 h 6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82"/>
                <a:gd name="T61" fmla="*/ 0 h 634"/>
                <a:gd name="T62" fmla="*/ 482 w 482"/>
                <a:gd name="T63" fmla="*/ 634 h 63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82" h="634">
                  <a:moveTo>
                    <a:pt x="52" y="614"/>
                  </a:moveTo>
                  <a:cubicBezTo>
                    <a:pt x="63" y="583"/>
                    <a:pt x="91" y="582"/>
                    <a:pt x="120" y="562"/>
                  </a:cubicBezTo>
                  <a:cubicBezTo>
                    <a:pt x="162" y="533"/>
                    <a:pt x="194" y="478"/>
                    <a:pt x="236" y="454"/>
                  </a:cubicBezTo>
                  <a:cubicBezTo>
                    <a:pt x="255" y="443"/>
                    <a:pt x="279" y="442"/>
                    <a:pt x="300" y="430"/>
                  </a:cubicBezTo>
                  <a:cubicBezTo>
                    <a:pt x="368" y="392"/>
                    <a:pt x="428" y="289"/>
                    <a:pt x="432" y="206"/>
                  </a:cubicBezTo>
                  <a:cubicBezTo>
                    <a:pt x="433" y="191"/>
                    <a:pt x="427" y="176"/>
                    <a:pt x="428" y="162"/>
                  </a:cubicBezTo>
                  <a:cubicBezTo>
                    <a:pt x="430" y="121"/>
                    <a:pt x="449" y="65"/>
                    <a:pt x="400" y="58"/>
                  </a:cubicBezTo>
                  <a:cubicBezTo>
                    <a:pt x="355" y="51"/>
                    <a:pt x="343" y="93"/>
                    <a:pt x="332" y="130"/>
                  </a:cubicBezTo>
                  <a:cubicBezTo>
                    <a:pt x="229" y="219"/>
                    <a:pt x="186" y="413"/>
                    <a:pt x="64" y="490"/>
                  </a:cubicBezTo>
                  <a:cubicBezTo>
                    <a:pt x="48" y="500"/>
                    <a:pt x="23" y="512"/>
                    <a:pt x="0" y="506"/>
                  </a:cubicBezTo>
                  <a:cubicBezTo>
                    <a:pt x="0" y="456"/>
                    <a:pt x="46" y="452"/>
                    <a:pt x="76" y="426"/>
                  </a:cubicBezTo>
                  <a:cubicBezTo>
                    <a:pt x="154" y="358"/>
                    <a:pt x="171" y="230"/>
                    <a:pt x="240" y="146"/>
                  </a:cubicBezTo>
                  <a:cubicBezTo>
                    <a:pt x="253" y="131"/>
                    <a:pt x="276" y="120"/>
                    <a:pt x="292" y="102"/>
                  </a:cubicBezTo>
                  <a:cubicBezTo>
                    <a:pt x="311" y="81"/>
                    <a:pt x="322" y="51"/>
                    <a:pt x="340" y="38"/>
                  </a:cubicBezTo>
                  <a:cubicBezTo>
                    <a:pt x="395" y="0"/>
                    <a:pt x="476" y="32"/>
                    <a:pt x="480" y="90"/>
                  </a:cubicBezTo>
                  <a:cubicBezTo>
                    <a:pt x="482" y="116"/>
                    <a:pt x="470" y="144"/>
                    <a:pt x="468" y="166"/>
                  </a:cubicBezTo>
                  <a:cubicBezTo>
                    <a:pt x="466" y="195"/>
                    <a:pt x="471" y="223"/>
                    <a:pt x="468" y="250"/>
                  </a:cubicBezTo>
                  <a:cubicBezTo>
                    <a:pt x="459" y="329"/>
                    <a:pt x="412" y="407"/>
                    <a:pt x="356" y="450"/>
                  </a:cubicBezTo>
                  <a:cubicBezTo>
                    <a:pt x="330" y="470"/>
                    <a:pt x="294" y="476"/>
                    <a:pt x="264" y="494"/>
                  </a:cubicBezTo>
                  <a:cubicBezTo>
                    <a:pt x="198" y="533"/>
                    <a:pt x="151" y="634"/>
                    <a:pt x="52" y="614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50" name="Freeform 595"/>
            <p:cNvSpPr>
              <a:spLocks noEditPoints="1"/>
            </p:cNvSpPr>
            <p:nvPr/>
          </p:nvSpPr>
          <p:spPr bwMode="auto">
            <a:xfrm>
              <a:off x="7055843" y="3115368"/>
              <a:ext cx="120546" cy="147984"/>
            </a:xfrm>
            <a:custGeom>
              <a:avLst/>
              <a:gdLst>
                <a:gd name="T0" fmla="*/ 388 w 416"/>
                <a:gd name="T1" fmla="*/ 0 h 511"/>
                <a:gd name="T2" fmla="*/ 380 w 416"/>
                <a:gd name="T3" fmla="*/ 76 h 511"/>
                <a:gd name="T4" fmla="*/ 308 w 416"/>
                <a:gd name="T5" fmla="*/ 296 h 511"/>
                <a:gd name="T6" fmla="*/ 160 w 416"/>
                <a:gd name="T7" fmla="*/ 392 h 511"/>
                <a:gd name="T8" fmla="*/ 0 w 416"/>
                <a:gd name="T9" fmla="*/ 476 h 511"/>
                <a:gd name="T10" fmla="*/ 76 w 416"/>
                <a:gd name="T11" fmla="*/ 420 h 511"/>
                <a:gd name="T12" fmla="*/ 208 w 416"/>
                <a:gd name="T13" fmla="*/ 276 h 511"/>
                <a:gd name="T14" fmla="*/ 344 w 416"/>
                <a:gd name="T15" fmla="*/ 60 h 511"/>
                <a:gd name="T16" fmla="*/ 380 w 416"/>
                <a:gd name="T17" fmla="*/ 0 h 511"/>
                <a:gd name="T18" fmla="*/ 388 w 416"/>
                <a:gd name="T19" fmla="*/ 0 h 511"/>
                <a:gd name="T20" fmla="*/ 260 w 416"/>
                <a:gd name="T21" fmla="*/ 264 h 511"/>
                <a:gd name="T22" fmla="*/ 344 w 416"/>
                <a:gd name="T23" fmla="*/ 120 h 511"/>
                <a:gd name="T24" fmla="*/ 332 w 416"/>
                <a:gd name="T25" fmla="*/ 116 h 511"/>
                <a:gd name="T26" fmla="*/ 260 w 416"/>
                <a:gd name="T27" fmla="*/ 264 h 5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16"/>
                <a:gd name="T43" fmla="*/ 0 h 511"/>
                <a:gd name="T44" fmla="*/ 416 w 416"/>
                <a:gd name="T45" fmla="*/ 511 h 5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16" h="511">
                  <a:moveTo>
                    <a:pt x="388" y="0"/>
                  </a:moveTo>
                  <a:cubicBezTo>
                    <a:pt x="408" y="22"/>
                    <a:pt x="388" y="57"/>
                    <a:pt x="380" y="76"/>
                  </a:cubicBezTo>
                  <a:cubicBezTo>
                    <a:pt x="416" y="121"/>
                    <a:pt x="361" y="271"/>
                    <a:pt x="308" y="296"/>
                  </a:cubicBezTo>
                  <a:cubicBezTo>
                    <a:pt x="246" y="325"/>
                    <a:pt x="203" y="342"/>
                    <a:pt x="160" y="392"/>
                  </a:cubicBezTo>
                  <a:cubicBezTo>
                    <a:pt x="130" y="426"/>
                    <a:pt x="60" y="511"/>
                    <a:pt x="0" y="476"/>
                  </a:cubicBezTo>
                  <a:cubicBezTo>
                    <a:pt x="17" y="440"/>
                    <a:pt x="50" y="439"/>
                    <a:pt x="76" y="420"/>
                  </a:cubicBezTo>
                  <a:cubicBezTo>
                    <a:pt x="106" y="399"/>
                    <a:pt x="194" y="313"/>
                    <a:pt x="208" y="276"/>
                  </a:cubicBezTo>
                  <a:cubicBezTo>
                    <a:pt x="239" y="199"/>
                    <a:pt x="278" y="107"/>
                    <a:pt x="344" y="60"/>
                  </a:cubicBezTo>
                  <a:cubicBezTo>
                    <a:pt x="351" y="35"/>
                    <a:pt x="355" y="6"/>
                    <a:pt x="380" y="0"/>
                  </a:cubicBezTo>
                  <a:cubicBezTo>
                    <a:pt x="383" y="0"/>
                    <a:pt x="385" y="0"/>
                    <a:pt x="388" y="0"/>
                  </a:cubicBezTo>
                  <a:close/>
                  <a:moveTo>
                    <a:pt x="260" y="264"/>
                  </a:moveTo>
                  <a:cubicBezTo>
                    <a:pt x="312" y="258"/>
                    <a:pt x="349" y="183"/>
                    <a:pt x="344" y="120"/>
                  </a:cubicBezTo>
                  <a:cubicBezTo>
                    <a:pt x="339" y="120"/>
                    <a:pt x="339" y="115"/>
                    <a:pt x="332" y="116"/>
                  </a:cubicBezTo>
                  <a:cubicBezTo>
                    <a:pt x="312" y="169"/>
                    <a:pt x="283" y="213"/>
                    <a:pt x="260" y="264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51" name="Freeform 596"/>
            <p:cNvSpPr>
              <a:spLocks/>
            </p:cNvSpPr>
            <p:nvPr/>
          </p:nvSpPr>
          <p:spPr bwMode="auto">
            <a:xfrm>
              <a:off x="7254259" y="3119905"/>
              <a:ext cx="19989" cy="42911"/>
            </a:xfrm>
            <a:custGeom>
              <a:avLst/>
              <a:gdLst>
                <a:gd name="T0" fmla="*/ 39 w 69"/>
                <a:gd name="T1" fmla="*/ 0 h 148"/>
                <a:gd name="T2" fmla="*/ 15 w 69"/>
                <a:gd name="T3" fmla="*/ 148 h 148"/>
                <a:gd name="T4" fmla="*/ 39 w 69"/>
                <a:gd name="T5" fmla="*/ 0 h 148"/>
                <a:gd name="T6" fmla="*/ 0 60000 65536"/>
                <a:gd name="T7" fmla="*/ 0 60000 65536"/>
                <a:gd name="T8" fmla="*/ 0 60000 65536"/>
                <a:gd name="T9" fmla="*/ 0 w 69"/>
                <a:gd name="T10" fmla="*/ 0 h 148"/>
                <a:gd name="T11" fmla="*/ 69 w 69"/>
                <a:gd name="T12" fmla="*/ 148 h 14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9" h="148">
                  <a:moveTo>
                    <a:pt x="39" y="0"/>
                  </a:moveTo>
                  <a:cubicBezTo>
                    <a:pt x="69" y="30"/>
                    <a:pt x="53" y="134"/>
                    <a:pt x="15" y="148"/>
                  </a:cubicBezTo>
                  <a:cubicBezTo>
                    <a:pt x="13" y="103"/>
                    <a:pt x="0" y="16"/>
                    <a:pt x="39" y="0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52" name="Freeform 597"/>
            <p:cNvSpPr>
              <a:spLocks/>
            </p:cNvSpPr>
            <p:nvPr/>
          </p:nvSpPr>
          <p:spPr bwMode="auto">
            <a:xfrm>
              <a:off x="7028128" y="3124318"/>
              <a:ext cx="45987" cy="75525"/>
            </a:xfrm>
            <a:custGeom>
              <a:avLst/>
              <a:gdLst>
                <a:gd name="T0" fmla="*/ 140 w 159"/>
                <a:gd name="T1" fmla="*/ 5 h 261"/>
                <a:gd name="T2" fmla="*/ 112 w 159"/>
                <a:gd name="T3" fmla="*/ 157 h 261"/>
                <a:gd name="T4" fmla="*/ 20 w 159"/>
                <a:gd name="T5" fmla="*/ 261 h 261"/>
                <a:gd name="T6" fmla="*/ 120 w 159"/>
                <a:gd name="T7" fmla="*/ 13 h 261"/>
                <a:gd name="T8" fmla="*/ 128 w 159"/>
                <a:gd name="T9" fmla="*/ 1 h 261"/>
                <a:gd name="T10" fmla="*/ 140 w 159"/>
                <a:gd name="T11" fmla="*/ 5 h 26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9"/>
                <a:gd name="T19" fmla="*/ 0 h 261"/>
                <a:gd name="T20" fmla="*/ 159 w 159"/>
                <a:gd name="T21" fmla="*/ 261 h 26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9" h="261">
                  <a:moveTo>
                    <a:pt x="140" y="5"/>
                  </a:moveTo>
                  <a:cubicBezTo>
                    <a:pt x="159" y="62"/>
                    <a:pt x="137" y="118"/>
                    <a:pt x="112" y="157"/>
                  </a:cubicBezTo>
                  <a:cubicBezTo>
                    <a:pt x="87" y="195"/>
                    <a:pt x="54" y="238"/>
                    <a:pt x="20" y="261"/>
                  </a:cubicBezTo>
                  <a:cubicBezTo>
                    <a:pt x="0" y="156"/>
                    <a:pt x="106" y="110"/>
                    <a:pt x="120" y="13"/>
                  </a:cubicBezTo>
                  <a:cubicBezTo>
                    <a:pt x="122" y="8"/>
                    <a:pt x="127" y="7"/>
                    <a:pt x="128" y="1"/>
                  </a:cubicBezTo>
                  <a:cubicBezTo>
                    <a:pt x="135" y="0"/>
                    <a:pt x="135" y="5"/>
                    <a:pt x="140" y="5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53" name="Freeform 598"/>
            <p:cNvSpPr>
              <a:spLocks/>
            </p:cNvSpPr>
            <p:nvPr/>
          </p:nvSpPr>
          <p:spPr bwMode="auto">
            <a:xfrm>
              <a:off x="7120714" y="3173237"/>
              <a:ext cx="146911" cy="148353"/>
            </a:xfrm>
            <a:custGeom>
              <a:avLst/>
              <a:gdLst>
                <a:gd name="T0" fmla="*/ 492 w 507"/>
                <a:gd name="T1" fmla="*/ 0 h 512"/>
                <a:gd name="T2" fmla="*/ 444 w 507"/>
                <a:gd name="T3" fmla="*/ 188 h 512"/>
                <a:gd name="T4" fmla="*/ 328 w 507"/>
                <a:gd name="T5" fmla="*/ 324 h 512"/>
                <a:gd name="T6" fmla="*/ 160 w 507"/>
                <a:gd name="T7" fmla="*/ 396 h 512"/>
                <a:gd name="T8" fmla="*/ 316 w 507"/>
                <a:gd name="T9" fmla="*/ 360 h 512"/>
                <a:gd name="T10" fmla="*/ 124 w 507"/>
                <a:gd name="T11" fmla="*/ 444 h 512"/>
                <a:gd name="T12" fmla="*/ 0 w 507"/>
                <a:gd name="T13" fmla="*/ 496 h 512"/>
                <a:gd name="T14" fmla="*/ 56 w 507"/>
                <a:gd name="T15" fmla="*/ 444 h 512"/>
                <a:gd name="T16" fmla="*/ 136 w 507"/>
                <a:gd name="T17" fmla="*/ 356 h 512"/>
                <a:gd name="T18" fmla="*/ 332 w 507"/>
                <a:gd name="T19" fmla="*/ 272 h 512"/>
                <a:gd name="T20" fmla="*/ 472 w 507"/>
                <a:gd name="T21" fmla="*/ 16 h 512"/>
                <a:gd name="T22" fmla="*/ 480 w 507"/>
                <a:gd name="T23" fmla="*/ 0 h 512"/>
                <a:gd name="T24" fmla="*/ 492 w 507"/>
                <a:gd name="T25" fmla="*/ 0 h 5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7"/>
                <a:gd name="T40" fmla="*/ 0 h 512"/>
                <a:gd name="T41" fmla="*/ 507 w 507"/>
                <a:gd name="T42" fmla="*/ 512 h 5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7" h="512">
                  <a:moveTo>
                    <a:pt x="492" y="0"/>
                  </a:moveTo>
                  <a:cubicBezTo>
                    <a:pt x="507" y="67"/>
                    <a:pt x="473" y="136"/>
                    <a:pt x="444" y="188"/>
                  </a:cubicBezTo>
                  <a:cubicBezTo>
                    <a:pt x="415" y="240"/>
                    <a:pt x="380" y="296"/>
                    <a:pt x="328" y="324"/>
                  </a:cubicBezTo>
                  <a:cubicBezTo>
                    <a:pt x="274" y="354"/>
                    <a:pt x="207" y="350"/>
                    <a:pt x="160" y="396"/>
                  </a:cubicBezTo>
                  <a:cubicBezTo>
                    <a:pt x="219" y="409"/>
                    <a:pt x="271" y="361"/>
                    <a:pt x="316" y="360"/>
                  </a:cubicBezTo>
                  <a:cubicBezTo>
                    <a:pt x="311" y="453"/>
                    <a:pt x="194" y="419"/>
                    <a:pt x="124" y="444"/>
                  </a:cubicBezTo>
                  <a:cubicBezTo>
                    <a:pt x="78" y="460"/>
                    <a:pt x="50" y="512"/>
                    <a:pt x="0" y="496"/>
                  </a:cubicBezTo>
                  <a:cubicBezTo>
                    <a:pt x="5" y="460"/>
                    <a:pt x="37" y="460"/>
                    <a:pt x="56" y="444"/>
                  </a:cubicBezTo>
                  <a:cubicBezTo>
                    <a:pt x="87" y="419"/>
                    <a:pt x="107" y="378"/>
                    <a:pt x="136" y="356"/>
                  </a:cubicBezTo>
                  <a:cubicBezTo>
                    <a:pt x="198" y="310"/>
                    <a:pt x="277" y="314"/>
                    <a:pt x="332" y="272"/>
                  </a:cubicBezTo>
                  <a:cubicBezTo>
                    <a:pt x="418" y="206"/>
                    <a:pt x="424" y="122"/>
                    <a:pt x="472" y="16"/>
                  </a:cubicBezTo>
                  <a:cubicBezTo>
                    <a:pt x="474" y="12"/>
                    <a:pt x="475" y="5"/>
                    <a:pt x="480" y="0"/>
                  </a:cubicBezTo>
                  <a:cubicBezTo>
                    <a:pt x="484" y="0"/>
                    <a:pt x="488" y="0"/>
                    <a:pt x="492" y="0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54" name="Freeform 599"/>
            <p:cNvSpPr>
              <a:spLocks/>
            </p:cNvSpPr>
            <p:nvPr/>
          </p:nvSpPr>
          <p:spPr bwMode="auto">
            <a:xfrm>
              <a:off x="7218083" y="3175567"/>
              <a:ext cx="88417" cy="106544"/>
            </a:xfrm>
            <a:custGeom>
              <a:avLst/>
              <a:gdLst>
                <a:gd name="T0" fmla="*/ 288 w 305"/>
                <a:gd name="T1" fmla="*/ 4 h 368"/>
                <a:gd name="T2" fmla="*/ 220 w 305"/>
                <a:gd name="T3" fmla="*/ 196 h 368"/>
                <a:gd name="T4" fmla="*/ 152 w 305"/>
                <a:gd name="T5" fmla="*/ 236 h 368"/>
                <a:gd name="T6" fmla="*/ 0 w 305"/>
                <a:gd name="T7" fmla="*/ 348 h 368"/>
                <a:gd name="T8" fmla="*/ 52 w 305"/>
                <a:gd name="T9" fmla="*/ 292 h 368"/>
                <a:gd name="T10" fmla="*/ 172 w 305"/>
                <a:gd name="T11" fmla="*/ 76 h 368"/>
                <a:gd name="T12" fmla="*/ 208 w 305"/>
                <a:gd name="T13" fmla="*/ 4 h 368"/>
                <a:gd name="T14" fmla="*/ 176 w 305"/>
                <a:gd name="T15" fmla="*/ 164 h 368"/>
                <a:gd name="T16" fmla="*/ 276 w 305"/>
                <a:gd name="T17" fmla="*/ 0 h 368"/>
                <a:gd name="T18" fmla="*/ 288 w 305"/>
                <a:gd name="T19" fmla="*/ 4 h 3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5"/>
                <a:gd name="T31" fmla="*/ 0 h 368"/>
                <a:gd name="T32" fmla="*/ 305 w 305"/>
                <a:gd name="T33" fmla="*/ 368 h 36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5" h="368">
                  <a:moveTo>
                    <a:pt x="288" y="4"/>
                  </a:moveTo>
                  <a:cubicBezTo>
                    <a:pt x="305" y="75"/>
                    <a:pt x="265" y="155"/>
                    <a:pt x="220" y="196"/>
                  </a:cubicBezTo>
                  <a:cubicBezTo>
                    <a:pt x="202" y="213"/>
                    <a:pt x="173" y="218"/>
                    <a:pt x="152" y="236"/>
                  </a:cubicBezTo>
                  <a:cubicBezTo>
                    <a:pt x="106" y="276"/>
                    <a:pt x="76" y="368"/>
                    <a:pt x="0" y="348"/>
                  </a:cubicBezTo>
                  <a:cubicBezTo>
                    <a:pt x="0" y="310"/>
                    <a:pt x="31" y="310"/>
                    <a:pt x="52" y="292"/>
                  </a:cubicBezTo>
                  <a:cubicBezTo>
                    <a:pt x="106" y="246"/>
                    <a:pt x="151" y="153"/>
                    <a:pt x="172" y="76"/>
                  </a:cubicBezTo>
                  <a:cubicBezTo>
                    <a:pt x="179" y="52"/>
                    <a:pt x="177" y="14"/>
                    <a:pt x="208" y="4"/>
                  </a:cubicBezTo>
                  <a:cubicBezTo>
                    <a:pt x="247" y="48"/>
                    <a:pt x="187" y="118"/>
                    <a:pt x="176" y="164"/>
                  </a:cubicBezTo>
                  <a:cubicBezTo>
                    <a:pt x="233" y="149"/>
                    <a:pt x="235" y="44"/>
                    <a:pt x="276" y="0"/>
                  </a:cubicBezTo>
                  <a:cubicBezTo>
                    <a:pt x="279" y="2"/>
                    <a:pt x="283" y="4"/>
                    <a:pt x="288" y="4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55" name="Freeform 600"/>
            <p:cNvSpPr>
              <a:spLocks/>
            </p:cNvSpPr>
            <p:nvPr/>
          </p:nvSpPr>
          <p:spPr bwMode="auto">
            <a:xfrm>
              <a:off x="7198462" y="3231230"/>
              <a:ext cx="96633" cy="75279"/>
            </a:xfrm>
            <a:custGeom>
              <a:avLst/>
              <a:gdLst>
                <a:gd name="T0" fmla="*/ 328 w 334"/>
                <a:gd name="T1" fmla="*/ 0 h 260"/>
                <a:gd name="T2" fmla="*/ 252 w 334"/>
                <a:gd name="T3" fmla="*/ 100 h 260"/>
                <a:gd name="T4" fmla="*/ 288 w 334"/>
                <a:gd name="T5" fmla="*/ 92 h 260"/>
                <a:gd name="T6" fmla="*/ 252 w 334"/>
                <a:gd name="T7" fmla="*/ 148 h 260"/>
                <a:gd name="T8" fmla="*/ 0 w 334"/>
                <a:gd name="T9" fmla="*/ 260 h 260"/>
                <a:gd name="T10" fmla="*/ 92 w 334"/>
                <a:gd name="T11" fmla="*/ 188 h 260"/>
                <a:gd name="T12" fmla="*/ 196 w 334"/>
                <a:gd name="T13" fmla="*/ 120 h 260"/>
                <a:gd name="T14" fmla="*/ 316 w 334"/>
                <a:gd name="T15" fmla="*/ 0 h 260"/>
                <a:gd name="T16" fmla="*/ 328 w 334"/>
                <a:gd name="T17" fmla="*/ 0 h 2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4"/>
                <a:gd name="T28" fmla="*/ 0 h 260"/>
                <a:gd name="T29" fmla="*/ 334 w 334"/>
                <a:gd name="T30" fmla="*/ 260 h 26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4" h="260">
                  <a:moveTo>
                    <a:pt x="328" y="0"/>
                  </a:moveTo>
                  <a:cubicBezTo>
                    <a:pt x="334" y="49"/>
                    <a:pt x="277" y="69"/>
                    <a:pt x="252" y="100"/>
                  </a:cubicBezTo>
                  <a:cubicBezTo>
                    <a:pt x="263" y="112"/>
                    <a:pt x="269" y="85"/>
                    <a:pt x="288" y="92"/>
                  </a:cubicBezTo>
                  <a:cubicBezTo>
                    <a:pt x="289" y="123"/>
                    <a:pt x="264" y="129"/>
                    <a:pt x="252" y="148"/>
                  </a:cubicBezTo>
                  <a:cubicBezTo>
                    <a:pt x="148" y="163"/>
                    <a:pt x="101" y="255"/>
                    <a:pt x="0" y="260"/>
                  </a:cubicBezTo>
                  <a:cubicBezTo>
                    <a:pt x="16" y="222"/>
                    <a:pt x="60" y="207"/>
                    <a:pt x="92" y="188"/>
                  </a:cubicBezTo>
                  <a:cubicBezTo>
                    <a:pt x="126" y="168"/>
                    <a:pt x="168" y="148"/>
                    <a:pt x="196" y="120"/>
                  </a:cubicBezTo>
                  <a:cubicBezTo>
                    <a:pt x="235" y="82"/>
                    <a:pt x="259" y="24"/>
                    <a:pt x="316" y="0"/>
                  </a:cubicBezTo>
                  <a:cubicBezTo>
                    <a:pt x="320" y="0"/>
                    <a:pt x="324" y="0"/>
                    <a:pt x="328" y="0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56" name="Freeform 601"/>
            <p:cNvSpPr>
              <a:spLocks/>
            </p:cNvSpPr>
            <p:nvPr/>
          </p:nvSpPr>
          <p:spPr bwMode="auto">
            <a:xfrm>
              <a:off x="7096433" y="3287629"/>
              <a:ext cx="39365" cy="25747"/>
            </a:xfrm>
            <a:custGeom>
              <a:avLst/>
              <a:gdLst>
                <a:gd name="T0" fmla="*/ 136 w 136"/>
                <a:gd name="T1" fmla="*/ 9 h 89"/>
                <a:gd name="T2" fmla="*/ 0 w 136"/>
                <a:gd name="T3" fmla="*/ 53 h 89"/>
                <a:gd name="T4" fmla="*/ 136 w 136"/>
                <a:gd name="T5" fmla="*/ 9 h 89"/>
                <a:gd name="T6" fmla="*/ 0 60000 65536"/>
                <a:gd name="T7" fmla="*/ 0 60000 65536"/>
                <a:gd name="T8" fmla="*/ 0 60000 65536"/>
                <a:gd name="T9" fmla="*/ 0 w 136"/>
                <a:gd name="T10" fmla="*/ 0 h 89"/>
                <a:gd name="T11" fmla="*/ 136 w 136"/>
                <a:gd name="T12" fmla="*/ 89 h 8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6" h="89">
                  <a:moveTo>
                    <a:pt x="136" y="9"/>
                  </a:moveTo>
                  <a:cubicBezTo>
                    <a:pt x="122" y="49"/>
                    <a:pt x="38" y="89"/>
                    <a:pt x="0" y="53"/>
                  </a:cubicBezTo>
                  <a:cubicBezTo>
                    <a:pt x="9" y="6"/>
                    <a:pt x="98" y="0"/>
                    <a:pt x="136" y="9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257" name="Freeform 602"/>
            <p:cNvSpPr>
              <a:spLocks/>
            </p:cNvSpPr>
            <p:nvPr/>
          </p:nvSpPr>
          <p:spPr bwMode="auto">
            <a:xfrm>
              <a:off x="7141316" y="3300624"/>
              <a:ext cx="40836" cy="18636"/>
            </a:xfrm>
            <a:custGeom>
              <a:avLst/>
              <a:gdLst>
                <a:gd name="T0" fmla="*/ 77 w 141"/>
                <a:gd name="T1" fmla="*/ 64 h 64"/>
                <a:gd name="T2" fmla="*/ 37 w 141"/>
                <a:gd name="T3" fmla="*/ 64 h 64"/>
                <a:gd name="T4" fmla="*/ 141 w 141"/>
                <a:gd name="T5" fmla="*/ 24 h 64"/>
                <a:gd name="T6" fmla="*/ 77 w 141"/>
                <a:gd name="T7" fmla="*/ 64 h 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1"/>
                <a:gd name="T13" fmla="*/ 0 h 64"/>
                <a:gd name="T14" fmla="*/ 141 w 141"/>
                <a:gd name="T15" fmla="*/ 64 h 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1" h="64">
                  <a:moveTo>
                    <a:pt x="77" y="64"/>
                  </a:moveTo>
                  <a:cubicBezTo>
                    <a:pt x="64" y="64"/>
                    <a:pt x="50" y="64"/>
                    <a:pt x="37" y="64"/>
                  </a:cubicBezTo>
                  <a:cubicBezTo>
                    <a:pt x="0" y="28"/>
                    <a:pt x="107" y="0"/>
                    <a:pt x="141" y="24"/>
                  </a:cubicBezTo>
                  <a:cubicBezTo>
                    <a:pt x="135" y="53"/>
                    <a:pt x="101" y="53"/>
                    <a:pt x="77" y="64"/>
                  </a:cubicBez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anchor="ctr"/>
            <a:lstStyle/>
            <a:p>
              <a:pPr algn="ctr" defTabSz="514384"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</a:endParaRPr>
            </a:p>
          </p:txBody>
        </p:sp>
      </p:grpSp>
      <p:sp>
        <p:nvSpPr>
          <p:cNvPr id="258" name="Rectangle 257"/>
          <p:cNvSpPr/>
          <p:nvPr/>
        </p:nvSpPr>
        <p:spPr>
          <a:xfrm>
            <a:off x="4775667" y="2209315"/>
            <a:ext cx="779473" cy="230833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r"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Email</a:t>
            </a:r>
          </a:p>
        </p:txBody>
      </p:sp>
      <p:pic>
        <p:nvPicPr>
          <p:cNvPr id="259" name="Picture 25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8010" y="2256152"/>
            <a:ext cx="205739" cy="137160"/>
          </a:xfrm>
          <a:prstGeom prst="rect">
            <a:avLst/>
          </a:prstGeom>
        </p:spPr>
      </p:pic>
      <p:sp>
        <p:nvSpPr>
          <p:cNvPr id="260" name="Rectangle 259"/>
          <p:cNvSpPr/>
          <p:nvPr/>
        </p:nvSpPr>
        <p:spPr>
          <a:xfrm>
            <a:off x="4062681" y="3121929"/>
            <a:ext cx="674804" cy="230833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r"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NGFW/</a:t>
            </a:r>
          </a:p>
          <a:p>
            <a:pPr algn="r" defTabSz="342742">
              <a:defRPr/>
            </a:pPr>
            <a:r>
              <a:rPr lang="en-US" sz="1050" kern="0" dirty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NGIPS</a:t>
            </a:r>
          </a:p>
        </p:txBody>
      </p:sp>
      <p:pic>
        <p:nvPicPr>
          <p:cNvPr id="261" name="Picture 26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0355" y="3131061"/>
            <a:ext cx="205740" cy="184310"/>
          </a:xfrm>
          <a:prstGeom prst="rect">
            <a:avLst/>
          </a:prstGeom>
          <a:ln>
            <a:noFill/>
          </a:ln>
          <a:effectLst/>
        </p:spPr>
      </p:pic>
      <p:sp>
        <p:nvSpPr>
          <p:cNvPr id="265" name="Isosceles Triangle 264"/>
          <p:cNvSpPr/>
          <p:nvPr/>
        </p:nvSpPr>
        <p:spPr>
          <a:xfrm rot="5400000">
            <a:off x="2864849" y="2640075"/>
            <a:ext cx="1297369" cy="277553"/>
          </a:xfrm>
          <a:prstGeom prst="triangle">
            <a:avLst/>
          </a:prstGeom>
          <a:gradFill flip="none" rotWithShape="1">
            <a:gsLst>
              <a:gs pos="0">
                <a:schemeClr val="tx2">
                  <a:lumMod val="75000"/>
                  <a:tint val="66000"/>
                  <a:satMod val="160000"/>
                </a:schemeClr>
              </a:gs>
              <a:gs pos="50000">
                <a:schemeClr val="tx2">
                  <a:lumMod val="75000"/>
                  <a:tint val="44500"/>
                  <a:satMod val="160000"/>
                </a:schemeClr>
              </a:gs>
              <a:gs pos="100000">
                <a:schemeClr val="tx2">
                  <a:lumMod val="75000"/>
                  <a:tint val="23500"/>
                  <a:satMod val="160000"/>
                </a:schemeClr>
              </a:gs>
            </a:gsLst>
            <a:lin ang="2700000" scaled="1"/>
            <a:tileRect/>
          </a:gradFill>
          <a:ln w="28575"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  <a:latin typeface="+mj-lt"/>
              <a:cs typeface="CiscoSansTT Light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3805117" y="1283546"/>
            <a:ext cx="1390823" cy="392415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r" defTabSz="342742">
              <a:defRPr/>
            </a:pPr>
            <a:r>
              <a:rPr lang="en-US" sz="1600" kern="0" dirty="0" smtClean="0">
                <a:solidFill>
                  <a:sysClr val="windowText" lastClr="000000"/>
                </a:solidFill>
                <a:latin typeface="+mj-lt"/>
                <a:ea typeface="ＭＳ Ｐゴシック" pitchFamily="34" charset="-128"/>
                <a:cs typeface="CiscoSansTT Light"/>
              </a:rPr>
              <a:t>SP Security Services</a:t>
            </a:r>
            <a:endParaRPr lang="en-US" sz="1600" kern="0" dirty="0">
              <a:solidFill>
                <a:sysClr val="windowText" lastClr="000000"/>
              </a:solidFill>
              <a:latin typeface="+mj-lt"/>
              <a:ea typeface="ＭＳ Ｐゴシック" pitchFamily="34" charset="-128"/>
              <a:cs typeface="CiscoSansTT 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307242" y="1208770"/>
            <a:ext cx="583726" cy="583726"/>
            <a:chOff x="5318530" y="1178768"/>
            <a:chExt cx="636850" cy="636850"/>
          </a:xfrm>
        </p:grpSpPr>
        <p:sp>
          <p:nvSpPr>
            <p:cNvPr id="93" name="Oval 92"/>
            <p:cNvSpPr>
              <a:spLocks noChangeAspect="1"/>
            </p:cNvSpPr>
            <p:nvPr/>
          </p:nvSpPr>
          <p:spPr bwMode="auto">
            <a:xfrm>
              <a:off x="5318530" y="1178768"/>
              <a:ext cx="636850" cy="636850"/>
            </a:xfrm>
            <a:prstGeom prst="ellipse">
              <a:avLst/>
            </a:prstGeom>
            <a:solidFill>
              <a:schemeClr val="accent2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68580" tIns="34290" rIns="68580" bIns="34290" rtlCol="0" anchor="ctr"/>
            <a:lstStyle/>
            <a:p>
              <a:pPr algn="ctr" defTabSz="3857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50" kern="0" dirty="0">
                <a:solidFill>
                  <a:sysClr val="windowText" lastClr="000000"/>
                </a:solidFill>
                <a:latin typeface="+mj-lt"/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grpSp>
          <p:nvGrpSpPr>
            <p:cNvPr id="94" name="Group 93"/>
            <p:cNvGrpSpPr>
              <a:grpSpLocks noChangeAspect="1"/>
            </p:cNvGrpSpPr>
            <p:nvPr/>
          </p:nvGrpSpPr>
          <p:grpSpPr>
            <a:xfrm>
              <a:off x="5415209" y="1256084"/>
              <a:ext cx="466949" cy="462502"/>
              <a:chOff x="7217552" y="3327527"/>
              <a:chExt cx="524984" cy="519984"/>
            </a:xfrm>
            <a:solidFill>
              <a:schemeClr val="bg2"/>
            </a:solidFill>
          </p:grpSpPr>
          <p:sp>
            <p:nvSpPr>
              <p:cNvPr id="95" name="Freeform 108"/>
              <p:cNvSpPr>
                <a:spLocks/>
              </p:cNvSpPr>
              <p:nvPr/>
            </p:nvSpPr>
            <p:spPr bwMode="auto">
              <a:xfrm>
                <a:off x="7225552" y="3327527"/>
                <a:ext cx="516984" cy="387988"/>
              </a:xfrm>
              <a:custGeom>
                <a:avLst/>
                <a:gdLst>
                  <a:gd name="T0" fmla="*/ 199 w 219"/>
                  <a:gd name="T1" fmla="*/ 164 h 164"/>
                  <a:gd name="T2" fmla="*/ 197 w 219"/>
                  <a:gd name="T3" fmla="*/ 164 h 164"/>
                  <a:gd name="T4" fmla="*/ 194 w 219"/>
                  <a:gd name="T5" fmla="*/ 156 h 164"/>
                  <a:gd name="T6" fmla="*/ 199 w 219"/>
                  <a:gd name="T7" fmla="*/ 81 h 164"/>
                  <a:gd name="T8" fmla="*/ 150 w 219"/>
                  <a:gd name="T9" fmla="*/ 25 h 164"/>
                  <a:gd name="T10" fmla="*/ 75 w 219"/>
                  <a:gd name="T11" fmla="*/ 20 h 164"/>
                  <a:gd name="T12" fmla="*/ 19 w 219"/>
                  <a:gd name="T13" fmla="*/ 70 h 164"/>
                  <a:gd name="T14" fmla="*/ 12 w 219"/>
                  <a:gd name="T15" fmla="*/ 90 h 164"/>
                  <a:gd name="T16" fmla="*/ 5 w 219"/>
                  <a:gd name="T17" fmla="*/ 94 h 164"/>
                  <a:gd name="T18" fmla="*/ 0 w 219"/>
                  <a:gd name="T19" fmla="*/ 87 h 164"/>
                  <a:gd name="T20" fmla="*/ 9 w 219"/>
                  <a:gd name="T21" fmla="*/ 65 h 164"/>
                  <a:gd name="T22" fmla="*/ 71 w 219"/>
                  <a:gd name="T23" fmla="*/ 10 h 164"/>
                  <a:gd name="T24" fmla="*/ 155 w 219"/>
                  <a:gd name="T25" fmla="*/ 15 h 164"/>
                  <a:gd name="T26" fmla="*/ 210 w 219"/>
                  <a:gd name="T27" fmla="*/ 78 h 164"/>
                  <a:gd name="T28" fmla="*/ 204 w 219"/>
                  <a:gd name="T29" fmla="*/ 161 h 164"/>
                  <a:gd name="T30" fmla="*/ 199 w 219"/>
                  <a:gd name="T31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9" h="164">
                    <a:moveTo>
                      <a:pt x="199" y="164"/>
                    </a:moveTo>
                    <a:cubicBezTo>
                      <a:pt x="198" y="164"/>
                      <a:pt x="197" y="164"/>
                      <a:pt x="197" y="164"/>
                    </a:cubicBezTo>
                    <a:cubicBezTo>
                      <a:pt x="194" y="162"/>
                      <a:pt x="193" y="159"/>
                      <a:pt x="194" y="156"/>
                    </a:cubicBezTo>
                    <a:cubicBezTo>
                      <a:pt x="206" y="133"/>
                      <a:pt x="207" y="106"/>
                      <a:pt x="199" y="81"/>
                    </a:cubicBezTo>
                    <a:cubicBezTo>
                      <a:pt x="191" y="57"/>
                      <a:pt x="173" y="37"/>
                      <a:pt x="150" y="25"/>
                    </a:cubicBezTo>
                    <a:cubicBezTo>
                      <a:pt x="126" y="14"/>
                      <a:pt x="100" y="12"/>
                      <a:pt x="75" y="20"/>
                    </a:cubicBezTo>
                    <a:cubicBezTo>
                      <a:pt x="50" y="29"/>
                      <a:pt x="31" y="46"/>
                      <a:pt x="19" y="70"/>
                    </a:cubicBezTo>
                    <a:cubicBezTo>
                      <a:pt x="16" y="76"/>
                      <a:pt x="13" y="83"/>
                      <a:pt x="12" y="90"/>
                    </a:cubicBezTo>
                    <a:cubicBezTo>
                      <a:pt x="11" y="93"/>
                      <a:pt x="8" y="95"/>
                      <a:pt x="5" y="94"/>
                    </a:cubicBezTo>
                    <a:cubicBezTo>
                      <a:pt x="2" y="94"/>
                      <a:pt x="0" y="90"/>
                      <a:pt x="0" y="87"/>
                    </a:cubicBezTo>
                    <a:cubicBezTo>
                      <a:pt x="2" y="80"/>
                      <a:pt x="5" y="72"/>
                      <a:pt x="9" y="65"/>
                    </a:cubicBezTo>
                    <a:cubicBezTo>
                      <a:pt x="22" y="38"/>
                      <a:pt x="44" y="19"/>
                      <a:pt x="71" y="10"/>
                    </a:cubicBezTo>
                    <a:cubicBezTo>
                      <a:pt x="99" y="0"/>
                      <a:pt x="129" y="2"/>
                      <a:pt x="155" y="15"/>
                    </a:cubicBezTo>
                    <a:cubicBezTo>
                      <a:pt x="181" y="28"/>
                      <a:pt x="200" y="50"/>
                      <a:pt x="210" y="78"/>
                    </a:cubicBezTo>
                    <a:cubicBezTo>
                      <a:pt x="219" y="105"/>
                      <a:pt x="217" y="135"/>
                      <a:pt x="204" y="161"/>
                    </a:cubicBezTo>
                    <a:cubicBezTo>
                      <a:pt x="203" y="163"/>
                      <a:pt x="201" y="164"/>
                      <a:pt x="19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109"/>
              <p:cNvSpPr>
                <a:spLocks/>
              </p:cNvSpPr>
              <p:nvPr/>
            </p:nvSpPr>
            <p:spPr bwMode="auto">
              <a:xfrm>
                <a:off x="7255551" y="3509521"/>
                <a:ext cx="302991" cy="316990"/>
              </a:xfrm>
              <a:custGeom>
                <a:avLst/>
                <a:gdLst>
                  <a:gd name="T0" fmla="*/ 50 w 128"/>
                  <a:gd name="T1" fmla="*/ 134 h 134"/>
                  <a:gd name="T2" fmla="*/ 45 w 128"/>
                  <a:gd name="T3" fmla="*/ 131 h 134"/>
                  <a:gd name="T4" fmla="*/ 47 w 128"/>
                  <a:gd name="T5" fmla="*/ 123 h 134"/>
                  <a:gd name="T6" fmla="*/ 94 w 128"/>
                  <a:gd name="T7" fmla="*/ 81 h 134"/>
                  <a:gd name="T8" fmla="*/ 113 w 128"/>
                  <a:gd name="T9" fmla="*/ 40 h 134"/>
                  <a:gd name="T10" fmla="*/ 102 w 128"/>
                  <a:gd name="T11" fmla="*/ 18 h 134"/>
                  <a:gd name="T12" fmla="*/ 76 w 128"/>
                  <a:gd name="T13" fmla="*/ 27 h 134"/>
                  <a:gd name="T14" fmla="*/ 71 w 128"/>
                  <a:gd name="T15" fmla="*/ 37 h 134"/>
                  <a:gd name="T16" fmla="*/ 53 w 128"/>
                  <a:gd name="T17" fmla="*/ 70 h 134"/>
                  <a:gd name="T18" fmla="*/ 8 w 128"/>
                  <a:gd name="T19" fmla="*/ 96 h 134"/>
                  <a:gd name="T20" fmla="*/ 1 w 128"/>
                  <a:gd name="T21" fmla="*/ 92 h 134"/>
                  <a:gd name="T22" fmla="*/ 4 w 128"/>
                  <a:gd name="T23" fmla="*/ 85 h 134"/>
                  <a:gd name="T24" fmla="*/ 44 w 128"/>
                  <a:gd name="T25" fmla="*/ 63 h 134"/>
                  <a:gd name="T26" fmla="*/ 61 w 128"/>
                  <a:gd name="T27" fmla="*/ 32 h 134"/>
                  <a:gd name="T28" fmla="*/ 65 w 128"/>
                  <a:gd name="T29" fmla="*/ 22 h 134"/>
                  <a:gd name="T30" fmla="*/ 107 w 128"/>
                  <a:gd name="T31" fmla="*/ 8 h 134"/>
                  <a:gd name="T32" fmla="*/ 123 w 128"/>
                  <a:gd name="T33" fmla="*/ 44 h 134"/>
                  <a:gd name="T34" fmla="*/ 104 w 128"/>
                  <a:gd name="T35" fmla="*/ 88 h 134"/>
                  <a:gd name="T36" fmla="*/ 52 w 128"/>
                  <a:gd name="T37" fmla="*/ 133 h 134"/>
                  <a:gd name="T38" fmla="*/ 50 w 128"/>
                  <a:gd name="T3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34">
                    <a:moveTo>
                      <a:pt x="50" y="134"/>
                    </a:moveTo>
                    <a:cubicBezTo>
                      <a:pt x="48" y="134"/>
                      <a:pt x="46" y="133"/>
                      <a:pt x="45" y="131"/>
                    </a:cubicBezTo>
                    <a:cubicBezTo>
                      <a:pt x="43" y="128"/>
                      <a:pt x="44" y="125"/>
                      <a:pt x="47" y="123"/>
                    </a:cubicBezTo>
                    <a:cubicBezTo>
                      <a:pt x="47" y="123"/>
                      <a:pt x="78" y="106"/>
                      <a:pt x="94" y="81"/>
                    </a:cubicBezTo>
                    <a:cubicBezTo>
                      <a:pt x="104" y="67"/>
                      <a:pt x="110" y="48"/>
                      <a:pt x="113" y="40"/>
                    </a:cubicBezTo>
                    <a:cubicBezTo>
                      <a:pt x="116" y="30"/>
                      <a:pt x="113" y="23"/>
                      <a:pt x="102" y="18"/>
                    </a:cubicBezTo>
                    <a:cubicBezTo>
                      <a:pt x="93" y="13"/>
                      <a:pt x="81" y="17"/>
                      <a:pt x="76" y="27"/>
                    </a:cubicBezTo>
                    <a:cubicBezTo>
                      <a:pt x="74" y="30"/>
                      <a:pt x="73" y="33"/>
                      <a:pt x="71" y="37"/>
                    </a:cubicBezTo>
                    <a:cubicBezTo>
                      <a:pt x="66" y="47"/>
                      <a:pt x="61" y="60"/>
                      <a:pt x="53" y="70"/>
                    </a:cubicBezTo>
                    <a:cubicBezTo>
                      <a:pt x="41" y="86"/>
                      <a:pt x="9" y="96"/>
                      <a:pt x="8" y="96"/>
                    </a:cubicBezTo>
                    <a:cubicBezTo>
                      <a:pt x="5" y="97"/>
                      <a:pt x="2" y="95"/>
                      <a:pt x="1" y="92"/>
                    </a:cubicBezTo>
                    <a:cubicBezTo>
                      <a:pt x="0" y="89"/>
                      <a:pt x="1" y="86"/>
                      <a:pt x="4" y="85"/>
                    </a:cubicBezTo>
                    <a:cubicBezTo>
                      <a:pt x="13" y="83"/>
                      <a:pt x="36" y="74"/>
                      <a:pt x="44" y="63"/>
                    </a:cubicBezTo>
                    <a:cubicBezTo>
                      <a:pt x="51" y="54"/>
                      <a:pt x="56" y="42"/>
                      <a:pt x="61" y="32"/>
                    </a:cubicBezTo>
                    <a:cubicBezTo>
                      <a:pt x="62" y="28"/>
                      <a:pt x="64" y="25"/>
                      <a:pt x="65" y="22"/>
                    </a:cubicBezTo>
                    <a:cubicBezTo>
                      <a:pt x="73" y="6"/>
                      <a:pt x="92" y="0"/>
                      <a:pt x="107" y="8"/>
                    </a:cubicBezTo>
                    <a:cubicBezTo>
                      <a:pt x="123" y="15"/>
                      <a:pt x="128" y="28"/>
                      <a:pt x="123" y="44"/>
                    </a:cubicBezTo>
                    <a:cubicBezTo>
                      <a:pt x="121" y="52"/>
                      <a:pt x="114" y="72"/>
                      <a:pt x="104" y="88"/>
                    </a:cubicBezTo>
                    <a:cubicBezTo>
                      <a:pt x="86" y="115"/>
                      <a:pt x="54" y="132"/>
                      <a:pt x="52" y="133"/>
                    </a:cubicBezTo>
                    <a:cubicBezTo>
                      <a:pt x="51" y="134"/>
                      <a:pt x="51" y="134"/>
                      <a:pt x="50" y="1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110"/>
              <p:cNvSpPr>
                <a:spLocks/>
              </p:cNvSpPr>
              <p:nvPr/>
            </p:nvSpPr>
            <p:spPr bwMode="auto">
              <a:xfrm>
                <a:off x="7227552" y="3455523"/>
                <a:ext cx="398988" cy="391988"/>
              </a:xfrm>
              <a:custGeom>
                <a:avLst/>
                <a:gdLst>
                  <a:gd name="T0" fmla="*/ 94 w 169"/>
                  <a:gd name="T1" fmla="*/ 166 h 166"/>
                  <a:gd name="T2" fmla="*/ 89 w 169"/>
                  <a:gd name="T3" fmla="*/ 164 h 166"/>
                  <a:gd name="T4" fmla="*/ 90 w 169"/>
                  <a:gd name="T5" fmla="*/ 156 h 166"/>
                  <a:gd name="T6" fmla="*/ 129 w 169"/>
                  <a:gd name="T7" fmla="*/ 117 h 166"/>
                  <a:gd name="T8" fmla="*/ 147 w 169"/>
                  <a:gd name="T9" fmla="*/ 77 h 166"/>
                  <a:gd name="T10" fmla="*/ 126 w 169"/>
                  <a:gd name="T11" fmla="*/ 18 h 166"/>
                  <a:gd name="T12" fmla="*/ 64 w 169"/>
                  <a:gd name="T13" fmla="*/ 39 h 166"/>
                  <a:gd name="T14" fmla="*/ 63 w 169"/>
                  <a:gd name="T15" fmla="*/ 42 h 166"/>
                  <a:gd name="T16" fmla="*/ 49 w 169"/>
                  <a:gd name="T17" fmla="*/ 71 h 166"/>
                  <a:gd name="T18" fmla="*/ 7 w 169"/>
                  <a:gd name="T19" fmla="*/ 96 h 166"/>
                  <a:gd name="T20" fmla="*/ 0 w 169"/>
                  <a:gd name="T21" fmla="*/ 92 h 166"/>
                  <a:gd name="T22" fmla="*/ 5 w 169"/>
                  <a:gd name="T23" fmla="*/ 85 h 166"/>
                  <a:gd name="T24" fmla="*/ 40 w 169"/>
                  <a:gd name="T25" fmla="*/ 65 h 166"/>
                  <a:gd name="T26" fmla="*/ 52 w 169"/>
                  <a:gd name="T27" fmla="*/ 39 h 166"/>
                  <a:gd name="T28" fmla="*/ 54 w 169"/>
                  <a:gd name="T29" fmla="*/ 33 h 166"/>
                  <a:gd name="T30" fmla="*/ 87 w 169"/>
                  <a:gd name="T31" fmla="*/ 5 h 166"/>
                  <a:gd name="T32" fmla="*/ 131 w 169"/>
                  <a:gd name="T33" fmla="*/ 7 h 166"/>
                  <a:gd name="T34" fmla="*/ 158 w 169"/>
                  <a:gd name="T35" fmla="*/ 81 h 166"/>
                  <a:gd name="T36" fmla="*/ 138 w 169"/>
                  <a:gd name="T37" fmla="*/ 123 h 166"/>
                  <a:gd name="T38" fmla="*/ 97 w 169"/>
                  <a:gd name="T39" fmla="*/ 165 h 166"/>
                  <a:gd name="T40" fmla="*/ 94 w 169"/>
                  <a:gd name="T41" fmla="*/ 1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9" h="166">
                    <a:moveTo>
                      <a:pt x="94" y="166"/>
                    </a:moveTo>
                    <a:cubicBezTo>
                      <a:pt x="92" y="166"/>
                      <a:pt x="91" y="166"/>
                      <a:pt x="89" y="164"/>
                    </a:cubicBezTo>
                    <a:cubicBezTo>
                      <a:pt x="87" y="162"/>
                      <a:pt x="88" y="158"/>
                      <a:pt x="90" y="156"/>
                    </a:cubicBezTo>
                    <a:cubicBezTo>
                      <a:pt x="91" y="156"/>
                      <a:pt x="115" y="137"/>
                      <a:pt x="129" y="117"/>
                    </a:cubicBezTo>
                    <a:cubicBezTo>
                      <a:pt x="136" y="106"/>
                      <a:pt x="142" y="93"/>
                      <a:pt x="147" y="77"/>
                    </a:cubicBezTo>
                    <a:cubicBezTo>
                      <a:pt x="157" y="48"/>
                      <a:pt x="150" y="29"/>
                      <a:pt x="126" y="18"/>
                    </a:cubicBezTo>
                    <a:cubicBezTo>
                      <a:pt x="103" y="6"/>
                      <a:pt x="77" y="16"/>
                      <a:pt x="64" y="39"/>
                    </a:cubicBezTo>
                    <a:cubicBezTo>
                      <a:pt x="64" y="39"/>
                      <a:pt x="63" y="41"/>
                      <a:pt x="63" y="42"/>
                    </a:cubicBezTo>
                    <a:cubicBezTo>
                      <a:pt x="60" y="49"/>
                      <a:pt x="56" y="60"/>
                      <a:pt x="49" y="71"/>
                    </a:cubicBezTo>
                    <a:cubicBezTo>
                      <a:pt x="39" y="88"/>
                      <a:pt x="9" y="96"/>
                      <a:pt x="7" y="96"/>
                    </a:cubicBezTo>
                    <a:cubicBezTo>
                      <a:pt x="4" y="97"/>
                      <a:pt x="1" y="95"/>
                      <a:pt x="0" y="92"/>
                    </a:cubicBezTo>
                    <a:cubicBezTo>
                      <a:pt x="0" y="89"/>
                      <a:pt x="2" y="86"/>
                      <a:pt x="5" y="85"/>
                    </a:cubicBezTo>
                    <a:cubicBezTo>
                      <a:pt x="12" y="83"/>
                      <a:pt x="33" y="76"/>
                      <a:pt x="40" y="65"/>
                    </a:cubicBezTo>
                    <a:cubicBezTo>
                      <a:pt x="46" y="55"/>
                      <a:pt x="50" y="45"/>
                      <a:pt x="52" y="39"/>
                    </a:cubicBezTo>
                    <a:cubicBezTo>
                      <a:pt x="53" y="36"/>
                      <a:pt x="53" y="34"/>
                      <a:pt x="54" y="33"/>
                    </a:cubicBezTo>
                    <a:cubicBezTo>
                      <a:pt x="62" y="20"/>
                      <a:pt x="73" y="10"/>
                      <a:pt x="87" y="5"/>
                    </a:cubicBezTo>
                    <a:cubicBezTo>
                      <a:pt x="102" y="0"/>
                      <a:pt x="117" y="1"/>
                      <a:pt x="131" y="7"/>
                    </a:cubicBezTo>
                    <a:cubicBezTo>
                      <a:pt x="160" y="22"/>
                      <a:pt x="169" y="46"/>
                      <a:pt x="158" y="81"/>
                    </a:cubicBezTo>
                    <a:cubicBezTo>
                      <a:pt x="152" y="98"/>
                      <a:pt x="146" y="112"/>
                      <a:pt x="138" y="123"/>
                    </a:cubicBezTo>
                    <a:cubicBezTo>
                      <a:pt x="123" y="145"/>
                      <a:pt x="98" y="164"/>
                      <a:pt x="97" y="165"/>
                    </a:cubicBezTo>
                    <a:cubicBezTo>
                      <a:pt x="96" y="166"/>
                      <a:pt x="95" y="166"/>
                      <a:pt x="94" y="16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111"/>
              <p:cNvSpPr>
                <a:spLocks/>
              </p:cNvSpPr>
              <p:nvPr/>
            </p:nvSpPr>
            <p:spPr bwMode="auto">
              <a:xfrm>
                <a:off x="7217552" y="3370526"/>
                <a:ext cx="479985" cy="464986"/>
              </a:xfrm>
              <a:custGeom>
                <a:avLst/>
                <a:gdLst>
                  <a:gd name="T0" fmla="*/ 141 w 203"/>
                  <a:gd name="T1" fmla="*/ 197 h 197"/>
                  <a:gd name="T2" fmla="*/ 137 w 203"/>
                  <a:gd name="T3" fmla="*/ 196 h 197"/>
                  <a:gd name="T4" fmla="*/ 137 w 203"/>
                  <a:gd name="T5" fmla="*/ 188 h 197"/>
                  <a:gd name="T6" fmla="*/ 171 w 203"/>
                  <a:gd name="T7" fmla="*/ 133 h 197"/>
                  <a:gd name="T8" fmla="*/ 141 w 203"/>
                  <a:gd name="T9" fmla="*/ 30 h 197"/>
                  <a:gd name="T10" fmla="*/ 45 w 203"/>
                  <a:gd name="T11" fmla="*/ 63 h 197"/>
                  <a:gd name="T12" fmla="*/ 41 w 203"/>
                  <a:gd name="T13" fmla="*/ 75 h 197"/>
                  <a:gd name="T14" fmla="*/ 38 w 203"/>
                  <a:gd name="T15" fmla="*/ 82 h 197"/>
                  <a:gd name="T16" fmla="*/ 7 w 203"/>
                  <a:gd name="T17" fmla="*/ 106 h 197"/>
                  <a:gd name="T18" fmla="*/ 0 w 203"/>
                  <a:gd name="T19" fmla="*/ 102 h 197"/>
                  <a:gd name="T20" fmla="*/ 5 w 203"/>
                  <a:gd name="T21" fmla="*/ 95 h 197"/>
                  <a:gd name="T22" fmla="*/ 28 w 203"/>
                  <a:gd name="T23" fmla="*/ 78 h 197"/>
                  <a:gd name="T24" fmla="*/ 30 w 203"/>
                  <a:gd name="T25" fmla="*/ 72 h 197"/>
                  <a:gd name="T26" fmla="*/ 35 w 203"/>
                  <a:gd name="T27" fmla="*/ 58 h 197"/>
                  <a:gd name="T28" fmla="*/ 146 w 203"/>
                  <a:gd name="T29" fmla="*/ 20 h 197"/>
                  <a:gd name="T30" fmla="*/ 182 w 203"/>
                  <a:gd name="T31" fmla="*/ 137 h 197"/>
                  <a:gd name="T32" fmla="*/ 146 w 203"/>
                  <a:gd name="T33" fmla="*/ 195 h 197"/>
                  <a:gd name="T34" fmla="*/ 141 w 203"/>
                  <a:gd name="T35" fmla="*/ 19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3" h="197">
                    <a:moveTo>
                      <a:pt x="141" y="197"/>
                    </a:moveTo>
                    <a:cubicBezTo>
                      <a:pt x="140" y="197"/>
                      <a:pt x="139" y="197"/>
                      <a:pt x="137" y="196"/>
                    </a:cubicBezTo>
                    <a:cubicBezTo>
                      <a:pt x="135" y="194"/>
                      <a:pt x="135" y="190"/>
                      <a:pt x="137" y="188"/>
                    </a:cubicBezTo>
                    <a:cubicBezTo>
                      <a:pt x="137" y="188"/>
                      <a:pt x="159" y="163"/>
                      <a:pt x="171" y="133"/>
                    </a:cubicBezTo>
                    <a:cubicBezTo>
                      <a:pt x="190" y="86"/>
                      <a:pt x="179" y="49"/>
                      <a:pt x="141" y="30"/>
                    </a:cubicBezTo>
                    <a:cubicBezTo>
                      <a:pt x="106" y="13"/>
                      <a:pt x="62" y="27"/>
                      <a:pt x="45" y="63"/>
                    </a:cubicBezTo>
                    <a:cubicBezTo>
                      <a:pt x="43" y="67"/>
                      <a:pt x="42" y="71"/>
                      <a:pt x="41" y="75"/>
                    </a:cubicBezTo>
                    <a:cubicBezTo>
                      <a:pt x="40" y="77"/>
                      <a:pt x="39" y="80"/>
                      <a:pt x="38" y="82"/>
                    </a:cubicBezTo>
                    <a:cubicBezTo>
                      <a:pt x="32" y="100"/>
                      <a:pt x="8" y="106"/>
                      <a:pt x="7" y="106"/>
                    </a:cubicBezTo>
                    <a:cubicBezTo>
                      <a:pt x="4" y="107"/>
                      <a:pt x="1" y="105"/>
                      <a:pt x="0" y="102"/>
                    </a:cubicBezTo>
                    <a:cubicBezTo>
                      <a:pt x="0" y="99"/>
                      <a:pt x="1" y="96"/>
                      <a:pt x="5" y="95"/>
                    </a:cubicBezTo>
                    <a:cubicBezTo>
                      <a:pt x="5" y="95"/>
                      <a:pt x="24" y="91"/>
                      <a:pt x="28" y="78"/>
                    </a:cubicBezTo>
                    <a:cubicBezTo>
                      <a:pt x="28" y="76"/>
                      <a:pt x="29" y="74"/>
                      <a:pt x="30" y="72"/>
                    </a:cubicBezTo>
                    <a:cubicBezTo>
                      <a:pt x="31" y="67"/>
                      <a:pt x="32" y="63"/>
                      <a:pt x="35" y="58"/>
                    </a:cubicBezTo>
                    <a:cubicBezTo>
                      <a:pt x="55" y="17"/>
                      <a:pt x="105" y="0"/>
                      <a:pt x="146" y="20"/>
                    </a:cubicBezTo>
                    <a:cubicBezTo>
                      <a:pt x="190" y="41"/>
                      <a:pt x="203" y="85"/>
                      <a:pt x="182" y="137"/>
                    </a:cubicBezTo>
                    <a:cubicBezTo>
                      <a:pt x="169" y="169"/>
                      <a:pt x="146" y="194"/>
                      <a:pt x="146" y="195"/>
                    </a:cubicBezTo>
                    <a:cubicBezTo>
                      <a:pt x="144" y="197"/>
                      <a:pt x="143" y="197"/>
                      <a:pt x="141" y="19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112"/>
              <p:cNvSpPr>
                <a:spLocks/>
              </p:cNvSpPr>
              <p:nvPr/>
            </p:nvSpPr>
            <p:spPr bwMode="auto">
              <a:xfrm>
                <a:off x="7295550" y="3585519"/>
                <a:ext cx="191994" cy="202994"/>
              </a:xfrm>
              <a:custGeom>
                <a:avLst/>
                <a:gdLst>
                  <a:gd name="T0" fmla="*/ 7 w 81"/>
                  <a:gd name="T1" fmla="*/ 86 h 86"/>
                  <a:gd name="T2" fmla="*/ 2 w 81"/>
                  <a:gd name="T3" fmla="*/ 83 h 86"/>
                  <a:gd name="T4" fmla="*/ 4 w 81"/>
                  <a:gd name="T5" fmla="*/ 75 h 86"/>
                  <a:gd name="T6" fmla="*/ 45 w 81"/>
                  <a:gd name="T7" fmla="*/ 48 h 86"/>
                  <a:gd name="T8" fmla="*/ 69 w 81"/>
                  <a:gd name="T9" fmla="*/ 5 h 86"/>
                  <a:gd name="T10" fmla="*/ 76 w 81"/>
                  <a:gd name="T11" fmla="*/ 0 h 86"/>
                  <a:gd name="T12" fmla="*/ 81 w 81"/>
                  <a:gd name="T13" fmla="*/ 7 h 86"/>
                  <a:gd name="T14" fmla="*/ 54 w 81"/>
                  <a:gd name="T15" fmla="*/ 56 h 86"/>
                  <a:gd name="T16" fmla="*/ 9 w 81"/>
                  <a:gd name="T17" fmla="*/ 86 h 86"/>
                  <a:gd name="T18" fmla="*/ 7 w 81"/>
                  <a:gd name="T1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6">
                    <a:moveTo>
                      <a:pt x="7" y="86"/>
                    </a:moveTo>
                    <a:cubicBezTo>
                      <a:pt x="5" y="86"/>
                      <a:pt x="3" y="85"/>
                      <a:pt x="2" y="83"/>
                    </a:cubicBezTo>
                    <a:cubicBezTo>
                      <a:pt x="0" y="80"/>
                      <a:pt x="2" y="76"/>
                      <a:pt x="4" y="75"/>
                    </a:cubicBezTo>
                    <a:cubicBezTo>
                      <a:pt x="5" y="75"/>
                      <a:pt x="33" y="62"/>
                      <a:pt x="45" y="48"/>
                    </a:cubicBezTo>
                    <a:cubicBezTo>
                      <a:pt x="65" y="26"/>
                      <a:pt x="69" y="5"/>
                      <a:pt x="69" y="5"/>
                    </a:cubicBezTo>
                    <a:cubicBezTo>
                      <a:pt x="70" y="2"/>
                      <a:pt x="73" y="0"/>
                      <a:pt x="76" y="0"/>
                    </a:cubicBezTo>
                    <a:cubicBezTo>
                      <a:pt x="79" y="1"/>
                      <a:pt x="81" y="4"/>
                      <a:pt x="81" y="7"/>
                    </a:cubicBezTo>
                    <a:cubicBezTo>
                      <a:pt x="80" y="8"/>
                      <a:pt x="75" y="31"/>
                      <a:pt x="54" y="56"/>
                    </a:cubicBezTo>
                    <a:cubicBezTo>
                      <a:pt x="39" y="72"/>
                      <a:pt x="10" y="85"/>
                      <a:pt x="9" y="86"/>
                    </a:cubicBezTo>
                    <a:cubicBezTo>
                      <a:pt x="8" y="86"/>
                      <a:pt x="8" y="86"/>
                      <a:pt x="7" y="8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996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 bwMode="auto">
          <a:xfrm>
            <a:off x="243213" y="225902"/>
            <a:ext cx="9163434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defTabSz="684213" eaLnBrk="1" hangingPunct="1">
              <a:lnSpc>
                <a:spcPct val="80000"/>
              </a:lnSpc>
              <a:defRPr lang="en-US" sz="3200" b="0" i="0" u="none">
                <a:solidFill>
                  <a:schemeClr val="tx2"/>
                </a:solidFill>
                <a:latin typeface="+mj-lt"/>
                <a:cs typeface="CiscoSans"/>
              </a:defRPr>
            </a:lvl1pPr>
            <a:lvl2pPr defTabSz="684213" eaLnBrk="1" hangingPunct="1">
              <a:lnSpc>
                <a:spcPct val="80000"/>
              </a:lnSpc>
              <a:defRPr sz="3200">
                <a:solidFill>
                  <a:srgbClr val="676767"/>
                </a:solidFill>
                <a:cs typeface="CiscoSans" pitchFamily="34" charset="0"/>
              </a:defRPr>
            </a:lvl2pPr>
            <a:lvl3pPr defTabSz="684213" eaLnBrk="1" hangingPunct="1">
              <a:lnSpc>
                <a:spcPct val="80000"/>
              </a:lnSpc>
              <a:defRPr sz="3200">
                <a:solidFill>
                  <a:srgbClr val="676767"/>
                </a:solidFill>
                <a:cs typeface="CiscoSans" pitchFamily="34" charset="0"/>
              </a:defRPr>
            </a:lvl3pPr>
            <a:lvl4pPr defTabSz="684213" eaLnBrk="1" hangingPunct="1">
              <a:lnSpc>
                <a:spcPct val="80000"/>
              </a:lnSpc>
              <a:defRPr sz="3200">
                <a:solidFill>
                  <a:srgbClr val="676767"/>
                </a:solidFill>
                <a:cs typeface="CiscoSans" pitchFamily="34" charset="0"/>
              </a:defRPr>
            </a:lvl4pPr>
            <a:lvl5pPr defTabSz="684213" eaLnBrk="1" hangingPunct="1">
              <a:lnSpc>
                <a:spcPct val="80000"/>
              </a:lnSpc>
              <a:defRPr sz="3200">
                <a:solidFill>
                  <a:srgbClr val="676767"/>
                </a:solidFill>
                <a:cs typeface="CiscoSans" pitchFamily="34" charset="0"/>
              </a:defRPr>
            </a:lvl5pPr>
            <a:lvl6pPr marL="457200" defTabSz="68421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</a:defRPr>
            </a:lvl6pPr>
            <a:lvl7pPr marL="914400" defTabSz="68421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</a:defRPr>
            </a:lvl7pPr>
            <a:lvl8pPr marL="1371600" defTabSz="68421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</a:defRPr>
            </a:lvl8pPr>
            <a:lvl9pPr marL="1828800" defTabSz="68421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005073"/>
                </a:solidFill>
              </a:rPr>
              <a:t>What first step can I take to gain visibility into my SP networks?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005073"/>
                </a:solidFill>
              </a:rPr>
              <a:t>Security Online Visibility Assessment (SOVA)</a:t>
            </a:r>
            <a:endParaRPr lang="en-GB" sz="1800" dirty="0">
              <a:solidFill>
                <a:srgbClr val="005073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21013" y="4474723"/>
            <a:ext cx="4241259" cy="668777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5791" y="3952793"/>
            <a:ext cx="4058780" cy="497146"/>
          </a:xfrm>
        </p:spPr>
        <p:txBody>
          <a:bodyPr/>
          <a:lstStyle/>
          <a:p>
            <a:r>
              <a:rPr lang="en-US" sz="1200" dirty="0">
                <a:latin typeface="+mn-lt"/>
              </a:rPr>
              <a:t>https://</a:t>
            </a:r>
            <a:r>
              <a:rPr lang="en-US" sz="1200" dirty="0" err="1">
                <a:latin typeface="+mn-lt"/>
              </a:rPr>
              <a:t>salesconnect.cisco.com</a:t>
            </a:r>
            <a:r>
              <a:rPr lang="en-US" sz="1200" dirty="0">
                <a:latin typeface="+mn-lt"/>
              </a:rPr>
              <a:t>/c/r/</a:t>
            </a:r>
            <a:r>
              <a:rPr lang="en-US" sz="1200" dirty="0" err="1">
                <a:latin typeface="+mn-lt"/>
              </a:rPr>
              <a:t>salesconnect</a:t>
            </a:r>
            <a:r>
              <a:rPr lang="en-US" sz="1200" dirty="0">
                <a:latin typeface="+mn-lt"/>
              </a:rPr>
              <a:t>/</a:t>
            </a:r>
            <a:r>
              <a:rPr lang="en-US" sz="1200" dirty="0" err="1">
                <a:latin typeface="+mn-lt"/>
              </a:rPr>
              <a:t>index.html</a:t>
            </a:r>
            <a:r>
              <a:rPr lang="en-US" sz="1200" dirty="0">
                <a:latin typeface="+mn-lt"/>
              </a:rPr>
              <a:t>#/</a:t>
            </a:r>
            <a:r>
              <a:rPr lang="en-US" sz="1200" dirty="0" smtClean="0">
                <a:latin typeface="+mn-lt"/>
              </a:rPr>
              <a:t>program/PAGE-10733 </a:t>
            </a:r>
            <a:endParaRPr lang="en-US" sz="1200" dirty="0"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37766" y="1158020"/>
            <a:ext cx="5009723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b="1" dirty="0" smtClean="0">
                <a:solidFill>
                  <a:schemeClr val="accent1"/>
                </a:solidFill>
                <a:latin typeface="+mn-lt"/>
              </a:rPr>
              <a:t>What is a SOVA?</a:t>
            </a:r>
          </a:p>
          <a:p>
            <a:pPr marL="214313" indent="-214313">
              <a:buFont typeface="Arial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n-lt"/>
              </a:rPr>
              <a:t>SOVA is a “free” 14-day non-intrusive cloud based network and security visibility offer for all our customers. It works by deploying a lightweight virtual SOVA Collector in the network that forwards network telemetry in passive mode to the SOVA cloud for analysis.  After (14) of collecting real time data (internal &amp; external), the cloud generates a confidential standard report for the customer free of charge consisting criteria such as Internal Monitored Networks, SMB &amp; Telnet Risks, Remote Access Breach, etc. </a:t>
            </a:r>
            <a:endParaRPr lang="en-US" sz="1200" dirty="0" smtClean="0">
              <a:solidFill>
                <a:schemeClr val="bg1"/>
              </a:solidFill>
              <a:latin typeface="+mn-lt"/>
            </a:endParaRPr>
          </a:p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 </a:t>
            </a:r>
            <a:endParaRPr lang="en-US" sz="1200" dirty="0">
              <a:solidFill>
                <a:schemeClr val="bg1"/>
              </a:solidFill>
              <a:latin typeface="+mn-lt"/>
            </a:endParaRPr>
          </a:p>
          <a:p>
            <a:pPr marL="214313" indent="-214313">
              <a:buFont typeface="Arial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+mn-lt"/>
              </a:rPr>
              <a:t>Pick a network segment and get started today </a:t>
            </a:r>
          </a:p>
          <a:p>
            <a:pPr lvl="0"/>
            <a:endParaRPr lang="en-US" dirty="0">
              <a:latin typeface="+mn-lt"/>
            </a:endParaRPr>
          </a:p>
          <a:p>
            <a:r>
              <a:rPr lang="en-US" b="1" dirty="0" smtClean="0">
                <a:solidFill>
                  <a:schemeClr val="accent2"/>
                </a:solidFill>
                <a:latin typeface="+mn-lt"/>
              </a:rPr>
              <a:t>Sign up for your “Free” SOVA today!</a:t>
            </a:r>
            <a:endParaRPr lang="en-US" dirty="0">
              <a:solidFill>
                <a:schemeClr val="accent2"/>
              </a:solidFill>
              <a:latin typeface="+mn-lt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329" y="707232"/>
            <a:ext cx="1517538" cy="1928116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5824" y="1034239"/>
            <a:ext cx="1507661" cy="195081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329" y="2709932"/>
            <a:ext cx="1517538" cy="1962992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5824" y="3085605"/>
            <a:ext cx="1507661" cy="1927316"/>
          </a:xfrm>
          <a:prstGeom prst="rect">
            <a:avLst/>
          </a:prstGeom>
          <a:ln w="31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105427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b="1" dirty="0"/>
              <a:t>For more information on Cisco Security Services, please </a:t>
            </a:r>
            <a:r>
              <a:rPr lang="en-US" sz="1600" b="1" dirty="0" smtClean="0"/>
              <a:t>visit </a:t>
            </a:r>
            <a:br>
              <a:rPr lang="en-US" sz="1600" b="1" dirty="0" smtClean="0"/>
            </a:br>
            <a:r>
              <a:rPr lang="en-US" sz="1600" b="1" dirty="0"/>
              <a:t/>
            </a:r>
            <a:br>
              <a:rPr lang="en-US" sz="1600" b="1" dirty="0"/>
            </a:br>
            <a:r>
              <a:rPr lang="en-US" sz="1600" b="1" dirty="0" smtClean="0">
                <a:hlinkClick r:id="rId3"/>
              </a:rPr>
              <a:t>http</a:t>
            </a:r>
            <a:r>
              <a:rPr lang="en-US" sz="1600" b="1" dirty="0">
                <a:hlinkClick r:id="rId3"/>
              </a:rPr>
              <a:t>://</a:t>
            </a:r>
            <a:r>
              <a:rPr lang="en-US" sz="1600" b="1" dirty="0" smtClean="0">
                <a:hlinkClick r:id="rId3"/>
              </a:rPr>
              <a:t>cisco.com/go/securityservices</a:t>
            </a:r>
            <a:r>
              <a:rPr lang="en-US" sz="1600" b="1" dirty="0" smtClean="0"/>
              <a:t> </a:t>
            </a:r>
            <a:endParaRPr lang="en-US" sz="1600" b="1" dirty="0"/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2642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8262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Agend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Oval 3"/>
          <p:cNvSpPr>
            <a:spLocks noChangeAspect="1"/>
          </p:cNvSpPr>
          <p:nvPr/>
        </p:nvSpPr>
        <p:spPr>
          <a:xfrm>
            <a:off x="5312616" y="860385"/>
            <a:ext cx="457200" cy="4572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5312616" y="1610695"/>
            <a:ext cx="457200" cy="45720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6" name="Oval 5"/>
          <p:cNvSpPr>
            <a:spLocks noChangeAspect="1"/>
          </p:cNvSpPr>
          <p:nvPr/>
        </p:nvSpPr>
        <p:spPr>
          <a:xfrm>
            <a:off x="5765795" y="2277152"/>
            <a:ext cx="365760" cy="36576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2"/>
                </a:solidFill>
              </a:rPr>
              <a:t>a</a:t>
            </a:r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5312616" y="3856005"/>
            <a:ext cx="457200" cy="4572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2"/>
                </a:solidFill>
              </a:rPr>
              <a:t>3</a:t>
            </a:r>
            <a:endParaRPr lang="en-US" sz="2000" dirty="0">
              <a:solidFill>
                <a:schemeClr val="bg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66758" y="801130"/>
            <a:ext cx="265557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pl-PL" sz="1600" dirty="0" smtClean="0">
                <a:latin typeface="+mn-lt"/>
              </a:rPr>
              <a:t>Market </a:t>
            </a:r>
            <a:r>
              <a:rPr lang="pl-PL" sz="1600" dirty="0" err="1" smtClean="0">
                <a:latin typeface="+mn-lt"/>
              </a:rPr>
              <a:t>Opportunities</a:t>
            </a:r>
            <a:r>
              <a:rPr lang="pl-PL" sz="1600" dirty="0" smtClean="0">
                <a:latin typeface="+mn-lt"/>
              </a:rPr>
              <a:t> and </a:t>
            </a:r>
            <a:r>
              <a:rPr lang="pl-PL" sz="1600" dirty="0" err="1" smtClean="0">
                <a:latin typeface="+mn-lt"/>
              </a:rPr>
              <a:t>Challenges</a:t>
            </a:r>
            <a:endParaRPr lang="en-US" sz="1600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766758" y="1545352"/>
            <a:ext cx="265557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pl-PL" sz="1600" dirty="0" err="1" smtClean="0">
                <a:latin typeface="+mn-lt"/>
              </a:rPr>
              <a:t>Your</a:t>
            </a:r>
            <a:r>
              <a:rPr lang="pl-PL" sz="1600" dirty="0" smtClean="0">
                <a:latin typeface="+mn-lt"/>
              </a:rPr>
              <a:t> Digital </a:t>
            </a:r>
            <a:r>
              <a:rPr lang="pl-PL" sz="1600" dirty="0" err="1" smtClean="0">
                <a:latin typeface="+mn-lt"/>
              </a:rPr>
              <a:t>Transformation</a:t>
            </a:r>
            <a:r>
              <a:rPr lang="pl-PL" sz="1600" dirty="0" smtClean="0">
                <a:latin typeface="+mn-lt"/>
              </a:rPr>
              <a:t> </a:t>
            </a:r>
            <a:r>
              <a:rPr lang="pl-PL" sz="1600" dirty="0" err="1" smtClean="0">
                <a:latin typeface="+mn-lt"/>
              </a:rPr>
              <a:t>Journey</a:t>
            </a:r>
            <a:endParaRPr lang="en-US" sz="1600" dirty="0"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19554" y="2310645"/>
            <a:ext cx="2650261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 smtClean="0">
                <a:latin typeface="+mn-lt"/>
              </a:rPr>
              <a:t>Evaluating if you are ready </a:t>
            </a:r>
            <a:endParaRPr lang="en-US" sz="1400" dirty="0">
              <a:latin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765795" y="3934735"/>
            <a:ext cx="2921968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600" dirty="0" smtClean="0">
                <a:latin typeface="+mn-lt"/>
              </a:rPr>
              <a:t>Questions</a:t>
            </a:r>
            <a:endParaRPr lang="en-US" sz="1600" dirty="0">
              <a:latin typeface="+mn-lt"/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>
          <a:xfrm>
            <a:off x="5765795" y="2834753"/>
            <a:ext cx="365760" cy="36576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2"/>
                </a:solidFill>
              </a:rPr>
              <a:t>b</a:t>
            </a:r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19553" y="2738427"/>
            <a:ext cx="2650261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 smtClean="0">
                <a:latin typeface="+mn-lt"/>
              </a:rPr>
              <a:t>Building &amp; Assessing your secure foundation</a:t>
            </a:r>
            <a:endParaRPr lang="en-US" sz="1400" dirty="0">
              <a:latin typeface="+mn-lt"/>
            </a:endParaRPr>
          </a:p>
        </p:txBody>
      </p:sp>
      <p:sp>
        <p:nvSpPr>
          <p:cNvPr id="21" name="Oval 20"/>
          <p:cNvSpPr>
            <a:spLocks noChangeAspect="1"/>
          </p:cNvSpPr>
          <p:nvPr/>
        </p:nvSpPr>
        <p:spPr>
          <a:xfrm>
            <a:off x="5765795" y="3387025"/>
            <a:ext cx="365760" cy="36576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2"/>
                </a:solidFill>
              </a:rPr>
              <a:t>c</a:t>
            </a:r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119554" y="3308295"/>
            <a:ext cx="2650261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 smtClean="0">
                <a:latin typeface="+mn-lt"/>
              </a:rPr>
              <a:t>Maintaining your digital solution </a:t>
            </a:r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046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Oval 41"/>
          <p:cNvSpPr/>
          <p:nvPr/>
        </p:nvSpPr>
        <p:spPr>
          <a:xfrm>
            <a:off x="674232" y="1262859"/>
            <a:ext cx="3383280" cy="3381374"/>
          </a:xfrm>
          <a:prstGeom prst="ellipse">
            <a:avLst/>
          </a:prstGeom>
          <a:solidFill>
            <a:schemeClr val="bg2">
              <a:lumMod val="95000"/>
            </a:schemeClr>
          </a:solidFill>
          <a:ln w="3175">
            <a:solidFill>
              <a:schemeClr val="bg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2" name="Title 1"/>
          <p:cNvSpPr txBox="1">
            <a:spLocks/>
          </p:cNvSpPr>
          <p:nvPr/>
        </p:nvSpPr>
        <p:spPr bwMode="auto">
          <a:xfrm>
            <a:off x="437766" y="341314"/>
            <a:ext cx="8486101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defTabSz="684213" eaLnBrk="1" hangingPunct="1">
              <a:lnSpc>
                <a:spcPct val="80000"/>
              </a:lnSpc>
              <a:defRPr lang="en-US" sz="3200" b="0" i="0" u="none">
                <a:solidFill>
                  <a:schemeClr val="tx2"/>
                </a:solidFill>
                <a:latin typeface="+mj-lt"/>
                <a:cs typeface="CiscoSans"/>
              </a:defRPr>
            </a:lvl1pPr>
            <a:lvl2pPr defTabSz="684213" eaLnBrk="1" hangingPunct="1">
              <a:lnSpc>
                <a:spcPct val="80000"/>
              </a:lnSpc>
              <a:defRPr sz="3200">
                <a:solidFill>
                  <a:srgbClr val="676767"/>
                </a:solidFill>
                <a:cs typeface="CiscoSans" pitchFamily="34" charset="0"/>
              </a:defRPr>
            </a:lvl2pPr>
            <a:lvl3pPr defTabSz="684213" eaLnBrk="1" hangingPunct="1">
              <a:lnSpc>
                <a:spcPct val="80000"/>
              </a:lnSpc>
              <a:defRPr sz="3200">
                <a:solidFill>
                  <a:srgbClr val="676767"/>
                </a:solidFill>
                <a:cs typeface="CiscoSans" pitchFamily="34" charset="0"/>
              </a:defRPr>
            </a:lvl3pPr>
            <a:lvl4pPr defTabSz="684213" eaLnBrk="1" hangingPunct="1">
              <a:lnSpc>
                <a:spcPct val="80000"/>
              </a:lnSpc>
              <a:defRPr sz="3200">
                <a:solidFill>
                  <a:srgbClr val="676767"/>
                </a:solidFill>
                <a:cs typeface="CiscoSans" pitchFamily="34" charset="0"/>
              </a:defRPr>
            </a:lvl4pPr>
            <a:lvl5pPr defTabSz="684213" eaLnBrk="1" hangingPunct="1">
              <a:lnSpc>
                <a:spcPct val="80000"/>
              </a:lnSpc>
              <a:defRPr sz="3200">
                <a:solidFill>
                  <a:srgbClr val="676767"/>
                </a:solidFill>
                <a:cs typeface="CiscoSans" pitchFamily="34" charset="0"/>
              </a:defRPr>
            </a:lvl5pPr>
            <a:lvl6pPr marL="457200" defTabSz="68421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</a:defRPr>
            </a:lvl6pPr>
            <a:lvl7pPr marL="914400" defTabSz="68421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</a:defRPr>
            </a:lvl7pPr>
            <a:lvl8pPr marL="1371600" defTabSz="68421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</a:defRPr>
            </a:lvl8pPr>
            <a:lvl9pPr marL="1828800" defTabSz="684213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sz="2800" dirty="0">
                <a:solidFill>
                  <a:srgbClr val="005073"/>
                </a:solidFill>
              </a:rPr>
              <a:t>Digitization is creating opportunities</a:t>
            </a:r>
            <a:endParaRPr dirty="0">
              <a:solidFill>
                <a:srgbClr val="005073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sz="2000" dirty="0">
                <a:solidFill>
                  <a:srgbClr val="005073"/>
                </a:solidFill>
              </a:rPr>
              <a:t>Telco, cable, and web: Digitization leading to cloud, 5G, IoT</a:t>
            </a:r>
            <a:endParaRPr lang="en-GB" sz="2000" dirty="0">
              <a:solidFill>
                <a:srgbClr val="005073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4878225" y="1201740"/>
            <a:ext cx="4265776" cy="3442493"/>
            <a:chOff x="4878224" y="1201739"/>
            <a:chExt cx="4265776" cy="3442493"/>
          </a:xfrm>
        </p:grpSpPr>
        <p:sp>
          <p:nvSpPr>
            <p:cNvPr id="102" name="Rectangle 101"/>
            <p:cNvSpPr/>
            <p:nvPr/>
          </p:nvSpPr>
          <p:spPr>
            <a:xfrm>
              <a:off x="5714563" y="1201739"/>
              <a:ext cx="3429437" cy="82415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90" tIns="34246" rIns="68490" bIns="34246" rtlCol="0" anchor="ctr"/>
            <a:lstStyle/>
            <a:p>
              <a:pPr defTabSz="68450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>
                  <a:solidFill>
                    <a:srgbClr val="00BCEB"/>
                  </a:solidFill>
                </a:rPr>
                <a:t>More </a:t>
              </a:r>
              <a:r>
                <a:rPr lang="en-US" sz="1600" b="1" dirty="0" err="1">
                  <a:solidFill>
                    <a:srgbClr val="00BCEB"/>
                  </a:solidFill>
                </a:rPr>
                <a:t>cloudification</a:t>
              </a:r>
              <a:endParaRPr lang="en-US" sz="1600" b="1" dirty="0">
                <a:solidFill>
                  <a:srgbClr val="00BCEB"/>
                </a:solidFill>
              </a:endParaRPr>
            </a:p>
            <a:p>
              <a:pPr defTabSz="68450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282828"/>
                  </a:solidFill>
                </a:rPr>
                <a:t>4x</a:t>
              </a:r>
              <a:r>
                <a:rPr lang="en-US" sz="1400" dirty="0">
                  <a:solidFill>
                    <a:srgbClr val="282828"/>
                  </a:solidFill>
                </a:rPr>
                <a:t> cloud traffic increase</a:t>
              </a: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5714563" y="2094891"/>
              <a:ext cx="3429437" cy="82415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90" tIns="34246" rIns="68490" bIns="34246" rtlCol="0" anchor="ctr"/>
            <a:lstStyle/>
            <a:p>
              <a:pPr defTabSz="68450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>
                  <a:solidFill>
                    <a:srgbClr val="6EBE4A"/>
                  </a:solidFill>
                </a:rPr>
                <a:t>More IoT</a:t>
              </a:r>
            </a:p>
            <a:p>
              <a:pPr defTabSz="68450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282828"/>
                  </a:solidFill>
                </a:rPr>
                <a:t>Half</a:t>
              </a:r>
              <a:r>
                <a:rPr lang="en-US" sz="1400" dirty="0">
                  <a:solidFill>
                    <a:srgbClr val="282828"/>
                  </a:solidFill>
                </a:rPr>
                <a:t> connected devices Are M2M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5714563" y="2988043"/>
              <a:ext cx="3429437" cy="82415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90" tIns="34246" rIns="68490" bIns="34246" rtlCol="0" anchor="ctr"/>
            <a:lstStyle/>
            <a:p>
              <a:pPr defTabSz="68450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>
                  <a:solidFill>
                    <a:srgbClr val="FBAB18"/>
                  </a:solidFill>
                </a:rPr>
                <a:t>More video</a:t>
              </a:r>
            </a:p>
            <a:p>
              <a:pPr defTabSz="68450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282828"/>
                  </a:solidFill>
                </a:rPr>
                <a:t>8x</a:t>
              </a:r>
              <a:r>
                <a:rPr lang="en-US" sz="1400" dirty="0">
                  <a:solidFill>
                    <a:srgbClr val="282828"/>
                  </a:solidFill>
                </a:rPr>
                <a:t> mobile traffic increase</a:t>
              </a: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5714562" y="3820076"/>
              <a:ext cx="3429437" cy="82415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90" tIns="34246" rIns="68490" bIns="34246" rtlCol="0" anchor="ctr"/>
            <a:lstStyle/>
            <a:p>
              <a:pPr defTabSz="68450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>
                  <a:solidFill>
                    <a:srgbClr val="FFFFFF"/>
                  </a:solidFill>
                </a:rPr>
                <a:t>5G rollouts begin</a:t>
              </a:r>
            </a:p>
            <a:p>
              <a:pPr defTabSz="68450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dirty="0">
                  <a:solidFill>
                    <a:srgbClr val="282828"/>
                  </a:solidFill>
                </a:rPr>
                <a:t>4.7x</a:t>
              </a:r>
              <a:r>
                <a:rPr lang="en-US" sz="1400" dirty="0">
                  <a:solidFill>
                    <a:srgbClr val="282828"/>
                  </a:solidFill>
                </a:rPr>
                <a:t> traffic of LTE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4878224" y="1283654"/>
              <a:ext cx="660326" cy="66032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4878224" y="2176806"/>
              <a:ext cx="660326" cy="66032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4878224" y="3069958"/>
              <a:ext cx="660326" cy="66032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4878224" y="3963110"/>
              <a:ext cx="660326" cy="66032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282828"/>
                </a:solidFill>
                <a:latin typeface="CiscoSans ExtraLight"/>
              </a:endParaRPr>
            </a:p>
          </p:txBody>
        </p:sp>
        <p:grpSp>
          <p:nvGrpSpPr>
            <p:cNvPr id="112" name="Group 276"/>
            <p:cNvGrpSpPr>
              <a:grpSpLocks noChangeAspect="1"/>
            </p:cNvGrpSpPr>
            <p:nvPr/>
          </p:nvGrpSpPr>
          <p:grpSpPr>
            <a:xfrm>
              <a:off x="4964502" y="1484924"/>
              <a:ext cx="477344" cy="236456"/>
              <a:chOff x="836085" y="1496592"/>
              <a:chExt cx="538984" cy="266991"/>
            </a:xfrm>
            <a:solidFill>
              <a:schemeClr val="accent1"/>
            </a:solidFill>
          </p:grpSpPr>
          <p:sp>
            <p:nvSpPr>
              <p:cNvPr id="114" name="Freeform 751"/>
              <p:cNvSpPr>
                <a:spLocks/>
              </p:cNvSpPr>
              <p:nvPr/>
            </p:nvSpPr>
            <p:spPr bwMode="auto">
              <a:xfrm>
                <a:off x="836085" y="1647587"/>
                <a:ext cx="538984" cy="115996"/>
              </a:xfrm>
              <a:custGeom>
                <a:avLst/>
                <a:gdLst>
                  <a:gd name="T0" fmla="*/ 204 w 228"/>
                  <a:gd name="T1" fmla="*/ 49 h 49"/>
                  <a:gd name="T2" fmla="*/ 24 w 228"/>
                  <a:gd name="T3" fmla="*/ 49 h 49"/>
                  <a:gd name="T4" fmla="*/ 0 w 228"/>
                  <a:gd name="T5" fmla="*/ 25 h 49"/>
                  <a:gd name="T6" fmla="*/ 0 w 228"/>
                  <a:gd name="T7" fmla="*/ 25 h 49"/>
                  <a:gd name="T8" fmla="*/ 24 w 228"/>
                  <a:gd name="T9" fmla="*/ 0 h 49"/>
                  <a:gd name="T10" fmla="*/ 204 w 228"/>
                  <a:gd name="T11" fmla="*/ 0 h 49"/>
                  <a:gd name="T12" fmla="*/ 228 w 228"/>
                  <a:gd name="T13" fmla="*/ 25 h 49"/>
                  <a:gd name="T14" fmla="*/ 228 w 228"/>
                  <a:gd name="T15" fmla="*/ 25 h 49"/>
                  <a:gd name="T16" fmla="*/ 204 w 228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49">
                    <a:moveTo>
                      <a:pt x="204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217" y="0"/>
                      <a:pt x="228" y="11"/>
                      <a:pt x="228" y="25"/>
                    </a:cubicBezTo>
                    <a:cubicBezTo>
                      <a:pt x="228" y="25"/>
                      <a:pt x="228" y="25"/>
                      <a:pt x="228" y="25"/>
                    </a:cubicBezTo>
                    <a:cubicBezTo>
                      <a:pt x="228" y="38"/>
                      <a:pt x="217" y="49"/>
                      <a:pt x="204" y="4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  <p:sp>
            <p:nvSpPr>
              <p:cNvPr id="115" name="Freeform 752"/>
              <p:cNvSpPr>
                <a:spLocks/>
              </p:cNvSpPr>
              <p:nvPr/>
            </p:nvSpPr>
            <p:spPr bwMode="auto">
              <a:xfrm>
                <a:off x="955081" y="1571590"/>
                <a:ext cx="382988" cy="115996"/>
              </a:xfrm>
              <a:custGeom>
                <a:avLst/>
                <a:gdLst>
                  <a:gd name="T0" fmla="*/ 137 w 162"/>
                  <a:gd name="T1" fmla="*/ 49 h 49"/>
                  <a:gd name="T2" fmla="*/ 24 w 162"/>
                  <a:gd name="T3" fmla="*/ 49 h 49"/>
                  <a:gd name="T4" fmla="*/ 0 w 162"/>
                  <a:gd name="T5" fmla="*/ 25 h 49"/>
                  <a:gd name="T6" fmla="*/ 0 w 162"/>
                  <a:gd name="T7" fmla="*/ 25 h 49"/>
                  <a:gd name="T8" fmla="*/ 24 w 162"/>
                  <a:gd name="T9" fmla="*/ 0 h 49"/>
                  <a:gd name="T10" fmla="*/ 137 w 162"/>
                  <a:gd name="T11" fmla="*/ 0 h 49"/>
                  <a:gd name="T12" fmla="*/ 162 w 162"/>
                  <a:gd name="T13" fmla="*/ 25 h 49"/>
                  <a:gd name="T14" fmla="*/ 162 w 162"/>
                  <a:gd name="T15" fmla="*/ 25 h 49"/>
                  <a:gd name="T16" fmla="*/ 137 w 162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" h="49">
                    <a:moveTo>
                      <a:pt x="137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51" y="0"/>
                      <a:pt x="162" y="11"/>
                      <a:pt x="162" y="25"/>
                    </a:cubicBezTo>
                    <a:cubicBezTo>
                      <a:pt x="162" y="25"/>
                      <a:pt x="162" y="25"/>
                      <a:pt x="162" y="25"/>
                    </a:cubicBezTo>
                    <a:cubicBezTo>
                      <a:pt x="162" y="38"/>
                      <a:pt x="151" y="49"/>
                      <a:pt x="137" y="4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  <p:sp>
            <p:nvSpPr>
              <p:cNvPr id="116" name="Freeform 753"/>
              <p:cNvSpPr>
                <a:spLocks/>
              </p:cNvSpPr>
              <p:nvPr/>
            </p:nvSpPr>
            <p:spPr bwMode="auto">
              <a:xfrm>
                <a:off x="1106076" y="1496592"/>
                <a:ext cx="181994" cy="115996"/>
              </a:xfrm>
              <a:custGeom>
                <a:avLst/>
                <a:gdLst>
                  <a:gd name="T0" fmla="*/ 52 w 77"/>
                  <a:gd name="T1" fmla="*/ 49 h 49"/>
                  <a:gd name="T2" fmla="*/ 24 w 77"/>
                  <a:gd name="T3" fmla="*/ 49 h 49"/>
                  <a:gd name="T4" fmla="*/ 0 w 77"/>
                  <a:gd name="T5" fmla="*/ 24 h 49"/>
                  <a:gd name="T6" fmla="*/ 0 w 77"/>
                  <a:gd name="T7" fmla="*/ 24 h 49"/>
                  <a:gd name="T8" fmla="*/ 24 w 77"/>
                  <a:gd name="T9" fmla="*/ 0 h 49"/>
                  <a:gd name="T10" fmla="*/ 52 w 77"/>
                  <a:gd name="T11" fmla="*/ 0 h 49"/>
                  <a:gd name="T12" fmla="*/ 77 w 77"/>
                  <a:gd name="T13" fmla="*/ 24 h 49"/>
                  <a:gd name="T14" fmla="*/ 77 w 77"/>
                  <a:gd name="T15" fmla="*/ 24 h 49"/>
                  <a:gd name="T16" fmla="*/ 52 w 77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49">
                    <a:moveTo>
                      <a:pt x="52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66" y="0"/>
                      <a:pt x="77" y="11"/>
                      <a:pt x="77" y="24"/>
                    </a:cubicBezTo>
                    <a:cubicBezTo>
                      <a:pt x="77" y="24"/>
                      <a:pt x="77" y="24"/>
                      <a:pt x="77" y="24"/>
                    </a:cubicBezTo>
                    <a:cubicBezTo>
                      <a:pt x="77" y="38"/>
                      <a:pt x="66" y="49"/>
                      <a:pt x="52" y="4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>
              <a:off x="4981632" y="2329380"/>
              <a:ext cx="420494" cy="381649"/>
              <a:chOff x="3317025" y="2678608"/>
              <a:chExt cx="560585" cy="508799"/>
            </a:xfrm>
          </p:grpSpPr>
          <p:grpSp>
            <p:nvGrpSpPr>
              <p:cNvPr id="118" name="Group 898"/>
              <p:cNvGrpSpPr/>
              <p:nvPr/>
            </p:nvGrpSpPr>
            <p:grpSpPr>
              <a:xfrm>
                <a:off x="3750880" y="2806028"/>
                <a:ext cx="126730" cy="205817"/>
                <a:chOff x="4794627" y="4483492"/>
                <a:chExt cx="132996" cy="215993"/>
              </a:xfrm>
            </p:grpSpPr>
            <p:sp>
              <p:nvSpPr>
                <p:cNvPr id="197" name="Freeform 771"/>
                <p:cNvSpPr>
                  <a:spLocks noChangeAspect="1"/>
                </p:cNvSpPr>
                <p:nvPr/>
              </p:nvSpPr>
              <p:spPr bwMode="auto">
                <a:xfrm>
                  <a:off x="4794627" y="4483492"/>
                  <a:ext cx="132996" cy="215993"/>
                </a:xfrm>
                <a:custGeom>
                  <a:avLst/>
                  <a:gdLst>
                    <a:gd name="T0" fmla="*/ 56 w 56"/>
                    <a:gd name="T1" fmla="*/ 86 h 91"/>
                    <a:gd name="T2" fmla="*/ 56 w 56"/>
                    <a:gd name="T3" fmla="*/ 5 h 91"/>
                    <a:gd name="T4" fmla="*/ 51 w 56"/>
                    <a:gd name="T5" fmla="*/ 0 h 91"/>
                    <a:gd name="T6" fmla="*/ 5 w 56"/>
                    <a:gd name="T7" fmla="*/ 0 h 91"/>
                    <a:gd name="T8" fmla="*/ 0 w 56"/>
                    <a:gd name="T9" fmla="*/ 5 h 91"/>
                    <a:gd name="T10" fmla="*/ 0 w 56"/>
                    <a:gd name="T11" fmla="*/ 86 h 91"/>
                    <a:gd name="T12" fmla="*/ 5 w 56"/>
                    <a:gd name="T13" fmla="*/ 91 h 91"/>
                    <a:gd name="T14" fmla="*/ 51 w 56"/>
                    <a:gd name="T15" fmla="*/ 91 h 91"/>
                    <a:gd name="T16" fmla="*/ 56 w 56"/>
                    <a:gd name="T17" fmla="*/ 86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6" h="91">
                      <a:moveTo>
                        <a:pt x="56" y="86"/>
                      </a:moveTo>
                      <a:cubicBezTo>
                        <a:pt x="56" y="5"/>
                        <a:pt x="56" y="5"/>
                        <a:pt x="56" y="5"/>
                      </a:cubicBezTo>
                      <a:cubicBezTo>
                        <a:pt x="56" y="2"/>
                        <a:pt x="54" y="0"/>
                        <a:pt x="51" y="0"/>
                      </a:cubicBez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0" y="89"/>
                        <a:pt x="2" y="91"/>
                        <a:pt x="5" y="91"/>
                      </a:cubicBezTo>
                      <a:cubicBezTo>
                        <a:pt x="51" y="91"/>
                        <a:pt x="51" y="91"/>
                        <a:pt x="51" y="91"/>
                      </a:cubicBezTo>
                      <a:cubicBezTo>
                        <a:pt x="54" y="91"/>
                        <a:pt x="56" y="89"/>
                        <a:pt x="56" y="86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98" name="Oval 772"/>
                <p:cNvSpPr>
                  <a:spLocks noChangeAspect="1" noChangeArrowheads="1"/>
                </p:cNvSpPr>
                <p:nvPr/>
              </p:nvSpPr>
              <p:spPr bwMode="auto">
                <a:xfrm>
                  <a:off x="4806627" y="4557489"/>
                  <a:ext cx="108997" cy="10799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99" name="Oval 773"/>
                <p:cNvSpPr>
                  <a:spLocks noChangeAspect="1" noChangeArrowheads="1"/>
                </p:cNvSpPr>
                <p:nvPr/>
              </p:nvSpPr>
              <p:spPr bwMode="auto">
                <a:xfrm>
                  <a:off x="4806627" y="4493491"/>
                  <a:ext cx="30999" cy="3099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200" name="Rectangle 774"/>
                <p:cNvSpPr>
                  <a:spLocks noChangeAspect="1" noChangeArrowheads="1"/>
                </p:cNvSpPr>
                <p:nvPr/>
              </p:nvSpPr>
              <p:spPr bwMode="auto">
                <a:xfrm>
                  <a:off x="4794627" y="4533490"/>
                  <a:ext cx="132996" cy="9000"/>
                </a:xfrm>
                <a:prstGeom prst="rect">
                  <a:avLst/>
                </a:pr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201" name="Freeform 775"/>
                <p:cNvSpPr>
                  <a:spLocks noChangeAspect="1"/>
                </p:cNvSpPr>
                <p:nvPr/>
              </p:nvSpPr>
              <p:spPr bwMode="auto">
                <a:xfrm>
                  <a:off x="4858625" y="4505491"/>
                  <a:ext cx="53998" cy="11000"/>
                </a:xfrm>
                <a:custGeom>
                  <a:avLst/>
                  <a:gdLst>
                    <a:gd name="T0" fmla="*/ 23 w 23"/>
                    <a:gd name="T1" fmla="*/ 3 h 5"/>
                    <a:gd name="T2" fmla="*/ 23 w 23"/>
                    <a:gd name="T3" fmla="*/ 3 h 5"/>
                    <a:gd name="T4" fmla="*/ 21 w 23"/>
                    <a:gd name="T5" fmla="*/ 5 h 5"/>
                    <a:gd name="T6" fmla="*/ 2 w 23"/>
                    <a:gd name="T7" fmla="*/ 5 h 5"/>
                    <a:gd name="T8" fmla="*/ 0 w 23"/>
                    <a:gd name="T9" fmla="*/ 3 h 5"/>
                    <a:gd name="T10" fmla="*/ 2 w 23"/>
                    <a:gd name="T11" fmla="*/ 0 h 5"/>
                    <a:gd name="T12" fmla="*/ 21 w 23"/>
                    <a:gd name="T13" fmla="*/ 0 h 5"/>
                    <a:gd name="T14" fmla="*/ 23 w 23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3" h="5">
                      <a:moveTo>
                        <a:pt x="23" y="3"/>
                      </a:moveTo>
                      <a:cubicBezTo>
                        <a:pt x="23" y="3"/>
                        <a:pt x="23" y="3"/>
                        <a:pt x="23" y="3"/>
                      </a:cubicBezTo>
                      <a:cubicBezTo>
                        <a:pt x="23" y="4"/>
                        <a:pt x="22" y="5"/>
                        <a:pt x="21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1" y="5"/>
                        <a:pt x="0" y="4"/>
                        <a:pt x="0" y="3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2" y="0"/>
                        <a:pt x="23" y="1"/>
                        <a:pt x="23" y="3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202" name="Freeform 776"/>
                <p:cNvSpPr>
                  <a:spLocks noChangeAspect="1"/>
                </p:cNvSpPr>
                <p:nvPr/>
              </p:nvSpPr>
              <p:spPr bwMode="auto">
                <a:xfrm>
                  <a:off x="4827626" y="4578489"/>
                  <a:ext cx="66998" cy="20999"/>
                </a:xfrm>
                <a:custGeom>
                  <a:avLst/>
                  <a:gdLst>
                    <a:gd name="T0" fmla="*/ 14 w 28"/>
                    <a:gd name="T1" fmla="*/ 0 h 9"/>
                    <a:gd name="T2" fmla="*/ 1 w 28"/>
                    <a:gd name="T3" fmla="*/ 5 h 9"/>
                    <a:gd name="T4" fmla="*/ 1 w 28"/>
                    <a:gd name="T5" fmla="*/ 8 h 9"/>
                    <a:gd name="T6" fmla="*/ 4 w 28"/>
                    <a:gd name="T7" fmla="*/ 8 h 9"/>
                    <a:gd name="T8" fmla="*/ 14 w 28"/>
                    <a:gd name="T9" fmla="*/ 4 h 9"/>
                    <a:gd name="T10" fmla="*/ 24 w 28"/>
                    <a:gd name="T11" fmla="*/ 8 h 9"/>
                    <a:gd name="T12" fmla="*/ 26 w 28"/>
                    <a:gd name="T13" fmla="*/ 9 h 9"/>
                    <a:gd name="T14" fmla="*/ 27 w 28"/>
                    <a:gd name="T15" fmla="*/ 8 h 9"/>
                    <a:gd name="T16" fmla="*/ 27 w 28"/>
                    <a:gd name="T17" fmla="*/ 5 h 9"/>
                    <a:gd name="T18" fmla="*/ 14 w 28"/>
                    <a:gd name="T1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8" h="9">
                      <a:moveTo>
                        <a:pt x="14" y="0"/>
                      </a:moveTo>
                      <a:cubicBezTo>
                        <a:pt x="9" y="0"/>
                        <a:pt x="4" y="2"/>
                        <a:pt x="1" y="5"/>
                      </a:cubicBezTo>
                      <a:cubicBezTo>
                        <a:pt x="0" y="6"/>
                        <a:pt x="0" y="8"/>
                        <a:pt x="1" y="8"/>
                      </a:cubicBezTo>
                      <a:cubicBezTo>
                        <a:pt x="2" y="9"/>
                        <a:pt x="3" y="9"/>
                        <a:pt x="4" y="8"/>
                      </a:cubicBezTo>
                      <a:cubicBezTo>
                        <a:pt x="6" y="6"/>
                        <a:pt x="10" y="4"/>
                        <a:pt x="14" y="4"/>
                      </a:cubicBezTo>
                      <a:cubicBezTo>
                        <a:pt x="18" y="4"/>
                        <a:pt x="22" y="6"/>
                        <a:pt x="24" y="8"/>
                      </a:cubicBezTo>
                      <a:cubicBezTo>
                        <a:pt x="25" y="9"/>
                        <a:pt x="25" y="9"/>
                        <a:pt x="26" y="9"/>
                      </a:cubicBezTo>
                      <a:cubicBezTo>
                        <a:pt x="26" y="9"/>
                        <a:pt x="27" y="9"/>
                        <a:pt x="27" y="8"/>
                      </a:cubicBezTo>
                      <a:cubicBezTo>
                        <a:pt x="28" y="8"/>
                        <a:pt x="28" y="6"/>
                        <a:pt x="27" y="5"/>
                      </a:cubicBezTo>
                      <a:cubicBezTo>
                        <a:pt x="24" y="2"/>
                        <a:pt x="19" y="0"/>
                        <a:pt x="14" y="0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203" name="Freeform 777"/>
                <p:cNvSpPr>
                  <a:spLocks noChangeAspect="1"/>
                </p:cNvSpPr>
                <p:nvPr/>
              </p:nvSpPr>
              <p:spPr bwMode="auto">
                <a:xfrm>
                  <a:off x="4839626" y="4595488"/>
                  <a:ext cx="42999" cy="17999"/>
                </a:xfrm>
                <a:custGeom>
                  <a:avLst/>
                  <a:gdLst>
                    <a:gd name="T0" fmla="*/ 1 w 18"/>
                    <a:gd name="T1" fmla="*/ 4 h 8"/>
                    <a:gd name="T2" fmla="*/ 1 w 18"/>
                    <a:gd name="T3" fmla="*/ 7 h 8"/>
                    <a:gd name="T4" fmla="*/ 4 w 18"/>
                    <a:gd name="T5" fmla="*/ 7 h 8"/>
                    <a:gd name="T6" fmla="*/ 14 w 18"/>
                    <a:gd name="T7" fmla="*/ 7 h 8"/>
                    <a:gd name="T8" fmla="*/ 15 w 18"/>
                    <a:gd name="T9" fmla="*/ 7 h 8"/>
                    <a:gd name="T10" fmla="*/ 17 w 18"/>
                    <a:gd name="T11" fmla="*/ 7 h 8"/>
                    <a:gd name="T12" fmla="*/ 17 w 18"/>
                    <a:gd name="T13" fmla="*/ 4 h 8"/>
                    <a:gd name="T14" fmla="*/ 1 w 18"/>
                    <a:gd name="T15" fmla="*/ 4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8">
                      <a:moveTo>
                        <a:pt x="1" y="4"/>
                      </a:moveTo>
                      <a:cubicBezTo>
                        <a:pt x="0" y="5"/>
                        <a:pt x="0" y="6"/>
                        <a:pt x="1" y="7"/>
                      </a:cubicBezTo>
                      <a:cubicBezTo>
                        <a:pt x="2" y="8"/>
                        <a:pt x="3" y="8"/>
                        <a:pt x="4" y="7"/>
                      </a:cubicBezTo>
                      <a:cubicBezTo>
                        <a:pt x="7" y="4"/>
                        <a:pt x="11" y="4"/>
                        <a:pt x="14" y="7"/>
                      </a:cubicBezTo>
                      <a:cubicBezTo>
                        <a:pt x="14" y="7"/>
                        <a:pt x="15" y="7"/>
                        <a:pt x="15" y="7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6"/>
                        <a:pt x="18" y="5"/>
                        <a:pt x="17" y="4"/>
                      </a:cubicBezTo>
                      <a:cubicBezTo>
                        <a:pt x="13" y="0"/>
                        <a:pt x="6" y="0"/>
                        <a:pt x="1" y="4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204" name="Oval 778"/>
                <p:cNvSpPr>
                  <a:spLocks noChangeAspect="1" noChangeArrowheads="1"/>
                </p:cNvSpPr>
                <p:nvPr/>
              </p:nvSpPr>
              <p:spPr bwMode="auto">
                <a:xfrm>
                  <a:off x="4853625" y="4616488"/>
                  <a:ext cx="15000" cy="14000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</p:grpSp>
          <p:grpSp>
            <p:nvGrpSpPr>
              <p:cNvPr id="122" name="Group 896"/>
              <p:cNvGrpSpPr/>
              <p:nvPr/>
            </p:nvGrpSpPr>
            <p:grpSpPr>
              <a:xfrm>
                <a:off x="3596192" y="2678608"/>
                <a:ext cx="109379" cy="183920"/>
                <a:chOff x="4676631" y="4259498"/>
                <a:chExt cx="134995" cy="226994"/>
              </a:xfrm>
            </p:grpSpPr>
            <p:sp>
              <p:nvSpPr>
                <p:cNvPr id="151" name="Freeform 779"/>
                <p:cNvSpPr>
                  <a:spLocks noChangeAspect="1"/>
                </p:cNvSpPr>
                <p:nvPr/>
              </p:nvSpPr>
              <p:spPr bwMode="auto">
                <a:xfrm>
                  <a:off x="4704630" y="4259498"/>
                  <a:ext cx="63998" cy="105997"/>
                </a:xfrm>
                <a:custGeom>
                  <a:avLst/>
                  <a:gdLst>
                    <a:gd name="T0" fmla="*/ 21 w 27"/>
                    <a:gd name="T1" fmla="*/ 45 h 45"/>
                    <a:gd name="T2" fmla="*/ 7 w 27"/>
                    <a:gd name="T3" fmla="*/ 45 h 45"/>
                    <a:gd name="T4" fmla="*/ 0 w 27"/>
                    <a:gd name="T5" fmla="*/ 39 h 45"/>
                    <a:gd name="T6" fmla="*/ 0 w 27"/>
                    <a:gd name="T7" fmla="*/ 7 h 45"/>
                    <a:gd name="T8" fmla="*/ 7 w 27"/>
                    <a:gd name="T9" fmla="*/ 0 h 45"/>
                    <a:gd name="T10" fmla="*/ 21 w 27"/>
                    <a:gd name="T11" fmla="*/ 0 h 45"/>
                    <a:gd name="T12" fmla="*/ 27 w 27"/>
                    <a:gd name="T13" fmla="*/ 7 h 45"/>
                    <a:gd name="T14" fmla="*/ 27 w 27"/>
                    <a:gd name="T15" fmla="*/ 39 h 45"/>
                    <a:gd name="T16" fmla="*/ 21 w 27"/>
                    <a:gd name="T17" fmla="*/ 45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5">
                      <a:moveTo>
                        <a:pt x="21" y="45"/>
                      </a:moveTo>
                      <a:cubicBezTo>
                        <a:pt x="7" y="45"/>
                        <a:pt x="7" y="45"/>
                        <a:pt x="7" y="45"/>
                      </a:cubicBezTo>
                      <a:cubicBezTo>
                        <a:pt x="3" y="45"/>
                        <a:pt x="0" y="42"/>
                        <a:pt x="0" y="39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4" y="0"/>
                        <a:pt x="27" y="3"/>
                        <a:pt x="27" y="7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27" y="42"/>
                        <a:pt x="24" y="45"/>
                        <a:pt x="21" y="4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52" name="Freeform 780"/>
                <p:cNvSpPr>
                  <a:spLocks noChangeAspect="1"/>
                </p:cNvSpPr>
                <p:nvPr/>
              </p:nvSpPr>
              <p:spPr bwMode="auto">
                <a:xfrm>
                  <a:off x="4704630" y="4379495"/>
                  <a:ext cx="63998" cy="106997"/>
                </a:xfrm>
                <a:custGeom>
                  <a:avLst/>
                  <a:gdLst>
                    <a:gd name="T0" fmla="*/ 21 w 27"/>
                    <a:gd name="T1" fmla="*/ 45 h 45"/>
                    <a:gd name="T2" fmla="*/ 7 w 27"/>
                    <a:gd name="T3" fmla="*/ 45 h 45"/>
                    <a:gd name="T4" fmla="*/ 0 w 27"/>
                    <a:gd name="T5" fmla="*/ 39 h 45"/>
                    <a:gd name="T6" fmla="*/ 0 w 27"/>
                    <a:gd name="T7" fmla="*/ 7 h 45"/>
                    <a:gd name="T8" fmla="*/ 7 w 27"/>
                    <a:gd name="T9" fmla="*/ 0 h 45"/>
                    <a:gd name="T10" fmla="*/ 21 w 27"/>
                    <a:gd name="T11" fmla="*/ 0 h 45"/>
                    <a:gd name="T12" fmla="*/ 27 w 27"/>
                    <a:gd name="T13" fmla="*/ 7 h 45"/>
                    <a:gd name="T14" fmla="*/ 27 w 27"/>
                    <a:gd name="T15" fmla="*/ 39 h 45"/>
                    <a:gd name="T16" fmla="*/ 21 w 27"/>
                    <a:gd name="T17" fmla="*/ 45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5">
                      <a:moveTo>
                        <a:pt x="21" y="45"/>
                      </a:moveTo>
                      <a:cubicBezTo>
                        <a:pt x="7" y="45"/>
                        <a:pt x="7" y="45"/>
                        <a:pt x="7" y="45"/>
                      </a:cubicBezTo>
                      <a:cubicBezTo>
                        <a:pt x="3" y="45"/>
                        <a:pt x="0" y="42"/>
                        <a:pt x="0" y="39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24" y="0"/>
                        <a:pt x="27" y="3"/>
                        <a:pt x="27" y="7"/>
                      </a:cubicBezTo>
                      <a:cubicBezTo>
                        <a:pt x="27" y="39"/>
                        <a:pt x="27" y="39"/>
                        <a:pt x="27" y="39"/>
                      </a:cubicBezTo>
                      <a:cubicBezTo>
                        <a:pt x="27" y="42"/>
                        <a:pt x="24" y="45"/>
                        <a:pt x="21" y="45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53" name="Freeform 781"/>
                <p:cNvSpPr>
                  <a:spLocks noChangeAspect="1"/>
                </p:cNvSpPr>
                <p:nvPr/>
              </p:nvSpPr>
              <p:spPr bwMode="auto">
                <a:xfrm>
                  <a:off x="4780627" y="4346496"/>
                  <a:ext cx="30999" cy="51998"/>
                </a:xfrm>
                <a:custGeom>
                  <a:avLst/>
                  <a:gdLst>
                    <a:gd name="T0" fmla="*/ 8 w 13"/>
                    <a:gd name="T1" fmla="*/ 22 h 22"/>
                    <a:gd name="T2" fmla="*/ 6 w 13"/>
                    <a:gd name="T3" fmla="*/ 22 h 22"/>
                    <a:gd name="T4" fmla="*/ 0 w 13"/>
                    <a:gd name="T5" fmla="*/ 16 h 22"/>
                    <a:gd name="T6" fmla="*/ 0 w 13"/>
                    <a:gd name="T7" fmla="*/ 6 h 22"/>
                    <a:gd name="T8" fmla="*/ 6 w 13"/>
                    <a:gd name="T9" fmla="*/ 0 h 22"/>
                    <a:gd name="T10" fmla="*/ 8 w 13"/>
                    <a:gd name="T11" fmla="*/ 0 h 22"/>
                    <a:gd name="T12" fmla="*/ 13 w 13"/>
                    <a:gd name="T13" fmla="*/ 6 h 22"/>
                    <a:gd name="T14" fmla="*/ 13 w 13"/>
                    <a:gd name="T15" fmla="*/ 16 h 22"/>
                    <a:gd name="T16" fmla="*/ 8 w 13"/>
                    <a:gd name="T17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22">
                      <a:moveTo>
                        <a:pt x="8" y="22"/>
                      </a:moveTo>
                      <a:cubicBezTo>
                        <a:pt x="6" y="22"/>
                        <a:pt x="6" y="22"/>
                        <a:pt x="6" y="22"/>
                      </a:cubicBezTo>
                      <a:cubicBezTo>
                        <a:pt x="3" y="22"/>
                        <a:pt x="0" y="20"/>
                        <a:pt x="0" y="1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11" y="0"/>
                        <a:pt x="13" y="3"/>
                        <a:pt x="13" y="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20"/>
                        <a:pt x="11" y="22"/>
                        <a:pt x="8" y="2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92" name="Freeform 782"/>
                <p:cNvSpPr>
                  <a:spLocks noChangeAspect="1"/>
                </p:cNvSpPr>
                <p:nvPr/>
              </p:nvSpPr>
              <p:spPr bwMode="auto">
                <a:xfrm>
                  <a:off x="4676631" y="4294497"/>
                  <a:ext cx="122996" cy="155995"/>
                </a:xfrm>
                <a:custGeom>
                  <a:avLst/>
                  <a:gdLst>
                    <a:gd name="T0" fmla="*/ 45 w 52"/>
                    <a:gd name="T1" fmla="*/ 66 h 66"/>
                    <a:gd name="T2" fmla="*/ 6 w 52"/>
                    <a:gd name="T3" fmla="*/ 66 h 66"/>
                    <a:gd name="T4" fmla="*/ 0 w 52"/>
                    <a:gd name="T5" fmla="*/ 59 h 66"/>
                    <a:gd name="T6" fmla="*/ 0 w 52"/>
                    <a:gd name="T7" fmla="*/ 7 h 66"/>
                    <a:gd name="T8" fmla="*/ 6 w 52"/>
                    <a:gd name="T9" fmla="*/ 0 h 66"/>
                    <a:gd name="T10" fmla="*/ 45 w 52"/>
                    <a:gd name="T11" fmla="*/ 0 h 66"/>
                    <a:gd name="T12" fmla="*/ 52 w 52"/>
                    <a:gd name="T13" fmla="*/ 7 h 66"/>
                    <a:gd name="T14" fmla="*/ 52 w 52"/>
                    <a:gd name="T15" fmla="*/ 59 h 66"/>
                    <a:gd name="T16" fmla="*/ 45 w 52"/>
                    <a:gd name="T17" fmla="*/ 66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2" h="66">
                      <a:moveTo>
                        <a:pt x="45" y="66"/>
                      </a:moveTo>
                      <a:cubicBezTo>
                        <a:pt x="6" y="66"/>
                        <a:pt x="6" y="66"/>
                        <a:pt x="6" y="66"/>
                      </a:cubicBezTo>
                      <a:cubicBezTo>
                        <a:pt x="2" y="66"/>
                        <a:pt x="0" y="63"/>
                        <a:pt x="0" y="59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3"/>
                        <a:pt x="52" y="7"/>
                      </a:cubicBezTo>
                      <a:cubicBezTo>
                        <a:pt x="52" y="59"/>
                        <a:pt x="52" y="59"/>
                        <a:pt x="52" y="59"/>
                      </a:cubicBezTo>
                      <a:cubicBezTo>
                        <a:pt x="52" y="63"/>
                        <a:pt x="49" y="66"/>
                        <a:pt x="45" y="66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solidFill>
                    <a:schemeClr val="bg2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93" name="Freeform 783"/>
                <p:cNvSpPr>
                  <a:spLocks noChangeAspect="1" noEditPoints="1"/>
                </p:cNvSpPr>
                <p:nvPr/>
              </p:nvSpPr>
              <p:spPr bwMode="auto">
                <a:xfrm>
                  <a:off x="4676631" y="4294497"/>
                  <a:ext cx="122996" cy="155995"/>
                </a:xfrm>
                <a:custGeom>
                  <a:avLst/>
                  <a:gdLst>
                    <a:gd name="T0" fmla="*/ 43 w 52"/>
                    <a:gd name="T1" fmla="*/ 9 h 66"/>
                    <a:gd name="T2" fmla="*/ 43 w 52"/>
                    <a:gd name="T3" fmla="*/ 57 h 66"/>
                    <a:gd name="T4" fmla="*/ 8 w 52"/>
                    <a:gd name="T5" fmla="*/ 57 h 66"/>
                    <a:gd name="T6" fmla="*/ 8 w 52"/>
                    <a:gd name="T7" fmla="*/ 9 h 66"/>
                    <a:gd name="T8" fmla="*/ 43 w 52"/>
                    <a:gd name="T9" fmla="*/ 9 h 66"/>
                    <a:gd name="T10" fmla="*/ 45 w 52"/>
                    <a:gd name="T11" fmla="*/ 0 h 66"/>
                    <a:gd name="T12" fmla="*/ 6 w 52"/>
                    <a:gd name="T13" fmla="*/ 0 h 66"/>
                    <a:gd name="T14" fmla="*/ 0 w 52"/>
                    <a:gd name="T15" fmla="*/ 7 h 66"/>
                    <a:gd name="T16" fmla="*/ 0 w 52"/>
                    <a:gd name="T17" fmla="*/ 59 h 66"/>
                    <a:gd name="T18" fmla="*/ 6 w 52"/>
                    <a:gd name="T19" fmla="*/ 66 h 66"/>
                    <a:gd name="T20" fmla="*/ 45 w 52"/>
                    <a:gd name="T21" fmla="*/ 66 h 66"/>
                    <a:gd name="T22" fmla="*/ 52 w 52"/>
                    <a:gd name="T23" fmla="*/ 59 h 66"/>
                    <a:gd name="T24" fmla="*/ 52 w 52"/>
                    <a:gd name="T25" fmla="*/ 7 h 66"/>
                    <a:gd name="T26" fmla="*/ 45 w 52"/>
                    <a:gd name="T27" fmla="*/ 0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2" h="66">
                      <a:moveTo>
                        <a:pt x="43" y="9"/>
                      </a:moveTo>
                      <a:cubicBezTo>
                        <a:pt x="43" y="57"/>
                        <a:pt x="43" y="57"/>
                        <a:pt x="43" y="57"/>
                      </a:cubicBezTo>
                      <a:cubicBezTo>
                        <a:pt x="8" y="57"/>
                        <a:pt x="8" y="57"/>
                        <a:pt x="8" y="57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43" y="9"/>
                        <a:pt x="43" y="9"/>
                        <a:pt x="43" y="9"/>
                      </a:cubicBezTo>
                      <a:moveTo>
                        <a:pt x="45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" y="0"/>
                        <a:pt x="0" y="3"/>
                        <a:pt x="0" y="7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0" y="63"/>
                        <a:pt x="2" y="66"/>
                        <a:pt x="6" y="66"/>
                      </a:cubicBezTo>
                      <a:cubicBezTo>
                        <a:pt x="45" y="66"/>
                        <a:pt x="45" y="66"/>
                        <a:pt x="45" y="66"/>
                      </a:cubicBezTo>
                      <a:cubicBezTo>
                        <a:pt x="49" y="66"/>
                        <a:pt x="52" y="63"/>
                        <a:pt x="52" y="59"/>
                      </a:cubicBezTo>
                      <a:cubicBezTo>
                        <a:pt x="52" y="7"/>
                        <a:pt x="52" y="7"/>
                        <a:pt x="52" y="7"/>
                      </a:cubicBezTo>
                      <a:cubicBezTo>
                        <a:pt x="52" y="3"/>
                        <a:pt x="49" y="0"/>
                        <a:pt x="4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chemeClr val="bg2"/>
                  </a:solidFill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94" name="Freeform 784"/>
                <p:cNvSpPr>
                  <a:spLocks noChangeAspect="1"/>
                </p:cNvSpPr>
                <p:nvPr/>
              </p:nvSpPr>
              <p:spPr bwMode="auto">
                <a:xfrm>
                  <a:off x="4704630" y="4346496"/>
                  <a:ext cx="66998" cy="21999"/>
                </a:xfrm>
                <a:custGeom>
                  <a:avLst/>
                  <a:gdLst>
                    <a:gd name="T0" fmla="*/ 14 w 28"/>
                    <a:gd name="T1" fmla="*/ 0 h 9"/>
                    <a:gd name="T2" fmla="*/ 1 w 28"/>
                    <a:gd name="T3" fmla="*/ 5 h 9"/>
                    <a:gd name="T4" fmla="*/ 1 w 28"/>
                    <a:gd name="T5" fmla="*/ 8 h 9"/>
                    <a:gd name="T6" fmla="*/ 4 w 28"/>
                    <a:gd name="T7" fmla="*/ 8 h 9"/>
                    <a:gd name="T8" fmla="*/ 14 w 28"/>
                    <a:gd name="T9" fmla="*/ 4 h 9"/>
                    <a:gd name="T10" fmla="*/ 24 w 28"/>
                    <a:gd name="T11" fmla="*/ 8 h 9"/>
                    <a:gd name="T12" fmla="*/ 25 w 28"/>
                    <a:gd name="T13" fmla="*/ 9 h 9"/>
                    <a:gd name="T14" fmla="*/ 27 w 28"/>
                    <a:gd name="T15" fmla="*/ 8 h 9"/>
                    <a:gd name="T16" fmla="*/ 27 w 28"/>
                    <a:gd name="T17" fmla="*/ 5 h 9"/>
                    <a:gd name="T18" fmla="*/ 14 w 28"/>
                    <a:gd name="T19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8" h="9">
                      <a:moveTo>
                        <a:pt x="14" y="0"/>
                      </a:moveTo>
                      <a:cubicBezTo>
                        <a:pt x="9" y="0"/>
                        <a:pt x="4" y="2"/>
                        <a:pt x="1" y="5"/>
                      </a:cubicBezTo>
                      <a:cubicBezTo>
                        <a:pt x="0" y="6"/>
                        <a:pt x="0" y="7"/>
                        <a:pt x="1" y="8"/>
                      </a:cubicBezTo>
                      <a:cubicBezTo>
                        <a:pt x="2" y="9"/>
                        <a:pt x="3" y="9"/>
                        <a:pt x="4" y="8"/>
                      </a:cubicBezTo>
                      <a:cubicBezTo>
                        <a:pt x="6" y="6"/>
                        <a:pt x="10" y="4"/>
                        <a:pt x="14" y="4"/>
                      </a:cubicBezTo>
                      <a:cubicBezTo>
                        <a:pt x="18" y="4"/>
                        <a:pt x="21" y="6"/>
                        <a:pt x="24" y="8"/>
                      </a:cubicBezTo>
                      <a:cubicBezTo>
                        <a:pt x="24" y="9"/>
                        <a:pt x="25" y="9"/>
                        <a:pt x="25" y="9"/>
                      </a:cubicBezTo>
                      <a:cubicBezTo>
                        <a:pt x="26" y="9"/>
                        <a:pt x="26" y="9"/>
                        <a:pt x="27" y="8"/>
                      </a:cubicBezTo>
                      <a:cubicBezTo>
                        <a:pt x="28" y="7"/>
                        <a:pt x="28" y="6"/>
                        <a:pt x="27" y="5"/>
                      </a:cubicBezTo>
                      <a:cubicBezTo>
                        <a:pt x="23" y="2"/>
                        <a:pt x="19" y="0"/>
                        <a:pt x="14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95" name="Freeform 785"/>
                <p:cNvSpPr>
                  <a:spLocks noChangeAspect="1"/>
                </p:cNvSpPr>
                <p:nvPr/>
              </p:nvSpPr>
              <p:spPr bwMode="auto">
                <a:xfrm>
                  <a:off x="4716629" y="4360495"/>
                  <a:ext cx="39999" cy="18999"/>
                </a:xfrm>
                <a:custGeom>
                  <a:avLst/>
                  <a:gdLst>
                    <a:gd name="T0" fmla="*/ 1 w 17"/>
                    <a:gd name="T1" fmla="*/ 5 h 8"/>
                    <a:gd name="T2" fmla="*/ 1 w 17"/>
                    <a:gd name="T3" fmla="*/ 8 h 8"/>
                    <a:gd name="T4" fmla="*/ 4 w 17"/>
                    <a:gd name="T5" fmla="*/ 8 h 8"/>
                    <a:gd name="T6" fmla="*/ 14 w 17"/>
                    <a:gd name="T7" fmla="*/ 8 h 8"/>
                    <a:gd name="T8" fmla="*/ 15 w 17"/>
                    <a:gd name="T9" fmla="*/ 8 h 8"/>
                    <a:gd name="T10" fmla="*/ 17 w 17"/>
                    <a:gd name="T11" fmla="*/ 8 h 8"/>
                    <a:gd name="T12" fmla="*/ 17 w 17"/>
                    <a:gd name="T13" fmla="*/ 5 h 8"/>
                    <a:gd name="T14" fmla="*/ 1 w 17"/>
                    <a:gd name="T1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8">
                      <a:moveTo>
                        <a:pt x="1" y="5"/>
                      </a:moveTo>
                      <a:cubicBezTo>
                        <a:pt x="0" y="5"/>
                        <a:pt x="0" y="7"/>
                        <a:pt x="1" y="8"/>
                      </a:cubicBezTo>
                      <a:cubicBezTo>
                        <a:pt x="2" y="8"/>
                        <a:pt x="3" y="8"/>
                        <a:pt x="4" y="8"/>
                      </a:cubicBezTo>
                      <a:cubicBezTo>
                        <a:pt x="7" y="5"/>
                        <a:pt x="11" y="5"/>
                        <a:pt x="14" y="8"/>
                      </a:cubicBezTo>
                      <a:cubicBezTo>
                        <a:pt x="14" y="8"/>
                        <a:pt x="15" y="8"/>
                        <a:pt x="15" y="8"/>
                      </a:cubicBezTo>
                      <a:cubicBezTo>
                        <a:pt x="16" y="8"/>
                        <a:pt x="16" y="8"/>
                        <a:pt x="17" y="8"/>
                      </a:cubicBezTo>
                      <a:cubicBezTo>
                        <a:pt x="17" y="7"/>
                        <a:pt x="17" y="5"/>
                        <a:pt x="17" y="5"/>
                      </a:cubicBezTo>
                      <a:cubicBezTo>
                        <a:pt x="12" y="0"/>
                        <a:pt x="5" y="0"/>
                        <a:pt x="1" y="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96" name="Oval 786"/>
                <p:cNvSpPr>
                  <a:spLocks noChangeAspect="1" noChangeArrowheads="1"/>
                </p:cNvSpPr>
                <p:nvPr/>
              </p:nvSpPr>
              <p:spPr bwMode="auto">
                <a:xfrm>
                  <a:off x="4730629" y="4384495"/>
                  <a:ext cx="15000" cy="14000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</p:grpSp>
          <p:grpSp>
            <p:nvGrpSpPr>
              <p:cNvPr id="123" name="Group 897"/>
              <p:cNvGrpSpPr/>
              <p:nvPr/>
            </p:nvGrpSpPr>
            <p:grpSpPr>
              <a:xfrm>
                <a:off x="3549803" y="3020446"/>
                <a:ext cx="202157" cy="166961"/>
                <a:chOff x="4537635" y="4606488"/>
                <a:chExt cx="223993" cy="184995"/>
              </a:xfrm>
            </p:grpSpPr>
            <p:sp>
              <p:nvSpPr>
                <p:cNvPr id="138" name="Freeform 787"/>
                <p:cNvSpPr>
                  <a:spLocks noChangeAspect="1"/>
                </p:cNvSpPr>
                <p:nvPr/>
              </p:nvSpPr>
              <p:spPr bwMode="auto">
                <a:xfrm>
                  <a:off x="4537635" y="4675486"/>
                  <a:ext cx="223993" cy="82997"/>
                </a:xfrm>
                <a:custGeom>
                  <a:avLst/>
                  <a:gdLst>
                    <a:gd name="T0" fmla="*/ 0 w 95"/>
                    <a:gd name="T1" fmla="*/ 35 h 35"/>
                    <a:gd name="T2" fmla="*/ 0 w 95"/>
                    <a:gd name="T3" fmla="*/ 9 h 35"/>
                    <a:gd name="T4" fmla="*/ 9 w 95"/>
                    <a:gd name="T5" fmla="*/ 0 h 35"/>
                    <a:gd name="T6" fmla="*/ 87 w 95"/>
                    <a:gd name="T7" fmla="*/ 0 h 35"/>
                    <a:gd name="T8" fmla="*/ 95 w 95"/>
                    <a:gd name="T9" fmla="*/ 9 h 35"/>
                    <a:gd name="T10" fmla="*/ 95 w 95"/>
                    <a:gd name="T11" fmla="*/ 35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5" h="35">
                      <a:moveTo>
                        <a:pt x="0" y="35"/>
                      </a:moveTo>
                      <a:cubicBezTo>
                        <a:pt x="0" y="9"/>
                        <a:pt x="0" y="9"/>
                        <a:pt x="0" y="9"/>
                      </a:cubicBezTo>
                      <a:cubicBezTo>
                        <a:pt x="0" y="4"/>
                        <a:pt x="4" y="0"/>
                        <a:pt x="9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91" y="0"/>
                        <a:pt x="95" y="4"/>
                        <a:pt x="95" y="9"/>
                      </a:cubicBezTo>
                      <a:cubicBezTo>
                        <a:pt x="95" y="35"/>
                        <a:pt x="95" y="35"/>
                        <a:pt x="95" y="35"/>
                      </a:cubicBezTo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39" name="Freeform 788"/>
                <p:cNvSpPr>
                  <a:spLocks noChangeAspect="1"/>
                </p:cNvSpPr>
                <p:nvPr/>
              </p:nvSpPr>
              <p:spPr bwMode="auto">
                <a:xfrm>
                  <a:off x="4553634" y="4606488"/>
                  <a:ext cx="191994" cy="77998"/>
                </a:xfrm>
                <a:custGeom>
                  <a:avLst/>
                  <a:gdLst>
                    <a:gd name="T0" fmla="*/ 74 w 81"/>
                    <a:gd name="T1" fmla="*/ 33 h 33"/>
                    <a:gd name="T2" fmla="*/ 66 w 81"/>
                    <a:gd name="T3" fmla="*/ 10 h 33"/>
                    <a:gd name="T4" fmla="*/ 63 w 81"/>
                    <a:gd name="T5" fmla="*/ 7 h 33"/>
                    <a:gd name="T6" fmla="*/ 18 w 81"/>
                    <a:gd name="T7" fmla="*/ 7 h 33"/>
                    <a:gd name="T8" fmla="*/ 15 w 81"/>
                    <a:gd name="T9" fmla="*/ 10 h 33"/>
                    <a:gd name="T10" fmla="*/ 8 w 81"/>
                    <a:gd name="T11" fmla="*/ 33 h 33"/>
                    <a:gd name="T12" fmla="*/ 0 w 81"/>
                    <a:gd name="T13" fmla="*/ 31 h 33"/>
                    <a:gd name="T14" fmla="*/ 8 w 81"/>
                    <a:gd name="T15" fmla="*/ 7 h 33"/>
                    <a:gd name="T16" fmla="*/ 18 w 81"/>
                    <a:gd name="T17" fmla="*/ 0 h 33"/>
                    <a:gd name="T18" fmla="*/ 63 w 81"/>
                    <a:gd name="T19" fmla="*/ 0 h 33"/>
                    <a:gd name="T20" fmla="*/ 73 w 81"/>
                    <a:gd name="T21" fmla="*/ 7 h 33"/>
                    <a:gd name="T22" fmla="*/ 81 w 81"/>
                    <a:gd name="T23" fmla="*/ 31 h 33"/>
                    <a:gd name="T24" fmla="*/ 74 w 81"/>
                    <a:gd name="T25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1" h="33">
                      <a:moveTo>
                        <a:pt x="74" y="33"/>
                      </a:moveTo>
                      <a:cubicBezTo>
                        <a:pt x="66" y="10"/>
                        <a:pt x="66" y="10"/>
                        <a:pt x="66" y="10"/>
                      </a:cubicBezTo>
                      <a:cubicBezTo>
                        <a:pt x="66" y="8"/>
                        <a:pt x="64" y="7"/>
                        <a:pt x="63" y="7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7" y="7"/>
                        <a:pt x="16" y="8"/>
                        <a:pt x="15" y="10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8" y="7"/>
                        <a:pt x="8" y="7"/>
                        <a:pt x="8" y="7"/>
                      </a:cubicBezTo>
                      <a:cubicBezTo>
                        <a:pt x="10" y="3"/>
                        <a:pt x="14" y="0"/>
                        <a:pt x="18" y="0"/>
                      </a:cubicBezTo>
                      <a:cubicBezTo>
                        <a:pt x="63" y="0"/>
                        <a:pt x="63" y="0"/>
                        <a:pt x="63" y="0"/>
                      </a:cubicBezTo>
                      <a:cubicBezTo>
                        <a:pt x="67" y="0"/>
                        <a:pt x="72" y="3"/>
                        <a:pt x="73" y="7"/>
                      </a:cubicBezTo>
                      <a:cubicBezTo>
                        <a:pt x="81" y="31"/>
                        <a:pt x="81" y="31"/>
                        <a:pt x="81" y="31"/>
                      </a:cubicBezTo>
                      <a:lnTo>
                        <a:pt x="74" y="33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40" name="Freeform 789"/>
                <p:cNvSpPr>
                  <a:spLocks noChangeAspect="1"/>
                </p:cNvSpPr>
                <p:nvPr/>
              </p:nvSpPr>
              <p:spPr bwMode="auto">
                <a:xfrm>
                  <a:off x="4563634" y="4713485"/>
                  <a:ext cx="32999" cy="77998"/>
                </a:xfrm>
                <a:custGeom>
                  <a:avLst/>
                  <a:gdLst>
                    <a:gd name="T0" fmla="*/ 7 w 14"/>
                    <a:gd name="T1" fmla="*/ 33 h 33"/>
                    <a:gd name="T2" fmla="*/ 7 w 14"/>
                    <a:gd name="T3" fmla="*/ 33 h 33"/>
                    <a:gd name="T4" fmla="*/ 0 w 14"/>
                    <a:gd name="T5" fmla="*/ 26 h 33"/>
                    <a:gd name="T6" fmla="*/ 0 w 14"/>
                    <a:gd name="T7" fmla="*/ 7 h 33"/>
                    <a:gd name="T8" fmla="*/ 7 w 14"/>
                    <a:gd name="T9" fmla="*/ 0 h 33"/>
                    <a:gd name="T10" fmla="*/ 14 w 14"/>
                    <a:gd name="T11" fmla="*/ 7 h 33"/>
                    <a:gd name="T12" fmla="*/ 14 w 14"/>
                    <a:gd name="T13" fmla="*/ 26 h 33"/>
                    <a:gd name="T14" fmla="*/ 7 w 14"/>
                    <a:gd name="T15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" h="33">
                      <a:moveTo>
                        <a:pt x="7" y="33"/>
                      </a:move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3" y="33"/>
                        <a:pt x="0" y="29"/>
                        <a:pt x="0" y="26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cubicBezTo>
                        <a:pt x="11" y="0"/>
                        <a:pt x="14" y="3"/>
                        <a:pt x="14" y="7"/>
                      </a:cubicBezTo>
                      <a:cubicBezTo>
                        <a:pt x="14" y="26"/>
                        <a:pt x="14" y="26"/>
                        <a:pt x="14" y="26"/>
                      </a:cubicBezTo>
                      <a:cubicBezTo>
                        <a:pt x="14" y="29"/>
                        <a:pt x="11" y="33"/>
                        <a:pt x="7" y="33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41" name="Oval 790"/>
                <p:cNvSpPr>
                  <a:spLocks noChangeAspect="1" noChangeArrowheads="1"/>
                </p:cNvSpPr>
                <p:nvPr/>
              </p:nvSpPr>
              <p:spPr bwMode="auto">
                <a:xfrm>
                  <a:off x="4563634" y="4684485"/>
                  <a:ext cx="32999" cy="3299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42" name="Freeform 791"/>
                <p:cNvSpPr>
                  <a:spLocks noChangeAspect="1"/>
                </p:cNvSpPr>
                <p:nvPr/>
              </p:nvSpPr>
              <p:spPr bwMode="auto">
                <a:xfrm>
                  <a:off x="4704630" y="4713485"/>
                  <a:ext cx="30999" cy="77998"/>
                </a:xfrm>
                <a:custGeom>
                  <a:avLst/>
                  <a:gdLst>
                    <a:gd name="T0" fmla="*/ 7 w 13"/>
                    <a:gd name="T1" fmla="*/ 33 h 33"/>
                    <a:gd name="T2" fmla="*/ 7 w 13"/>
                    <a:gd name="T3" fmla="*/ 33 h 33"/>
                    <a:gd name="T4" fmla="*/ 0 w 13"/>
                    <a:gd name="T5" fmla="*/ 26 h 33"/>
                    <a:gd name="T6" fmla="*/ 0 w 13"/>
                    <a:gd name="T7" fmla="*/ 7 h 33"/>
                    <a:gd name="T8" fmla="*/ 7 w 13"/>
                    <a:gd name="T9" fmla="*/ 0 h 33"/>
                    <a:gd name="T10" fmla="*/ 13 w 13"/>
                    <a:gd name="T11" fmla="*/ 7 h 33"/>
                    <a:gd name="T12" fmla="*/ 13 w 13"/>
                    <a:gd name="T13" fmla="*/ 26 h 33"/>
                    <a:gd name="T14" fmla="*/ 7 w 13"/>
                    <a:gd name="T15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33">
                      <a:moveTo>
                        <a:pt x="7" y="33"/>
                      </a:move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3" y="33"/>
                        <a:pt x="0" y="29"/>
                        <a:pt x="0" y="26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3" y="0"/>
                        <a:pt x="7" y="0"/>
                      </a:cubicBezTo>
                      <a:cubicBezTo>
                        <a:pt x="10" y="0"/>
                        <a:pt x="13" y="3"/>
                        <a:pt x="13" y="7"/>
                      </a:cubicBezTo>
                      <a:cubicBezTo>
                        <a:pt x="13" y="26"/>
                        <a:pt x="13" y="26"/>
                        <a:pt x="13" y="26"/>
                      </a:cubicBezTo>
                      <a:cubicBezTo>
                        <a:pt x="13" y="29"/>
                        <a:pt x="10" y="33"/>
                        <a:pt x="7" y="33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43" name="Oval 792"/>
                <p:cNvSpPr>
                  <a:spLocks noChangeAspect="1" noChangeArrowheads="1"/>
                </p:cNvSpPr>
                <p:nvPr/>
              </p:nvSpPr>
              <p:spPr bwMode="auto">
                <a:xfrm>
                  <a:off x="4704630" y="4684485"/>
                  <a:ext cx="30999" cy="3299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grpSp>
              <p:nvGrpSpPr>
                <p:cNvPr id="147" name="Group 890"/>
                <p:cNvGrpSpPr/>
                <p:nvPr/>
              </p:nvGrpSpPr>
              <p:grpSpPr>
                <a:xfrm>
                  <a:off x="4612633" y="4694485"/>
                  <a:ext cx="72998" cy="56999"/>
                  <a:chOff x="4612633" y="4694485"/>
                  <a:chExt cx="72998" cy="56999"/>
                </a:xfrm>
                <a:solidFill>
                  <a:schemeClr val="bg2"/>
                </a:solidFill>
              </p:grpSpPr>
              <p:sp>
                <p:nvSpPr>
                  <p:cNvPr id="148" name="Freeform 793"/>
                  <p:cNvSpPr>
                    <a:spLocks noChangeAspect="1"/>
                  </p:cNvSpPr>
                  <p:nvPr/>
                </p:nvSpPr>
                <p:spPr bwMode="auto">
                  <a:xfrm>
                    <a:off x="4612633" y="4694485"/>
                    <a:ext cx="72998" cy="22999"/>
                  </a:xfrm>
                  <a:custGeom>
                    <a:avLst/>
                    <a:gdLst>
                      <a:gd name="T0" fmla="*/ 16 w 31"/>
                      <a:gd name="T1" fmla="*/ 0 h 10"/>
                      <a:gd name="T2" fmla="*/ 1 w 31"/>
                      <a:gd name="T3" fmla="*/ 6 h 10"/>
                      <a:gd name="T4" fmla="*/ 1 w 31"/>
                      <a:gd name="T5" fmla="*/ 9 h 10"/>
                      <a:gd name="T6" fmla="*/ 4 w 31"/>
                      <a:gd name="T7" fmla="*/ 9 h 10"/>
                      <a:gd name="T8" fmla="*/ 16 w 31"/>
                      <a:gd name="T9" fmla="*/ 4 h 10"/>
                      <a:gd name="T10" fmla="*/ 27 w 31"/>
                      <a:gd name="T11" fmla="*/ 9 h 10"/>
                      <a:gd name="T12" fmla="*/ 29 w 31"/>
                      <a:gd name="T13" fmla="*/ 10 h 10"/>
                      <a:gd name="T14" fmla="*/ 30 w 31"/>
                      <a:gd name="T15" fmla="*/ 9 h 10"/>
                      <a:gd name="T16" fmla="*/ 30 w 31"/>
                      <a:gd name="T17" fmla="*/ 6 h 10"/>
                      <a:gd name="T18" fmla="*/ 16 w 31"/>
                      <a:gd name="T19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1" h="10">
                        <a:moveTo>
                          <a:pt x="16" y="0"/>
                        </a:moveTo>
                        <a:cubicBezTo>
                          <a:pt x="10" y="0"/>
                          <a:pt x="5" y="2"/>
                          <a:pt x="1" y="6"/>
                        </a:cubicBezTo>
                        <a:cubicBezTo>
                          <a:pt x="0" y="7"/>
                          <a:pt x="0" y="8"/>
                          <a:pt x="1" y="9"/>
                        </a:cubicBezTo>
                        <a:cubicBezTo>
                          <a:pt x="2" y="10"/>
                          <a:pt x="3" y="10"/>
                          <a:pt x="4" y="9"/>
                        </a:cubicBezTo>
                        <a:cubicBezTo>
                          <a:pt x="7" y="6"/>
                          <a:pt x="11" y="4"/>
                          <a:pt x="16" y="4"/>
                        </a:cubicBezTo>
                        <a:cubicBezTo>
                          <a:pt x="20" y="4"/>
                          <a:pt x="24" y="6"/>
                          <a:pt x="27" y="9"/>
                        </a:cubicBezTo>
                        <a:cubicBezTo>
                          <a:pt x="28" y="9"/>
                          <a:pt x="28" y="10"/>
                          <a:pt x="29" y="10"/>
                        </a:cubicBezTo>
                        <a:cubicBezTo>
                          <a:pt x="29" y="10"/>
                          <a:pt x="30" y="9"/>
                          <a:pt x="30" y="9"/>
                        </a:cubicBezTo>
                        <a:cubicBezTo>
                          <a:pt x="31" y="8"/>
                          <a:pt x="31" y="7"/>
                          <a:pt x="30" y="6"/>
                        </a:cubicBezTo>
                        <a:cubicBezTo>
                          <a:pt x="26" y="2"/>
                          <a:pt x="21" y="0"/>
                          <a:pt x="16" y="0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>
                      <a:solidFill>
                        <a:srgbClr val="282828"/>
                      </a:solidFill>
                      <a:latin typeface="CiscoSans ExtraLight"/>
                      <a:ea typeface=""/>
                      <a:cs typeface=""/>
                    </a:endParaRPr>
                  </a:p>
                </p:txBody>
              </p:sp>
              <p:sp>
                <p:nvSpPr>
                  <p:cNvPr id="149" name="Freeform 794"/>
                  <p:cNvSpPr>
                    <a:spLocks noChangeAspect="1"/>
                  </p:cNvSpPr>
                  <p:nvPr/>
                </p:nvSpPr>
                <p:spPr bwMode="auto">
                  <a:xfrm>
                    <a:off x="4626632" y="4710485"/>
                    <a:ext cx="44999" cy="21999"/>
                  </a:xfrm>
                  <a:custGeom>
                    <a:avLst/>
                    <a:gdLst>
                      <a:gd name="T0" fmla="*/ 1 w 19"/>
                      <a:gd name="T1" fmla="*/ 5 h 9"/>
                      <a:gd name="T2" fmla="*/ 1 w 19"/>
                      <a:gd name="T3" fmla="*/ 8 h 9"/>
                      <a:gd name="T4" fmla="*/ 4 w 19"/>
                      <a:gd name="T5" fmla="*/ 8 h 9"/>
                      <a:gd name="T6" fmla="*/ 15 w 19"/>
                      <a:gd name="T7" fmla="*/ 8 h 9"/>
                      <a:gd name="T8" fmla="*/ 17 w 19"/>
                      <a:gd name="T9" fmla="*/ 9 h 9"/>
                      <a:gd name="T10" fmla="*/ 18 w 19"/>
                      <a:gd name="T11" fmla="*/ 8 h 9"/>
                      <a:gd name="T12" fmla="*/ 18 w 19"/>
                      <a:gd name="T13" fmla="*/ 5 h 9"/>
                      <a:gd name="T14" fmla="*/ 1 w 19"/>
                      <a:gd name="T15" fmla="*/ 5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9" h="9">
                        <a:moveTo>
                          <a:pt x="1" y="5"/>
                        </a:moveTo>
                        <a:cubicBezTo>
                          <a:pt x="0" y="6"/>
                          <a:pt x="0" y="7"/>
                          <a:pt x="1" y="8"/>
                        </a:cubicBezTo>
                        <a:cubicBezTo>
                          <a:pt x="2" y="9"/>
                          <a:pt x="3" y="9"/>
                          <a:pt x="4" y="8"/>
                        </a:cubicBezTo>
                        <a:cubicBezTo>
                          <a:pt x="7" y="5"/>
                          <a:pt x="12" y="5"/>
                          <a:pt x="15" y="8"/>
                        </a:cubicBezTo>
                        <a:cubicBezTo>
                          <a:pt x="15" y="8"/>
                          <a:pt x="16" y="9"/>
                          <a:pt x="17" y="9"/>
                        </a:cubicBezTo>
                        <a:cubicBezTo>
                          <a:pt x="17" y="9"/>
                          <a:pt x="18" y="8"/>
                          <a:pt x="18" y="8"/>
                        </a:cubicBezTo>
                        <a:cubicBezTo>
                          <a:pt x="19" y="7"/>
                          <a:pt x="19" y="6"/>
                          <a:pt x="18" y="5"/>
                        </a:cubicBezTo>
                        <a:cubicBezTo>
                          <a:pt x="14" y="0"/>
                          <a:pt x="6" y="0"/>
                          <a:pt x="1" y="5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>
                      <a:solidFill>
                        <a:srgbClr val="282828"/>
                      </a:solidFill>
                      <a:latin typeface="CiscoSans ExtraLight"/>
                      <a:ea typeface=""/>
                      <a:cs typeface=""/>
                    </a:endParaRPr>
                  </a:p>
                </p:txBody>
              </p:sp>
              <p:sp>
                <p:nvSpPr>
                  <p:cNvPr id="150" name="Oval 795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41632" y="4736484"/>
                    <a:ext cx="16000" cy="15000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>
                      <a:solidFill>
                        <a:srgbClr val="282828"/>
                      </a:solidFill>
                      <a:latin typeface="CiscoSans ExtraLight"/>
                      <a:ea typeface=""/>
                      <a:cs typeface=""/>
                    </a:endParaRPr>
                  </a:p>
                </p:txBody>
              </p:sp>
            </p:grpSp>
          </p:grpSp>
          <p:grpSp>
            <p:nvGrpSpPr>
              <p:cNvPr id="127" name="Group 895"/>
              <p:cNvGrpSpPr/>
              <p:nvPr/>
            </p:nvGrpSpPr>
            <p:grpSpPr>
              <a:xfrm>
                <a:off x="3317025" y="2793490"/>
                <a:ext cx="261622" cy="204220"/>
                <a:chOff x="4418639" y="4379495"/>
                <a:chExt cx="236992" cy="184994"/>
              </a:xfrm>
            </p:grpSpPr>
            <p:sp>
              <p:nvSpPr>
                <p:cNvPr id="128" name="Freeform 796"/>
                <p:cNvSpPr>
                  <a:spLocks noChangeAspect="1"/>
                </p:cNvSpPr>
                <p:nvPr/>
              </p:nvSpPr>
              <p:spPr bwMode="auto">
                <a:xfrm>
                  <a:off x="4454637" y="4422493"/>
                  <a:ext cx="164995" cy="141996"/>
                </a:xfrm>
                <a:custGeom>
                  <a:avLst/>
                  <a:gdLst>
                    <a:gd name="T0" fmla="*/ 35 w 70"/>
                    <a:gd name="T1" fmla="*/ 0 h 60"/>
                    <a:gd name="T2" fmla="*/ 0 w 70"/>
                    <a:gd name="T3" fmla="*/ 27 h 60"/>
                    <a:gd name="T4" fmla="*/ 0 w 70"/>
                    <a:gd name="T5" fmla="*/ 60 h 60"/>
                    <a:gd name="T6" fmla="*/ 25 w 70"/>
                    <a:gd name="T7" fmla="*/ 60 h 60"/>
                    <a:gd name="T8" fmla="*/ 25 w 70"/>
                    <a:gd name="T9" fmla="*/ 46 h 60"/>
                    <a:gd name="T10" fmla="*/ 35 w 70"/>
                    <a:gd name="T11" fmla="*/ 36 h 60"/>
                    <a:gd name="T12" fmla="*/ 45 w 70"/>
                    <a:gd name="T13" fmla="*/ 46 h 60"/>
                    <a:gd name="T14" fmla="*/ 45 w 70"/>
                    <a:gd name="T15" fmla="*/ 60 h 60"/>
                    <a:gd name="T16" fmla="*/ 70 w 70"/>
                    <a:gd name="T17" fmla="*/ 60 h 60"/>
                    <a:gd name="T18" fmla="*/ 70 w 70"/>
                    <a:gd name="T19" fmla="*/ 27 h 60"/>
                    <a:gd name="T20" fmla="*/ 35 w 70"/>
                    <a:gd name="T21" fmla="*/ 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0" h="60">
                      <a:moveTo>
                        <a:pt x="35" y="0"/>
                      </a:move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46"/>
                        <a:pt x="25" y="46"/>
                        <a:pt x="25" y="46"/>
                      </a:cubicBezTo>
                      <a:cubicBezTo>
                        <a:pt x="25" y="41"/>
                        <a:pt x="30" y="36"/>
                        <a:pt x="35" y="36"/>
                      </a:cubicBezTo>
                      <a:cubicBezTo>
                        <a:pt x="40" y="36"/>
                        <a:pt x="45" y="41"/>
                        <a:pt x="45" y="46"/>
                      </a:cubicBezTo>
                      <a:cubicBezTo>
                        <a:pt x="45" y="60"/>
                        <a:pt x="45" y="60"/>
                        <a:pt x="45" y="60"/>
                      </a:cubicBezTo>
                      <a:cubicBezTo>
                        <a:pt x="70" y="60"/>
                        <a:pt x="70" y="60"/>
                        <a:pt x="70" y="60"/>
                      </a:cubicBezTo>
                      <a:cubicBezTo>
                        <a:pt x="70" y="27"/>
                        <a:pt x="70" y="27"/>
                        <a:pt x="70" y="27"/>
                      </a:cubicBezTo>
                      <a:lnTo>
                        <a:pt x="35" y="0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29" name="Freeform 797"/>
                <p:cNvSpPr>
                  <a:spLocks noChangeAspect="1"/>
                </p:cNvSpPr>
                <p:nvPr/>
              </p:nvSpPr>
              <p:spPr bwMode="auto">
                <a:xfrm>
                  <a:off x="4527635" y="4379495"/>
                  <a:ext cx="127996" cy="101997"/>
                </a:xfrm>
                <a:custGeom>
                  <a:avLst/>
                  <a:gdLst>
                    <a:gd name="T0" fmla="*/ 50 w 54"/>
                    <a:gd name="T1" fmla="*/ 43 h 43"/>
                    <a:gd name="T2" fmla="*/ 47 w 54"/>
                    <a:gd name="T3" fmla="*/ 43 h 43"/>
                    <a:gd name="T4" fmla="*/ 2 w 54"/>
                    <a:gd name="T5" fmla="*/ 8 h 43"/>
                    <a:gd name="T6" fmla="*/ 1 w 54"/>
                    <a:gd name="T7" fmla="*/ 3 h 43"/>
                    <a:gd name="T8" fmla="*/ 6 w 54"/>
                    <a:gd name="T9" fmla="*/ 2 h 43"/>
                    <a:gd name="T10" fmla="*/ 52 w 54"/>
                    <a:gd name="T11" fmla="*/ 36 h 43"/>
                    <a:gd name="T12" fmla="*/ 53 w 54"/>
                    <a:gd name="T13" fmla="*/ 42 h 43"/>
                    <a:gd name="T14" fmla="*/ 50 w 54"/>
                    <a:gd name="T15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4" h="43">
                      <a:moveTo>
                        <a:pt x="50" y="43"/>
                      </a:moveTo>
                      <a:cubicBezTo>
                        <a:pt x="49" y="43"/>
                        <a:pt x="48" y="43"/>
                        <a:pt x="47" y="43"/>
                      </a:cubicBezTo>
                      <a:cubicBezTo>
                        <a:pt x="2" y="8"/>
                        <a:pt x="2" y="8"/>
                        <a:pt x="2" y="8"/>
                      </a:cubicBezTo>
                      <a:cubicBezTo>
                        <a:pt x="0" y="7"/>
                        <a:pt x="0" y="4"/>
                        <a:pt x="1" y="3"/>
                      </a:cubicBezTo>
                      <a:cubicBezTo>
                        <a:pt x="2" y="1"/>
                        <a:pt x="5" y="0"/>
                        <a:pt x="6" y="2"/>
                      </a:cubicBezTo>
                      <a:cubicBezTo>
                        <a:pt x="52" y="36"/>
                        <a:pt x="52" y="36"/>
                        <a:pt x="52" y="36"/>
                      </a:cubicBezTo>
                      <a:cubicBezTo>
                        <a:pt x="54" y="38"/>
                        <a:pt x="54" y="40"/>
                        <a:pt x="53" y="42"/>
                      </a:cubicBezTo>
                      <a:cubicBezTo>
                        <a:pt x="52" y="43"/>
                        <a:pt x="51" y="43"/>
                        <a:pt x="50" y="43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30" name="Freeform 798"/>
                <p:cNvSpPr>
                  <a:spLocks noChangeAspect="1"/>
                </p:cNvSpPr>
                <p:nvPr/>
              </p:nvSpPr>
              <p:spPr bwMode="auto">
                <a:xfrm>
                  <a:off x="4418639" y="4379495"/>
                  <a:ext cx="127996" cy="101997"/>
                </a:xfrm>
                <a:custGeom>
                  <a:avLst/>
                  <a:gdLst>
                    <a:gd name="T0" fmla="*/ 4 w 54"/>
                    <a:gd name="T1" fmla="*/ 43 h 43"/>
                    <a:gd name="T2" fmla="*/ 1 w 54"/>
                    <a:gd name="T3" fmla="*/ 42 h 43"/>
                    <a:gd name="T4" fmla="*/ 2 w 54"/>
                    <a:gd name="T5" fmla="*/ 36 h 43"/>
                    <a:gd name="T6" fmla="*/ 48 w 54"/>
                    <a:gd name="T7" fmla="*/ 2 h 43"/>
                    <a:gd name="T8" fmla="*/ 53 w 54"/>
                    <a:gd name="T9" fmla="*/ 3 h 43"/>
                    <a:gd name="T10" fmla="*/ 52 w 54"/>
                    <a:gd name="T11" fmla="*/ 8 h 43"/>
                    <a:gd name="T12" fmla="*/ 7 w 54"/>
                    <a:gd name="T13" fmla="*/ 43 h 43"/>
                    <a:gd name="T14" fmla="*/ 4 w 54"/>
                    <a:gd name="T15" fmla="*/ 4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4" h="43">
                      <a:moveTo>
                        <a:pt x="4" y="43"/>
                      </a:moveTo>
                      <a:cubicBezTo>
                        <a:pt x="3" y="43"/>
                        <a:pt x="2" y="43"/>
                        <a:pt x="1" y="42"/>
                      </a:cubicBezTo>
                      <a:cubicBezTo>
                        <a:pt x="0" y="40"/>
                        <a:pt x="0" y="38"/>
                        <a:pt x="2" y="36"/>
                      </a:cubicBezTo>
                      <a:cubicBezTo>
                        <a:pt x="48" y="2"/>
                        <a:pt x="48" y="2"/>
                        <a:pt x="48" y="2"/>
                      </a:cubicBezTo>
                      <a:cubicBezTo>
                        <a:pt x="49" y="0"/>
                        <a:pt x="52" y="1"/>
                        <a:pt x="53" y="3"/>
                      </a:cubicBezTo>
                      <a:cubicBezTo>
                        <a:pt x="54" y="4"/>
                        <a:pt x="54" y="7"/>
                        <a:pt x="52" y="8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6" y="43"/>
                        <a:pt x="5" y="43"/>
                        <a:pt x="4" y="43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grpSp>
              <p:nvGrpSpPr>
                <p:cNvPr id="131" name="Group 891"/>
                <p:cNvGrpSpPr>
                  <a:grpSpLocks noChangeAspect="1"/>
                </p:cNvGrpSpPr>
                <p:nvPr/>
              </p:nvGrpSpPr>
              <p:grpSpPr>
                <a:xfrm>
                  <a:off x="4503636" y="4445415"/>
                  <a:ext cx="66998" cy="52314"/>
                  <a:chOff x="4612633" y="4694485"/>
                  <a:chExt cx="72998" cy="56999"/>
                </a:xfrm>
                <a:solidFill>
                  <a:schemeClr val="bg2"/>
                </a:solidFill>
              </p:grpSpPr>
              <p:sp>
                <p:nvSpPr>
                  <p:cNvPr id="132" name="Freeform 793"/>
                  <p:cNvSpPr>
                    <a:spLocks noChangeAspect="1"/>
                  </p:cNvSpPr>
                  <p:nvPr/>
                </p:nvSpPr>
                <p:spPr bwMode="auto">
                  <a:xfrm>
                    <a:off x="4612633" y="4694485"/>
                    <a:ext cx="72998" cy="22999"/>
                  </a:xfrm>
                  <a:custGeom>
                    <a:avLst/>
                    <a:gdLst>
                      <a:gd name="T0" fmla="*/ 16 w 31"/>
                      <a:gd name="T1" fmla="*/ 0 h 10"/>
                      <a:gd name="T2" fmla="*/ 1 w 31"/>
                      <a:gd name="T3" fmla="*/ 6 h 10"/>
                      <a:gd name="T4" fmla="*/ 1 w 31"/>
                      <a:gd name="T5" fmla="*/ 9 h 10"/>
                      <a:gd name="T6" fmla="*/ 4 w 31"/>
                      <a:gd name="T7" fmla="*/ 9 h 10"/>
                      <a:gd name="T8" fmla="*/ 16 w 31"/>
                      <a:gd name="T9" fmla="*/ 4 h 10"/>
                      <a:gd name="T10" fmla="*/ 27 w 31"/>
                      <a:gd name="T11" fmla="*/ 9 h 10"/>
                      <a:gd name="T12" fmla="*/ 29 w 31"/>
                      <a:gd name="T13" fmla="*/ 10 h 10"/>
                      <a:gd name="T14" fmla="*/ 30 w 31"/>
                      <a:gd name="T15" fmla="*/ 9 h 10"/>
                      <a:gd name="T16" fmla="*/ 30 w 31"/>
                      <a:gd name="T17" fmla="*/ 6 h 10"/>
                      <a:gd name="T18" fmla="*/ 16 w 31"/>
                      <a:gd name="T19" fmla="*/ 0 h 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1" h="10">
                        <a:moveTo>
                          <a:pt x="16" y="0"/>
                        </a:moveTo>
                        <a:cubicBezTo>
                          <a:pt x="10" y="0"/>
                          <a:pt x="5" y="2"/>
                          <a:pt x="1" y="6"/>
                        </a:cubicBezTo>
                        <a:cubicBezTo>
                          <a:pt x="0" y="7"/>
                          <a:pt x="0" y="8"/>
                          <a:pt x="1" y="9"/>
                        </a:cubicBezTo>
                        <a:cubicBezTo>
                          <a:pt x="2" y="10"/>
                          <a:pt x="3" y="10"/>
                          <a:pt x="4" y="9"/>
                        </a:cubicBezTo>
                        <a:cubicBezTo>
                          <a:pt x="7" y="6"/>
                          <a:pt x="11" y="4"/>
                          <a:pt x="16" y="4"/>
                        </a:cubicBezTo>
                        <a:cubicBezTo>
                          <a:pt x="20" y="4"/>
                          <a:pt x="24" y="6"/>
                          <a:pt x="27" y="9"/>
                        </a:cubicBezTo>
                        <a:cubicBezTo>
                          <a:pt x="28" y="9"/>
                          <a:pt x="28" y="10"/>
                          <a:pt x="29" y="10"/>
                        </a:cubicBezTo>
                        <a:cubicBezTo>
                          <a:pt x="29" y="10"/>
                          <a:pt x="30" y="9"/>
                          <a:pt x="30" y="9"/>
                        </a:cubicBezTo>
                        <a:cubicBezTo>
                          <a:pt x="31" y="8"/>
                          <a:pt x="31" y="7"/>
                          <a:pt x="30" y="6"/>
                        </a:cubicBezTo>
                        <a:cubicBezTo>
                          <a:pt x="26" y="2"/>
                          <a:pt x="21" y="0"/>
                          <a:pt x="16" y="0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>
                      <a:solidFill>
                        <a:srgbClr val="282828"/>
                      </a:solidFill>
                      <a:latin typeface="CiscoSans ExtraLight"/>
                      <a:ea typeface=""/>
                      <a:cs typeface=""/>
                    </a:endParaRPr>
                  </a:p>
                </p:txBody>
              </p:sp>
              <p:sp>
                <p:nvSpPr>
                  <p:cNvPr id="133" name="Freeform 794"/>
                  <p:cNvSpPr>
                    <a:spLocks noChangeAspect="1"/>
                  </p:cNvSpPr>
                  <p:nvPr/>
                </p:nvSpPr>
                <p:spPr bwMode="auto">
                  <a:xfrm>
                    <a:off x="4626632" y="4710485"/>
                    <a:ext cx="44999" cy="21999"/>
                  </a:xfrm>
                  <a:custGeom>
                    <a:avLst/>
                    <a:gdLst>
                      <a:gd name="T0" fmla="*/ 1 w 19"/>
                      <a:gd name="T1" fmla="*/ 5 h 9"/>
                      <a:gd name="T2" fmla="*/ 1 w 19"/>
                      <a:gd name="T3" fmla="*/ 8 h 9"/>
                      <a:gd name="T4" fmla="*/ 4 w 19"/>
                      <a:gd name="T5" fmla="*/ 8 h 9"/>
                      <a:gd name="T6" fmla="*/ 15 w 19"/>
                      <a:gd name="T7" fmla="*/ 8 h 9"/>
                      <a:gd name="T8" fmla="*/ 17 w 19"/>
                      <a:gd name="T9" fmla="*/ 9 h 9"/>
                      <a:gd name="T10" fmla="*/ 18 w 19"/>
                      <a:gd name="T11" fmla="*/ 8 h 9"/>
                      <a:gd name="T12" fmla="*/ 18 w 19"/>
                      <a:gd name="T13" fmla="*/ 5 h 9"/>
                      <a:gd name="T14" fmla="*/ 1 w 19"/>
                      <a:gd name="T15" fmla="*/ 5 h 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9" h="9">
                        <a:moveTo>
                          <a:pt x="1" y="5"/>
                        </a:moveTo>
                        <a:cubicBezTo>
                          <a:pt x="0" y="6"/>
                          <a:pt x="0" y="7"/>
                          <a:pt x="1" y="8"/>
                        </a:cubicBezTo>
                        <a:cubicBezTo>
                          <a:pt x="2" y="9"/>
                          <a:pt x="3" y="9"/>
                          <a:pt x="4" y="8"/>
                        </a:cubicBezTo>
                        <a:cubicBezTo>
                          <a:pt x="7" y="5"/>
                          <a:pt x="12" y="5"/>
                          <a:pt x="15" y="8"/>
                        </a:cubicBezTo>
                        <a:cubicBezTo>
                          <a:pt x="15" y="8"/>
                          <a:pt x="16" y="9"/>
                          <a:pt x="17" y="9"/>
                        </a:cubicBezTo>
                        <a:cubicBezTo>
                          <a:pt x="17" y="9"/>
                          <a:pt x="18" y="8"/>
                          <a:pt x="18" y="8"/>
                        </a:cubicBezTo>
                        <a:cubicBezTo>
                          <a:pt x="19" y="7"/>
                          <a:pt x="19" y="6"/>
                          <a:pt x="18" y="5"/>
                        </a:cubicBezTo>
                        <a:cubicBezTo>
                          <a:pt x="14" y="0"/>
                          <a:pt x="6" y="0"/>
                          <a:pt x="1" y="5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>
                      <a:solidFill>
                        <a:srgbClr val="282828"/>
                      </a:solidFill>
                      <a:latin typeface="CiscoSans ExtraLight"/>
                      <a:ea typeface=""/>
                      <a:cs typeface=""/>
                    </a:endParaRPr>
                  </a:p>
                </p:txBody>
              </p:sp>
              <p:sp>
                <p:nvSpPr>
                  <p:cNvPr id="137" name="Oval 795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4641632" y="4736484"/>
                    <a:ext cx="16000" cy="15000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6858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>
                      <a:solidFill>
                        <a:srgbClr val="282828"/>
                      </a:solidFill>
                      <a:latin typeface="CiscoSans ExtraLight"/>
                      <a:ea typeface=""/>
                      <a:cs typeface=""/>
                    </a:endParaRPr>
                  </a:p>
                </p:txBody>
              </p:sp>
            </p:grpSp>
          </p:grpSp>
        </p:grpSp>
        <p:sp>
          <p:nvSpPr>
            <p:cNvPr id="205" name="Freeform 7"/>
            <p:cNvSpPr>
              <a:spLocks/>
            </p:cNvSpPr>
            <p:nvPr/>
          </p:nvSpPr>
          <p:spPr bwMode="auto">
            <a:xfrm>
              <a:off x="5148632" y="3262689"/>
              <a:ext cx="195710" cy="274865"/>
            </a:xfrm>
            <a:custGeom>
              <a:avLst/>
              <a:gdLst/>
              <a:ahLst/>
              <a:cxnLst>
                <a:cxn ang="0">
                  <a:pos x="365" y="244"/>
                </a:cxn>
                <a:cxn ang="0">
                  <a:pos x="365" y="291"/>
                </a:cxn>
                <a:cxn ang="0">
                  <a:pos x="199" y="408"/>
                </a:cxn>
                <a:cxn ang="0">
                  <a:pos x="31" y="526"/>
                </a:cxn>
                <a:cxn ang="0">
                  <a:pos x="0" y="510"/>
                </a:cxn>
                <a:cxn ang="0">
                  <a:pos x="0" y="268"/>
                </a:cxn>
                <a:cxn ang="0">
                  <a:pos x="0" y="25"/>
                </a:cxn>
                <a:cxn ang="0">
                  <a:pos x="31" y="9"/>
                </a:cxn>
                <a:cxn ang="0">
                  <a:pos x="199" y="127"/>
                </a:cxn>
                <a:cxn ang="0">
                  <a:pos x="365" y="244"/>
                </a:cxn>
              </a:cxnLst>
              <a:rect l="0" t="0" r="r" b="b"/>
              <a:pathLst>
                <a:path w="381" h="535">
                  <a:moveTo>
                    <a:pt x="365" y="244"/>
                  </a:moveTo>
                  <a:cubicBezTo>
                    <a:pt x="381" y="256"/>
                    <a:pt x="381" y="280"/>
                    <a:pt x="365" y="291"/>
                  </a:cubicBezTo>
                  <a:cubicBezTo>
                    <a:pt x="199" y="408"/>
                    <a:pt x="199" y="408"/>
                    <a:pt x="199" y="408"/>
                  </a:cubicBezTo>
                  <a:cubicBezTo>
                    <a:pt x="31" y="526"/>
                    <a:pt x="31" y="526"/>
                    <a:pt x="31" y="526"/>
                  </a:cubicBezTo>
                  <a:cubicBezTo>
                    <a:pt x="18" y="535"/>
                    <a:pt x="0" y="526"/>
                    <a:pt x="0" y="510"/>
                  </a:cubicBezTo>
                  <a:cubicBezTo>
                    <a:pt x="0" y="268"/>
                    <a:pt x="0" y="268"/>
                    <a:pt x="0" y="268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9"/>
                    <a:pt x="18" y="0"/>
                    <a:pt x="31" y="9"/>
                  </a:cubicBezTo>
                  <a:cubicBezTo>
                    <a:pt x="199" y="127"/>
                    <a:pt x="199" y="127"/>
                    <a:pt x="199" y="127"/>
                  </a:cubicBezTo>
                  <a:lnTo>
                    <a:pt x="365" y="2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282828"/>
                </a:solidFill>
                <a:latin typeface="CiscoSans ExtraLight"/>
                <a:ea typeface=""/>
                <a:cs typeface=""/>
              </a:endParaRPr>
            </a:p>
          </p:txBody>
        </p:sp>
        <p:grpSp>
          <p:nvGrpSpPr>
            <p:cNvPr id="206" name="Group 205"/>
            <p:cNvGrpSpPr>
              <a:grpSpLocks noChangeAspect="1"/>
            </p:cNvGrpSpPr>
            <p:nvPr/>
          </p:nvGrpSpPr>
          <p:grpSpPr>
            <a:xfrm>
              <a:off x="5101431" y="4103554"/>
              <a:ext cx="213912" cy="379439"/>
              <a:chOff x="839748" y="3892512"/>
              <a:chExt cx="167995" cy="297991"/>
            </a:xfrm>
          </p:grpSpPr>
          <p:sp>
            <p:nvSpPr>
              <p:cNvPr id="207" name="Freeform 307"/>
              <p:cNvSpPr>
                <a:spLocks/>
              </p:cNvSpPr>
              <p:nvPr/>
            </p:nvSpPr>
            <p:spPr bwMode="auto">
              <a:xfrm>
                <a:off x="839748" y="3892512"/>
                <a:ext cx="167995" cy="297991"/>
              </a:xfrm>
              <a:custGeom>
                <a:avLst/>
                <a:gdLst>
                  <a:gd name="T0" fmla="*/ 62 w 71"/>
                  <a:gd name="T1" fmla="*/ 0 h 126"/>
                  <a:gd name="T2" fmla="*/ 9 w 71"/>
                  <a:gd name="T3" fmla="*/ 0 h 126"/>
                  <a:gd name="T4" fmla="*/ 0 w 71"/>
                  <a:gd name="T5" fmla="*/ 9 h 126"/>
                  <a:gd name="T6" fmla="*/ 0 w 71"/>
                  <a:gd name="T7" fmla="*/ 117 h 126"/>
                  <a:gd name="T8" fmla="*/ 9 w 71"/>
                  <a:gd name="T9" fmla="*/ 126 h 126"/>
                  <a:gd name="T10" fmla="*/ 62 w 71"/>
                  <a:gd name="T11" fmla="*/ 126 h 126"/>
                  <a:gd name="T12" fmla="*/ 71 w 71"/>
                  <a:gd name="T13" fmla="*/ 117 h 126"/>
                  <a:gd name="T14" fmla="*/ 71 w 71"/>
                  <a:gd name="T15" fmla="*/ 9 h 126"/>
                  <a:gd name="T16" fmla="*/ 62 w 71"/>
                  <a:gd name="T17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126">
                    <a:moveTo>
                      <a:pt x="6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2"/>
                      <a:pt x="4" y="126"/>
                      <a:pt x="9" y="126"/>
                    </a:cubicBezTo>
                    <a:cubicBezTo>
                      <a:pt x="62" y="126"/>
                      <a:pt x="62" y="126"/>
                      <a:pt x="62" y="126"/>
                    </a:cubicBezTo>
                    <a:cubicBezTo>
                      <a:pt x="67" y="126"/>
                      <a:pt x="71" y="122"/>
                      <a:pt x="71" y="117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1" y="4"/>
                      <a:pt x="67" y="0"/>
                      <a:pt x="62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  <p:sp>
            <p:nvSpPr>
              <p:cNvPr id="208" name="Oval 308"/>
              <p:cNvSpPr>
                <a:spLocks noChangeArrowheads="1"/>
              </p:cNvSpPr>
              <p:nvPr/>
            </p:nvSpPr>
            <p:spPr bwMode="auto">
              <a:xfrm>
                <a:off x="915746" y="4159501"/>
                <a:ext cx="18999" cy="18999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  <p:sp>
            <p:nvSpPr>
              <p:cNvPr id="209" name="Freeform 309"/>
              <p:cNvSpPr>
                <a:spLocks/>
              </p:cNvSpPr>
              <p:nvPr/>
            </p:nvSpPr>
            <p:spPr bwMode="auto">
              <a:xfrm>
                <a:off x="905746" y="3909509"/>
                <a:ext cx="35999" cy="2000"/>
              </a:xfrm>
              <a:custGeom>
                <a:avLst/>
                <a:gdLst>
                  <a:gd name="T0" fmla="*/ 15 w 15"/>
                  <a:gd name="T1" fmla="*/ 1 h 1"/>
                  <a:gd name="T2" fmla="*/ 0 w 15"/>
                  <a:gd name="T3" fmla="*/ 1 h 1"/>
                  <a:gd name="T4" fmla="*/ 0 w 15"/>
                  <a:gd name="T5" fmla="*/ 1 h 1"/>
                  <a:gd name="T6" fmla="*/ 0 w 15"/>
                  <a:gd name="T7" fmla="*/ 0 h 1"/>
                  <a:gd name="T8" fmla="*/ 15 w 15"/>
                  <a:gd name="T9" fmla="*/ 0 h 1"/>
                  <a:gd name="T10" fmla="*/ 15 w 15"/>
                  <a:gd name="T11" fmla="*/ 1 h 1"/>
                  <a:gd name="T12" fmla="*/ 15 w 15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">
                    <a:moveTo>
                      <a:pt x="15" y="1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  <p:sp>
            <p:nvSpPr>
              <p:cNvPr id="210" name="Rectangle 310"/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  <p:sp>
            <p:nvSpPr>
              <p:cNvPr id="211" name="Rectangle 311"/>
              <p:cNvSpPr>
                <a:spLocks noChangeArrowheads="1"/>
              </p:cNvSpPr>
              <p:nvPr/>
            </p:nvSpPr>
            <p:spPr bwMode="auto">
              <a:xfrm>
                <a:off x="856747" y="3935508"/>
                <a:ext cx="133996" cy="2059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021593" y="1736862"/>
            <a:ext cx="2688557" cy="2200540"/>
            <a:chOff x="1028807" y="1848926"/>
            <a:chExt cx="2688557" cy="2200540"/>
          </a:xfrm>
        </p:grpSpPr>
        <p:sp>
          <p:nvSpPr>
            <p:cNvPr id="41" name="Rectangle 40"/>
            <p:cNvSpPr/>
            <p:nvPr/>
          </p:nvSpPr>
          <p:spPr>
            <a:xfrm>
              <a:off x="1028807" y="3403135"/>
              <a:ext cx="2688557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8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2000" dirty="0">
                  <a:solidFill>
                    <a:srgbClr val="005073"/>
                  </a:solidFill>
                  <a:latin typeface="CiscoSans ExtraLight"/>
                  <a:ea typeface=""/>
                  <a:cs typeface=""/>
                </a:rPr>
                <a:t>Service Provider</a:t>
              </a:r>
              <a:br>
                <a:rPr lang="en-US" sz="2000" dirty="0">
                  <a:solidFill>
                    <a:srgbClr val="005073"/>
                  </a:solidFill>
                  <a:latin typeface="CiscoSans ExtraLight"/>
                  <a:ea typeface=""/>
                  <a:cs typeface=""/>
                </a:rPr>
              </a:br>
              <a:r>
                <a:rPr lang="en-US" sz="2000" dirty="0">
                  <a:solidFill>
                    <a:srgbClr val="005073"/>
                  </a:solidFill>
                  <a:latin typeface="CiscoSans ExtraLight"/>
                  <a:ea typeface=""/>
                  <a:cs typeface=""/>
                </a:rPr>
                <a:t>economic opportunity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1122582" y="2780300"/>
              <a:ext cx="2501006" cy="5909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6858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3600" b="1" dirty="0">
                  <a:solidFill>
                    <a:srgbClr val="6EBE4A"/>
                  </a:solidFill>
                  <a:latin typeface="CiscoSans ExtraLight"/>
                  <a:ea typeface=""/>
                  <a:cs typeface=""/>
                </a:rPr>
                <a:t>$</a:t>
              </a:r>
              <a:r>
                <a:rPr lang="en-US" sz="3600" b="1" dirty="0">
                  <a:solidFill>
                    <a:srgbClr val="005073"/>
                  </a:solidFill>
                  <a:latin typeface="CiscoSans ExtraLight"/>
                  <a:ea typeface=""/>
                  <a:cs typeface=""/>
                </a:rPr>
                <a:t> Sizable </a:t>
              </a:r>
              <a:r>
                <a:rPr lang="en-US" sz="3600" b="1" dirty="0">
                  <a:solidFill>
                    <a:srgbClr val="6EBE4A"/>
                  </a:solidFill>
                  <a:latin typeface="CiscoSans ExtraLight"/>
                  <a:ea typeface=""/>
                  <a:cs typeface=""/>
                </a:rPr>
                <a:t>$</a:t>
              </a:r>
              <a:endParaRPr lang="en-US" sz="2400" b="1" dirty="0">
                <a:solidFill>
                  <a:srgbClr val="6EBE4A"/>
                </a:solidFill>
                <a:latin typeface="CiscoSans ExtraLight"/>
                <a:ea typeface=""/>
                <a:cs typeface=""/>
              </a:endParaRPr>
            </a:p>
          </p:txBody>
        </p:sp>
        <p:grpSp>
          <p:nvGrpSpPr>
            <p:cNvPr id="3" name="Group 2"/>
            <p:cNvGrpSpPr/>
            <p:nvPr/>
          </p:nvGrpSpPr>
          <p:grpSpPr>
            <a:xfrm>
              <a:off x="1901389" y="1848926"/>
              <a:ext cx="1057692" cy="700704"/>
              <a:chOff x="2047064" y="1848926"/>
              <a:chExt cx="1057692" cy="700704"/>
            </a:xfrm>
          </p:grpSpPr>
          <p:grpSp>
            <p:nvGrpSpPr>
              <p:cNvPr id="2" name="Group 1"/>
              <p:cNvGrpSpPr/>
              <p:nvPr/>
            </p:nvGrpSpPr>
            <p:grpSpPr>
              <a:xfrm>
                <a:off x="2047064" y="1848926"/>
                <a:ext cx="652044" cy="700704"/>
                <a:chOff x="2047064" y="1848926"/>
                <a:chExt cx="652044" cy="700704"/>
              </a:xfrm>
            </p:grpSpPr>
            <p:sp>
              <p:nvSpPr>
                <p:cNvPr id="6" name="Freeform 5"/>
                <p:cNvSpPr>
                  <a:spLocks/>
                </p:cNvSpPr>
                <p:nvPr/>
              </p:nvSpPr>
              <p:spPr bwMode="auto">
                <a:xfrm>
                  <a:off x="2355244" y="2249560"/>
                  <a:ext cx="85966" cy="300070"/>
                </a:xfrm>
                <a:custGeom>
                  <a:avLst/>
                  <a:gdLst>
                    <a:gd name="T0" fmla="*/ 11 w 22"/>
                    <a:gd name="T1" fmla="*/ 77 h 77"/>
                    <a:gd name="T2" fmla="*/ 11 w 22"/>
                    <a:gd name="T3" fmla="*/ 77 h 77"/>
                    <a:gd name="T4" fmla="*/ 0 w 22"/>
                    <a:gd name="T5" fmla="*/ 66 h 77"/>
                    <a:gd name="T6" fmla="*/ 0 w 22"/>
                    <a:gd name="T7" fmla="*/ 11 h 77"/>
                    <a:gd name="T8" fmla="*/ 11 w 22"/>
                    <a:gd name="T9" fmla="*/ 0 h 77"/>
                    <a:gd name="T10" fmla="*/ 11 w 22"/>
                    <a:gd name="T11" fmla="*/ 0 h 77"/>
                    <a:gd name="T12" fmla="*/ 22 w 22"/>
                    <a:gd name="T13" fmla="*/ 11 h 77"/>
                    <a:gd name="T14" fmla="*/ 22 w 22"/>
                    <a:gd name="T15" fmla="*/ 66 h 77"/>
                    <a:gd name="T16" fmla="*/ 11 w 22"/>
                    <a:gd name="T17" fmla="*/ 7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" h="77">
                      <a:moveTo>
                        <a:pt x="11" y="77"/>
                      </a:moveTo>
                      <a:cubicBezTo>
                        <a:pt x="11" y="77"/>
                        <a:pt x="11" y="77"/>
                        <a:pt x="11" y="77"/>
                      </a:cubicBezTo>
                      <a:cubicBezTo>
                        <a:pt x="5" y="77"/>
                        <a:pt x="0" y="72"/>
                        <a:pt x="0" y="66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7" y="0"/>
                        <a:pt x="22" y="5"/>
                        <a:pt x="22" y="11"/>
                      </a:cubicBezTo>
                      <a:cubicBezTo>
                        <a:pt x="22" y="66"/>
                        <a:pt x="22" y="66"/>
                        <a:pt x="22" y="66"/>
                      </a:cubicBezTo>
                      <a:cubicBezTo>
                        <a:pt x="22" y="72"/>
                        <a:pt x="17" y="77"/>
                        <a:pt x="11" y="77"/>
                      </a:cubicBezTo>
                      <a:close/>
                    </a:path>
                  </a:pathLst>
                </a:custGeom>
                <a:solidFill>
                  <a:srgbClr val="00BA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7" name="Freeform 6"/>
                <p:cNvSpPr>
                  <a:spLocks/>
                </p:cNvSpPr>
                <p:nvPr/>
              </p:nvSpPr>
              <p:spPr bwMode="auto">
                <a:xfrm>
                  <a:off x="2149250" y="2316061"/>
                  <a:ext cx="84344" cy="233568"/>
                </a:xfrm>
                <a:custGeom>
                  <a:avLst/>
                  <a:gdLst>
                    <a:gd name="T0" fmla="*/ 11 w 22"/>
                    <a:gd name="T1" fmla="*/ 60 h 60"/>
                    <a:gd name="T2" fmla="*/ 11 w 22"/>
                    <a:gd name="T3" fmla="*/ 60 h 60"/>
                    <a:gd name="T4" fmla="*/ 0 w 22"/>
                    <a:gd name="T5" fmla="*/ 49 h 60"/>
                    <a:gd name="T6" fmla="*/ 0 w 22"/>
                    <a:gd name="T7" fmla="*/ 11 h 60"/>
                    <a:gd name="T8" fmla="*/ 11 w 22"/>
                    <a:gd name="T9" fmla="*/ 0 h 60"/>
                    <a:gd name="T10" fmla="*/ 11 w 22"/>
                    <a:gd name="T11" fmla="*/ 0 h 60"/>
                    <a:gd name="T12" fmla="*/ 22 w 22"/>
                    <a:gd name="T13" fmla="*/ 11 h 60"/>
                    <a:gd name="T14" fmla="*/ 22 w 22"/>
                    <a:gd name="T15" fmla="*/ 49 h 60"/>
                    <a:gd name="T16" fmla="*/ 11 w 22"/>
                    <a:gd name="T17" fmla="*/ 60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" h="60">
                      <a:moveTo>
                        <a:pt x="11" y="60"/>
                      </a:moveTo>
                      <a:cubicBezTo>
                        <a:pt x="11" y="60"/>
                        <a:pt x="11" y="60"/>
                        <a:pt x="11" y="60"/>
                      </a:cubicBezTo>
                      <a:cubicBezTo>
                        <a:pt x="5" y="60"/>
                        <a:pt x="0" y="55"/>
                        <a:pt x="0" y="49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7" y="0"/>
                        <a:pt x="22" y="5"/>
                        <a:pt x="22" y="11"/>
                      </a:cubicBezTo>
                      <a:cubicBezTo>
                        <a:pt x="22" y="49"/>
                        <a:pt x="22" y="49"/>
                        <a:pt x="22" y="49"/>
                      </a:cubicBezTo>
                      <a:cubicBezTo>
                        <a:pt x="22" y="55"/>
                        <a:pt x="17" y="60"/>
                        <a:pt x="11" y="60"/>
                      </a:cubicBezTo>
                      <a:close/>
                    </a:path>
                  </a:pathLst>
                </a:custGeom>
                <a:solidFill>
                  <a:srgbClr val="00BA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8" name="Freeform 7"/>
                <p:cNvSpPr>
                  <a:spLocks/>
                </p:cNvSpPr>
                <p:nvPr/>
              </p:nvSpPr>
              <p:spPr bwMode="auto">
                <a:xfrm>
                  <a:off x="2561238" y="2085738"/>
                  <a:ext cx="85966" cy="463891"/>
                </a:xfrm>
                <a:custGeom>
                  <a:avLst/>
                  <a:gdLst>
                    <a:gd name="T0" fmla="*/ 11 w 22"/>
                    <a:gd name="T1" fmla="*/ 119 h 119"/>
                    <a:gd name="T2" fmla="*/ 11 w 22"/>
                    <a:gd name="T3" fmla="*/ 119 h 119"/>
                    <a:gd name="T4" fmla="*/ 0 w 22"/>
                    <a:gd name="T5" fmla="*/ 108 h 119"/>
                    <a:gd name="T6" fmla="*/ 0 w 22"/>
                    <a:gd name="T7" fmla="*/ 11 h 119"/>
                    <a:gd name="T8" fmla="*/ 11 w 22"/>
                    <a:gd name="T9" fmla="*/ 0 h 119"/>
                    <a:gd name="T10" fmla="*/ 11 w 22"/>
                    <a:gd name="T11" fmla="*/ 0 h 119"/>
                    <a:gd name="T12" fmla="*/ 22 w 22"/>
                    <a:gd name="T13" fmla="*/ 11 h 119"/>
                    <a:gd name="T14" fmla="*/ 22 w 22"/>
                    <a:gd name="T15" fmla="*/ 108 h 119"/>
                    <a:gd name="T16" fmla="*/ 11 w 22"/>
                    <a:gd name="T17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2" h="119">
                      <a:moveTo>
                        <a:pt x="11" y="119"/>
                      </a:moveTo>
                      <a:cubicBezTo>
                        <a:pt x="11" y="119"/>
                        <a:pt x="11" y="119"/>
                        <a:pt x="11" y="119"/>
                      </a:cubicBezTo>
                      <a:cubicBezTo>
                        <a:pt x="5" y="119"/>
                        <a:pt x="0" y="114"/>
                        <a:pt x="0" y="108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0" y="5"/>
                        <a:pt x="5" y="0"/>
                        <a:pt x="11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7" y="0"/>
                        <a:pt x="22" y="5"/>
                        <a:pt x="22" y="11"/>
                      </a:cubicBezTo>
                      <a:cubicBezTo>
                        <a:pt x="22" y="108"/>
                        <a:pt x="22" y="108"/>
                        <a:pt x="22" y="108"/>
                      </a:cubicBezTo>
                      <a:cubicBezTo>
                        <a:pt x="22" y="114"/>
                        <a:pt x="17" y="119"/>
                        <a:pt x="11" y="119"/>
                      </a:cubicBezTo>
                      <a:close/>
                    </a:path>
                  </a:pathLst>
                </a:custGeom>
                <a:solidFill>
                  <a:srgbClr val="00BA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9" name="Freeform 8"/>
                <p:cNvSpPr>
                  <a:spLocks/>
                </p:cNvSpPr>
                <p:nvPr/>
              </p:nvSpPr>
              <p:spPr bwMode="auto">
                <a:xfrm>
                  <a:off x="2047064" y="1852170"/>
                  <a:ext cx="643934" cy="463891"/>
                </a:xfrm>
                <a:custGeom>
                  <a:avLst/>
                  <a:gdLst>
                    <a:gd name="T0" fmla="*/ 9 w 165"/>
                    <a:gd name="T1" fmla="*/ 119 h 119"/>
                    <a:gd name="T2" fmla="*/ 3 w 165"/>
                    <a:gd name="T3" fmla="*/ 116 h 119"/>
                    <a:gd name="T4" fmla="*/ 3 w 165"/>
                    <a:gd name="T5" fmla="*/ 105 h 119"/>
                    <a:gd name="T6" fmla="*/ 51 w 165"/>
                    <a:gd name="T7" fmla="*/ 59 h 119"/>
                    <a:gd name="T8" fmla="*/ 57 w 165"/>
                    <a:gd name="T9" fmla="*/ 57 h 119"/>
                    <a:gd name="T10" fmla="*/ 62 w 165"/>
                    <a:gd name="T11" fmla="*/ 59 h 119"/>
                    <a:gd name="T12" fmla="*/ 79 w 165"/>
                    <a:gd name="T13" fmla="*/ 76 h 119"/>
                    <a:gd name="T14" fmla="*/ 151 w 165"/>
                    <a:gd name="T15" fmla="*/ 3 h 119"/>
                    <a:gd name="T16" fmla="*/ 162 w 165"/>
                    <a:gd name="T17" fmla="*/ 3 h 119"/>
                    <a:gd name="T18" fmla="*/ 162 w 165"/>
                    <a:gd name="T19" fmla="*/ 14 h 119"/>
                    <a:gd name="T20" fmla="*/ 84 w 165"/>
                    <a:gd name="T21" fmla="*/ 93 h 119"/>
                    <a:gd name="T22" fmla="*/ 78 w 165"/>
                    <a:gd name="T23" fmla="*/ 96 h 119"/>
                    <a:gd name="T24" fmla="*/ 73 w 165"/>
                    <a:gd name="T25" fmla="*/ 93 h 119"/>
                    <a:gd name="T26" fmla="*/ 56 w 165"/>
                    <a:gd name="T27" fmla="*/ 76 h 119"/>
                    <a:gd name="T28" fmla="*/ 14 w 165"/>
                    <a:gd name="T29" fmla="*/ 117 h 119"/>
                    <a:gd name="T30" fmla="*/ 9 w 165"/>
                    <a:gd name="T31" fmla="*/ 119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5" h="119">
                      <a:moveTo>
                        <a:pt x="9" y="119"/>
                      </a:moveTo>
                      <a:cubicBezTo>
                        <a:pt x="7" y="119"/>
                        <a:pt x="5" y="118"/>
                        <a:pt x="3" y="116"/>
                      </a:cubicBezTo>
                      <a:cubicBezTo>
                        <a:pt x="0" y="113"/>
                        <a:pt x="0" y="108"/>
                        <a:pt x="3" y="105"/>
                      </a:cubicBezTo>
                      <a:cubicBezTo>
                        <a:pt x="51" y="59"/>
                        <a:pt x="51" y="59"/>
                        <a:pt x="51" y="59"/>
                      </a:cubicBezTo>
                      <a:cubicBezTo>
                        <a:pt x="53" y="57"/>
                        <a:pt x="55" y="57"/>
                        <a:pt x="57" y="57"/>
                      </a:cubicBezTo>
                      <a:cubicBezTo>
                        <a:pt x="59" y="57"/>
                        <a:pt x="61" y="58"/>
                        <a:pt x="62" y="59"/>
                      </a:cubicBezTo>
                      <a:cubicBezTo>
                        <a:pt x="79" y="76"/>
                        <a:pt x="79" y="76"/>
                        <a:pt x="79" y="76"/>
                      </a:cubicBezTo>
                      <a:cubicBezTo>
                        <a:pt x="151" y="3"/>
                        <a:pt x="151" y="3"/>
                        <a:pt x="151" y="3"/>
                      </a:cubicBezTo>
                      <a:cubicBezTo>
                        <a:pt x="154" y="0"/>
                        <a:pt x="159" y="0"/>
                        <a:pt x="162" y="3"/>
                      </a:cubicBezTo>
                      <a:cubicBezTo>
                        <a:pt x="165" y="6"/>
                        <a:pt x="165" y="11"/>
                        <a:pt x="162" y="14"/>
                      </a:cubicBezTo>
                      <a:cubicBezTo>
                        <a:pt x="84" y="93"/>
                        <a:pt x="84" y="93"/>
                        <a:pt x="84" y="93"/>
                      </a:cubicBezTo>
                      <a:cubicBezTo>
                        <a:pt x="83" y="95"/>
                        <a:pt x="81" y="96"/>
                        <a:pt x="78" y="96"/>
                      </a:cubicBezTo>
                      <a:cubicBezTo>
                        <a:pt x="76" y="96"/>
                        <a:pt x="74" y="95"/>
                        <a:pt x="73" y="93"/>
                      </a:cubicBezTo>
                      <a:cubicBezTo>
                        <a:pt x="56" y="76"/>
                        <a:pt x="56" y="76"/>
                        <a:pt x="56" y="76"/>
                      </a:cubicBezTo>
                      <a:cubicBezTo>
                        <a:pt x="14" y="117"/>
                        <a:pt x="14" y="117"/>
                        <a:pt x="14" y="117"/>
                      </a:cubicBezTo>
                      <a:cubicBezTo>
                        <a:pt x="13" y="118"/>
                        <a:pt x="11" y="119"/>
                        <a:pt x="9" y="119"/>
                      </a:cubicBezTo>
                      <a:close/>
                    </a:path>
                  </a:pathLst>
                </a:custGeom>
                <a:solidFill>
                  <a:srgbClr val="F8A91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  <p:sp>
              <p:nvSpPr>
                <p:cNvPr id="10" name="Freeform 9"/>
                <p:cNvSpPr>
                  <a:spLocks/>
                </p:cNvSpPr>
                <p:nvPr/>
              </p:nvSpPr>
              <p:spPr bwMode="auto">
                <a:xfrm>
                  <a:off x="2499602" y="1848926"/>
                  <a:ext cx="199506" cy="201128"/>
                </a:xfrm>
                <a:custGeom>
                  <a:avLst/>
                  <a:gdLst>
                    <a:gd name="T0" fmla="*/ 43 w 51"/>
                    <a:gd name="T1" fmla="*/ 52 h 52"/>
                    <a:gd name="T2" fmla="*/ 35 w 51"/>
                    <a:gd name="T3" fmla="*/ 44 h 52"/>
                    <a:gd name="T4" fmla="*/ 35 w 51"/>
                    <a:gd name="T5" fmla="*/ 16 h 52"/>
                    <a:gd name="T6" fmla="*/ 8 w 51"/>
                    <a:gd name="T7" fmla="*/ 16 h 52"/>
                    <a:gd name="T8" fmla="*/ 0 w 51"/>
                    <a:gd name="T9" fmla="*/ 8 h 52"/>
                    <a:gd name="T10" fmla="*/ 8 w 51"/>
                    <a:gd name="T11" fmla="*/ 0 h 52"/>
                    <a:gd name="T12" fmla="*/ 43 w 51"/>
                    <a:gd name="T13" fmla="*/ 0 h 52"/>
                    <a:gd name="T14" fmla="*/ 51 w 51"/>
                    <a:gd name="T15" fmla="*/ 8 h 52"/>
                    <a:gd name="T16" fmla="*/ 51 w 51"/>
                    <a:gd name="T17" fmla="*/ 44 h 52"/>
                    <a:gd name="T18" fmla="*/ 43 w 51"/>
                    <a:gd name="T1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1" h="52">
                      <a:moveTo>
                        <a:pt x="43" y="52"/>
                      </a:moveTo>
                      <a:cubicBezTo>
                        <a:pt x="39" y="52"/>
                        <a:pt x="35" y="48"/>
                        <a:pt x="35" y="44"/>
                      </a:cubicBezTo>
                      <a:cubicBezTo>
                        <a:pt x="35" y="16"/>
                        <a:pt x="35" y="16"/>
                        <a:pt x="35" y="16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3" y="16"/>
                        <a:pt x="0" y="13"/>
                        <a:pt x="0" y="8"/>
                      </a:cubicBezTo>
                      <a:cubicBezTo>
                        <a:pt x="0" y="4"/>
                        <a:pt x="3" y="0"/>
                        <a:pt x="8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8" y="0"/>
                        <a:pt x="51" y="4"/>
                        <a:pt x="51" y="8"/>
                      </a:cubicBezTo>
                      <a:cubicBezTo>
                        <a:pt x="51" y="44"/>
                        <a:pt x="51" y="44"/>
                        <a:pt x="51" y="44"/>
                      </a:cubicBezTo>
                      <a:cubicBezTo>
                        <a:pt x="51" y="48"/>
                        <a:pt x="48" y="52"/>
                        <a:pt x="43" y="52"/>
                      </a:cubicBezTo>
                      <a:close/>
                    </a:path>
                  </a:pathLst>
                </a:custGeom>
                <a:solidFill>
                  <a:srgbClr val="F8A91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>
                    <a:solidFill>
                      <a:srgbClr val="282828"/>
                    </a:solidFill>
                    <a:latin typeface="CiscoSans ExtraLight"/>
                    <a:ea typeface=""/>
                    <a:cs typeface=""/>
                  </a:endParaRPr>
                </a:p>
              </p:txBody>
            </p:sp>
          </p:grpSp>
          <p:sp>
            <p:nvSpPr>
              <p:cNvPr id="86" name="Freeform 561"/>
              <p:cNvSpPr>
                <a:spLocks noChangeAspect="1" noEditPoints="1"/>
              </p:cNvSpPr>
              <p:nvPr/>
            </p:nvSpPr>
            <p:spPr bwMode="auto">
              <a:xfrm>
                <a:off x="2780512" y="1972598"/>
                <a:ext cx="324244" cy="571720"/>
              </a:xfrm>
              <a:custGeom>
                <a:avLst/>
                <a:gdLst>
                  <a:gd name="T0" fmla="*/ 134 w 136"/>
                  <a:gd name="T1" fmla="*/ 156 h 239"/>
                  <a:gd name="T2" fmla="*/ 81 w 136"/>
                  <a:gd name="T3" fmla="*/ 105 h 239"/>
                  <a:gd name="T4" fmla="*/ 81 w 136"/>
                  <a:gd name="T5" fmla="*/ 59 h 239"/>
                  <a:gd name="T6" fmla="*/ 103 w 136"/>
                  <a:gd name="T7" fmla="*/ 76 h 239"/>
                  <a:gd name="T8" fmla="*/ 117 w 136"/>
                  <a:gd name="T9" fmla="*/ 89 h 239"/>
                  <a:gd name="T10" fmla="*/ 130 w 136"/>
                  <a:gd name="T11" fmla="*/ 74 h 239"/>
                  <a:gd name="T12" fmla="*/ 81 w 136"/>
                  <a:gd name="T13" fmla="*/ 31 h 239"/>
                  <a:gd name="T14" fmla="*/ 81 w 136"/>
                  <a:gd name="T15" fmla="*/ 14 h 239"/>
                  <a:gd name="T16" fmla="*/ 68 w 136"/>
                  <a:gd name="T17" fmla="*/ 0 h 239"/>
                  <a:gd name="T18" fmla="*/ 54 w 136"/>
                  <a:gd name="T19" fmla="*/ 14 h 239"/>
                  <a:gd name="T20" fmla="*/ 54 w 136"/>
                  <a:gd name="T21" fmla="*/ 32 h 239"/>
                  <a:gd name="T22" fmla="*/ 20 w 136"/>
                  <a:gd name="T23" fmla="*/ 44 h 239"/>
                  <a:gd name="T24" fmla="*/ 2 w 136"/>
                  <a:gd name="T25" fmla="*/ 81 h 239"/>
                  <a:gd name="T26" fmla="*/ 54 w 136"/>
                  <a:gd name="T27" fmla="*/ 128 h 239"/>
                  <a:gd name="T28" fmla="*/ 54 w 136"/>
                  <a:gd name="T29" fmla="*/ 182 h 239"/>
                  <a:gd name="T30" fmla="*/ 28 w 136"/>
                  <a:gd name="T31" fmla="*/ 162 h 239"/>
                  <a:gd name="T32" fmla="*/ 13 w 136"/>
                  <a:gd name="T33" fmla="*/ 149 h 239"/>
                  <a:gd name="T34" fmla="*/ 0 w 136"/>
                  <a:gd name="T35" fmla="*/ 164 h 239"/>
                  <a:gd name="T36" fmla="*/ 54 w 136"/>
                  <a:gd name="T37" fmla="*/ 210 h 239"/>
                  <a:gd name="T38" fmla="*/ 54 w 136"/>
                  <a:gd name="T39" fmla="*/ 225 h 239"/>
                  <a:gd name="T40" fmla="*/ 68 w 136"/>
                  <a:gd name="T41" fmla="*/ 239 h 239"/>
                  <a:gd name="T42" fmla="*/ 81 w 136"/>
                  <a:gd name="T43" fmla="*/ 225 h 239"/>
                  <a:gd name="T44" fmla="*/ 81 w 136"/>
                  <a:gd name="T45" fmla="*/ 210 h 239"/>
                  <a:gd name="T46" fmla="*/ 106 w 136"/>
                  <a:gd name="T47" fmla="*/ 203 h 239"/>
                  <a:gd name="T48" fmla="*/ 134 w 136"/>
                  <a:gd name="T49" fmla="*/ 156 h 239"/>
                  <a:gd name="T50" fmla="*/ 30 w 136"/>
                  <a:gd name="T51" fmla="*/ 80 h 239"/>
                  <a:gd name="T52" fmla="*/ 36 w 136"/>
                  <a:gd name="T53" fmla="*/ 66 h 239"/>
                  <a:gd name="T54" fmla="*/ 54 w 136"/>
                  <a:gd name="T55" fmla="*/ 60 h 239"/>
                  <a:gd name="T56" fmla="*/ 54 w 136"/>
                  <a:gd name="T57" fmla="*/ 100 h 239"/>
                  <a:gd name="T58" fmla="*/ 30 w 136"/>
                  <a:gd name="T59" fmla="*/ 80 h 239"/>
                  <a:gd name="T60" fmla="*/ 94 w 136"/>
                  <a:gd name="T61" fmla="*/ 178 h 239"/>
                  <a:gd name="T62" fmla="*/ 81 w 136"/>
                  <a:gd name="T63" fmla="*/ 182 h 239"/>
                  <a:gd name="T64" fmla="*/ 81 w 136"/>
                  <a:gd name="T65" fmla="*/ 134 h 239"/>
                  <a:gd name="T66" fmla="*/ 107 w 136"/>
                  <a:gd name="T67" fmla="*/ 157 h 239"/>
                  <a:gd name="T68" fmla="*/ 94 w 136"/>
                  <a:gd name="T69" fmla="*/ 17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6" h="239">
                    <a:moveTo>
                      <a:pt x="134" y="156"/>
                    </a:moveTo>
                    <a:cubicBezTo>
                      <a:pt x="133" y="120"/>
                      <a:pt x="106" y="110"/>
                      <a:pt x="81" y="105"/>
                    </a:cubicBezTo>
                    <a:cubicBezTo>
                      <a:pt x="81" y="59"/>
                      <a:pt x="81" y="59"/>
                      <a:pt x="81" y="59"/>
                    </a:cubicBezTo>
                    <a:cubicBezTo>
                      <a:pt x="96" y="63"/>
                      <a:pt x="102" y="72"/>
                      <a:pt x="103" y="76"/>
                    </a:cubicBezTo>
                    <a:cubicBezTo>
                      <a:pt x="103" y="83"/>
                      <a:pt x="110" y="89"/>
                      <a:pt x="117" y="89"/>
                    </a:cubicBezTo>
                    <a:cubicBezTo>
                      <a:pt x="125" y="88"/>
                      <a:pt x="131" y="82"/>
                      <a:pt x="130" y="74"/>
                    </a:cubicBezTo>
                    <a:cubicBezTo>
                      <a:pt x="129" y="57"/>
                      <a:pt x="112" y="36"/>
                      <a:pt x="81" y="31"/>
                    </a:cubicBezTo>
                    <a:cubicBezTo>
                      <a:pt x="81" y="14"/>
                      <a:pt x="81" y="14"/>
                      <a:pt x="81" y="14"/>
                    </a:cubicBezTo>
                    <a:cubicBezTo>
                      <a:pt x="81" y="6"/>
                      <a:pt x="75" y="0"/>
                      <a:pt x="68" y="0"/>
                    </a:cubicBezTo>
                    <a:cubicBezTo>
                      <a:pt x="60" y="0"/>
                      <a:pt x="54" y="6"/>
                      <a:pt x="54" y="14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40" y="33"/>
                      <a:pt x="29" y="38"/>
                      <a:pt x="20" y="44"/>
                    </a:cubicBezTo>
                    <a:cubicBezTo>
                      <a:pt x="8" y="53"/>
                      <a:pt x="1" y="66"/>
                      <a:pt x="2" y="81"/>
                    </a:cubicBezTo>
                    <a:cubicBezTo>
                      <a:pt x="4" y="114"/>
                      <a:pt x="30" y="123"/>
                      <a:pt x="54" y="128"/>
                    </a:cubicBezTo>
                    <a:cubicBezTo>
                      <a:pt x="54" y="182"/>
                      <a:pt x="54" y="182"/>
                      <a:pt x="54" y="182"/>
                    </a:cubicBezTo>
                    <a:cubicBezTo>
                      <a:pt x="35" y="178"/>
                      <a:pt x="28" y="166"/>
                      <a:pt x="28" y="162"/>
                    </a:cubicBezTo>
                    <a:cubicBezTo>
                      <a:pt x="27" y="155"/>
                      <a:pt x="21" y="149"/>
                      <a:pt x="13" y="149"/>
                    </a:cubicBezTo>
                    <a:cubicBezTo>
                      <a:pt x="6" y="150"/>
                      <a:pt x="0" y="156"/>
                      <a:pt x="0" y="164"/>
                    </a:cubicBezTo>
                    <a:cubicBezTo>
                      <a:pt x="1" y="181"/>
                      <a:pt x="19" y="205"/>
                      <a:pt x="54" y="210"/>
                    </a:cubicBezTo>
                    <a:cubicBezTo>
                      <a:pt x="54" y="225"/>
                      <a:pt x="54" y="225"/>
                      <a:pt x="54" y="225"/>
                    </a:cubicBezTo>
                    <a:cubicBezTo>
                      <a:pt x="54" y="233"/>
                      <a:pt x="60" y="239"/>
                      <a:pt x="68" y="239"/>
                    </a:cubicBezTo>
                    <a:cubicBezTo>
                      <a:pt x="75" y="239"/>
                      <a:pt x="81" y="233"/>
                      <a:pt x="81" y="225"/>
                    </a:cubicBezTo>
                    <a:cubicBezTo>
                      <a:pt x="81" y="210"/>
                      <a:pt x="81" y="210"/>
                      <a:pt x="81" y="210"/>
                    </a:cubicBezTo>
                    <a:cubicBezTo>
                      <a:pt x="88" y="209"/>
                      <a:pt x="97" y="207"/>
                      <a:pt x="106" y="203"/>
                    </a:cubicBezTo>
                    <a:cubicBezTo>
                      <a:pt x="125" y="193"/>
                      <a:pt x="136" y="177"/>
                      <a:pt x="134" y="156"/>
                    </a:cubicBezTo>
                    <a:close/>
                    <a:moveTo>
                      <a:pt x="30" y="80"/>
                    </a:moveTo>
                    <a:cubicBezTo>
                      <a:pt x="29" y="74"/>
                      <a:pt x="31" y="70"/>
                      <a:pt x="36" y="66"/>
                    </a:cubicBezTo>
                    <a:cubicBezTo>
                      <a:pt x="40" y="63"/>
                      <a:pt x="46" y="61"/>
                      <a:pt x="54" y="60"/>
                    </a:cubicBezTo>
                    <a:cubicBezTo>
                      <a:pt x="54" y="100"/>
                      <a:pt x="54" y="100"/>
                      <a:pt x="54" y="100"/>
                    </a:cubicBezTo>
                    <a:cubicBezTo>
                      <a:pt x="36" y="96"/>
                      <a:pt x="30" y="91"/>
                      <a:pt x="30" y="80"/>
                    </a:cubicBezTo>
                    <a:close/>
                    <a:moveTo>
                      <a:pt x="94" y="178"/>
                    </a:moveTo>
                    <a:cubicBezTo>
                      <a:pt x="90" y="180"/>
                      <a:pt x="85" y="181"/>
                      <a:pt x="81" y="182"/>
                    </a:cubicBezTo>
                    <a:cubicBezTo>
                      <a:pt x="81" y="134"/>
                      <a:pt x="81" y="134"/>
                      <a:pt x="81" y="134"/>
                    </a:cubicBezTo>
                    <a:cubicBezTo>
                      <a:pt x="99" y="138"/>
                      <a:pt x="106" y="143"/>
                      <a:pt x="107" y="157"/>
                    </a:cubicBezTo>
                    <a:cubicBezTo>
                      <a:pt x="107" y="164"/>
                      <a:pt x="106" y="172"/>
                      <a:pt x="94" y="17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282828"/>
                  </a:solidFill>
                  <a:latin typeface="CiscoSans ExtraLight"/>
                  <a:ea typeface=""/>
                  <a:cs typeface=""/>
                </a:endParaRPr>
              </a:p>
            </p:txBody>
          </p:sp>
        </p:grpSp>
      </p:grpSp>
      <p:grpSp>
        <p:nvGrpSpPr>
          <p:cNvPr id="74" name="Group 73"/>
          <p:cNvGrpSpPr/>
          <p:nvPr/>
        </p:nvGrpSpPr>
        <p:grpSpPr>
          <a:xfrm rot="10800000">
            <a:off x="72834" y="4902874"/>
            <a:ext cx="122310" cy="169451"/>
            <a:chOff x="1038286" y="1218564"/>
            <a:chExt cx="163037" cy="225934"/>
          </a:xfrm>
          <a:noFill/>
        </p:grpSpPr>
        <p:sp>
          <p:nvSpPr>
            <p:cNvPr id="75" name="Left-Up Arrow 74"/>
            <p:cNvSpPr/>
            <p:nvPr/>
          </p:nvSpPr>
          <p:spPr>
            <a:xfrm>
              <a:off x="1038286" y="1218564"/>
              <a:ext cx="145875" cy="145885"/>
            </a:xfrm>
            <a:prstGeom prst="leftUpArrow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877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76" name="Straight Connector 75"/>
            <p:cNvCxnSpPr/>
            <p:nvPr/>
          </p:nvCxnSpPr>
          <p:spPr>
            <a:xfrm flipV="1">
              <a:off x="1124095" y="1295801"/>
              <a:ext cx="77228" cy="94396"/>
            </a:xfrm>
            <a:prstGeom prst="lin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Oval 76"/>
            <p:cNvSpPr/>
            <p:nvPr/>
          </p:nvSpPr>
          <p:spPr>
            <a:xfrm>
              <a:off x="1055448" y="1398778"/>
              <a:ext cx="45719" cy="4572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4877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601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" name="think-cell Slide" r:id="rId5" imgW="476" imgH="357" progId="">
                  <p:embed/>
                </p:oleObj>
              </mc:Choice>
              <mc:Fallback>
                <p:oleObj name="think-cell Slide" r:id="rId5" imgW="476" imgH="35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ounded Rectangle 68"/>
          <p:cNvSpPr/>
          <p:nvPr/>
        </p:nvSpPr>
        <p:spPr>
          <a:xfrm>
            <a:off x="592" y="1073151"/>
            <a:ext cx="9143408" cy="3651250"/>
          </a:xfrm>
          <a:prstGeom prst="roundRect">
            <a:avLst>
              <a:gd name="adj" fmla="val 834"/>
            </a:avLst>
          </a:prstGeom>
          <a:solidFill>
            <a:schemeClr val="bg2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5" y="341315"/>
            <a:ext cx="8542461" cy="731837"/>
          </a:xfrm>
        </p:spPr>
        <p:txBody>
          <a:bodyPr/>
          <a:lstStyle/>
          <a:p>
            <a:r>
              <a:rPr lang="en-US" smtClean="0"/>
              <a:t>Key Security Challenges for Service Providers</a:t>
            </a:r>
            <a:endParaRPr lang="en-US" sz="1800"/>
          </a:p>
        </p:txBody>
      </p:sp>
      <p:sp>
        <p:nvSpPr>
          <p:cNvPr id="53" name="TextBox 52"/>
          <p:cNvSpPr txBox="1"/>
          <p:nvPr/>
        </p:nvSpPr>
        <p:spPr>
          <a:xfrm>
            <a:off x="530862" y="2907661"/>
            <a:ext cx="1988320" cy="174239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tIns="91440" rtlCol="0">
            <a:noAutofit/>
          </a:bodyPr>
          <a:lstStyle>
            <a:defPPr>
              <a:defRPr lang="en-US"/>
            </a:defPPr>
            <a:lvl1pPr>
              <a:defRPr sz="1050">
                <a:solidFill>
                  <a:srgbClr val="FFFFFF"/>
                </a:solidFill>
                <a:latin typeface="CiscoSansTT ExtraLight"/>
                <a:cs typeface="CiscoSansTT ExtraLight"/>
              </a:defRPr>
            </a:lvl1pPr>
          </a:lstStyle>
          <a:p>
            <a:pPr algn="ctr" defTabSz="457166" fontAlgn="auto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1600" kern="0">
              <a:solidFill>
                <a:srgbClr val="282828"/>
              </a:solidFill>
              <a:latin typeface="CiscoSans ExtraLight"/>
              <a:ea typeface="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550863" y="4644898"/>
            <a:ext cx="1988320" cy="7315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defTabSz="457178" fontAlgn="auto">
              <a:spcBef>
                <a:spcPts val="0"/>
              </a:spcBef>
              <a:spcAft>
                <a:spcPts val="0"/>
              </a:spcAft>
            </a:pP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570967" y="2965387"/>
            <a:ext cx="1988320" cy="1742390"/>
          </a:xfrm>
          <a:prstGeom prst="rect">
            <a:avLst/>
          </a:prstGeom>
          <a:solidFill>
            <a:schemeClr val="tx2">
              <a:lumMod val="20000"/>
              <a:lumOff val="80000"/>
              <a:alpha val="55000"/>
            </a:schemeClr>
          </a:solidFill>
        </p:spPr>
        <p:txBody>
          <a:bodyPr wrap="square" tIns="91440" rtlCol="0">
            <a:noAutofit/>
          </a:bodyPr>
          <a:lstStyle>
            <a:defPPr>
              <a:defRPr lang="en-US"/>
            </a:defPPr>
            <a:lvl1pPr>
              <a:defRPr sz="1050">
                <a:solidFill>
                  <a:srgbClr val="FFFFFF"/>
                </a:solidFill>
                <a:latin typeface="CiscoSansTT ExtraLight"/>
                <a:cs typeface="CiscoSansTT ExtraLight"/>
              </a:defRPr>
            </a:lvl1pPr>
          </a:lstStyle>
          <a:p>
            <a:pPr algn="ctr" defTabSz="457166" fontAlgn="auto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1600" kern="0">
              <a:solidFill>
                <a:srgbClr val="282828"/>
              </a:solidFill>
              <a:latin typeface="CiscoSans ExtraLight"/>
              <a:ea typeface="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2570967" y="4644898"/>
            <a:ext cx="1988320" cy="7315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defTabSz="457178" fontAlgn="auto">
              <a:spcBef>
                <a:spcPts val="0"/>
              </a:spcBef>
              <a:spcAft>
                <a:spcPts val="0"/>
              </a:spcAft>
            </a:pP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591068" y="2975662"/>
            <a:ext cx="1988320" cy="1742390"/>
          </a:xfrm>
          <a:prstGeom prst="rect">
            <a:avLst/>
          </a:prstGeom>
          <a:solidFill>
            <a:schemeClr val="accent1">
              <a:lumMod val="20000"/>
              <a:lumOff val="80000"/>
              <a:alpha val="55000"/>
            </a:schemeClr>
          </a:solidFill>
        </p:spPr>
        <p:txBody>
          <a:bodyPr wrap="square" tIns="91440" rtlCol="0">
            <a:noAutofit/>
          </a:bodyPr>
          <a:lstStyle>
            <a:defPPr>
              <a:defRPr lang="en-US"/>
            </a:defPPr>
            <a:lvl1pPr>
              <a:defRPr sz="1050">
                <a:solidFill>
                  <a:srgbClr val="FFFFFF"/>
                </a:solidFill>
                <a:latin typeface="CiscoSansTT ExtraLight"/>
                <a:cs typeface="CiscoSansTT ExtraLight"/>
              </a:defRPr>
            </a:lvl1pPr>
          </a:lstStyle>
          <a:p>
            <a:pPr algn="ctr" defTabSz="457166" fontAlgn="auto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1600" kern="0">
              <a:solidFill>
                <a:srgbClr val="282828"/>
              </a:solidFill>
              <a:latin typeface="CiscoSans ExtraLight"/>
              <a:ea typeface="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591068" y="4644898"/>
            <a:ext cx="1988320" cy="731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defTabSz="457178" fontAlgn="auto">
              <a:spcBef>
                <a:spcPts val="0"/>
              </a:spcBef>
              <a:spcAft>
                <a:spcPts val="0"/>
              </a:spcAft>
            </a:pP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611169" y="2975662"/>
            <a:ext cx="1988320" cy="1742390"/>
          </a:xfrm>
          <a:prstGeom prst="rect">
            <a:avLst/>
          </a:prstGeom>
          <a:solidFill>
            <a:schemeClr val="accent5">
              <a:lumMod val="20000"/>
              <a:lumOff val="80000"/>
              <a:alpha val="55000"/>
            </a:schemeClr>
          </a:solidFill>
        </p:spPr>
        <p:txBody>
          <a:bodyPr wrap="square" tIns="91440" rtlCol="0">
            <a:noAutofit/>
          </a:bodyPr>
          <a:lstStyle>
            <a:defPPr>
              <a:defRPr lang="en-US"/>
            </a:defPPr>
            <a:lvl1pPr>
              <a:defRPr sz="1050">
                <a:solidFill>
                  <a:srgbClr val="FFFFFF"/>
                </a:solidFill>
                <a:latin typeface="CiscoSansTT ExtraLight"/>
                <a:cs typeface="CiscoSansTT ExtraLight"/>
              </a:defRPr>
            </a:lvl1pPr>
          </a:lstStyle>
          <a:p>
            <a:pPr algn="ctr" defTabSz="457166" fontAlgn="auto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defRPr/>
            </a:pPr>
            <a:endParaRPr lang="en-US" sz="1600" kern="0">
              <a:solidFill>
                <a:srgbClr val="282828"/>
              </a:solidFill>
              <a:latin typeface="CiscoSans ExtraLight"/>
              <a:ea typeface="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6611169" y="4644898"/>
            <a:ext cx="1988320" cy="7315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defTabSz="457178" fontAlgn="auto">
              <a:spcBef>
                <a:spcPts val="0"/>
              </a:spcBef>
              <a:spcAft>
                <a:spcPts val="0"/>
              </a:spcAft>
            </a:pPr>
            <a:endParaRPr lang="en-US" b="1">
              <a:solidFill>
                <a:srgbClr val="FFFFFF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550863" y="2926728"/>
            <a:ext cx="1984248" cy="47503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srgbClr val="FFFFFF"/>
                </a:solidFill>
              </a:rPr>
              <a:t>Changing Dynamics</a:t>
            </a:r>
          </a:p>
        </p:txBody>
      </p:sp>
      <p:sp>
        <p:nvSpPr>
          <p:cNvPr id="89" name="Rectangle 88"/>
          <p:cNvSpPr/>
          <p:nvPr/>
        </p:nvSpPr>
        <p:spPr>
          <a:xfrm>
            <a:off x="2570965" y="2929263"/>
            <a:ext cx="1984248" cy="47503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srgbClr val="FFFFFF"/>
                </a:solidFill>
              </a:rPr>
              <a:t>Reducing Complexity</a:t>
            </a:r>
          </a:p>
        </p:txBody>
      </p:sp>
      <p:sp>
        <p:nvSpPr>
          <p:cNvPr id="90" name="Rectangle 89"/>
          <p:cNvSpPr/>
          <p:nvPr/>
        </p:nvSpPr>
        <p:spPr>
          <a:xfrm>
            <a:off x="4591066" y="2929263"/>
            <a:ext cx="1984248" cy="47503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srgbClr val="FFFFFF"/>
                </a:solidFill>
              </a:rPr>
              <a:t>Speeding Innovation</a:t>
            </a:r>
          </a:p>
        </p:txBody>
      </p:sp>
      <p:sp>
        <p:nvSpPr>
          <p:cNvPr id="91" name="Rectangle 90"/>
          <p:cNvSpPr/>
          <p:nvPr/>
        </p:nvSpPr>
        <p:spPr>
          <a:xfrm>
            <a:off x="6615240" y="2929263"/>
            <a:ext cx="1984248" cy="47503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r>
              <a:rPr lang="en-US" sz="1400">
                <a:solidFill>
                  <a:srgbClr val="FFFFFF"/>
                </a:solidFill>
              </a:rPr>
              <a:t>Talent Shortage</a:t>
            </a:r>
          </a:p>
        </p:txBody>
      </p:sp>
      <p:sp>
        <p:nvSpPr>
          <p:cNvPr id="92" name="Freeform 91"/>
          <p:cNvSpPr/>
          <p:nvPr/>
        </p:nvSpPr>
        <p:spPr>
          <a:xfrm rot="2425610">
            <a:off x="2837749" y="3701916"/>
            <a:ext cx="1461763" cy="548690"/>
          </a:xfrm>
          <a:custGeom>
            <a:avLst/>
            <a:gdLst>
              <a:gd name="connsiteX0" fmla="*/ 0 w 4772526"/>
              <a:gd name="connsiteY0" fmla="*/ 1644503 h 1644503"/>
              <a:gd name="connsiteX1" fmla="*/ 978568 w 4772526"/>
              <a:gd name="connsiteY1" fmla="*/ 681977 h 1644503"/>
              <a:gd name="connsiteX2" fmla="*/ 2534652 w 4772526"/>
              <a:gd name="connsiteY2" fmla="*/ 104461 h 1644503"/>
              <a:gd name="connsiteX3" fmla="*/ 4772526 w 4772526"/>
              <a:gd name="connsiteY3" fmla="*/ 187 h 1644503"/>
              <a:gd name="connsiteX0" fmla="*/ 0 w 4772526"/>
              <a:gd name="connsiteY0" fmla="*/ 1651161 h 1651161"/>
              <a:gd name="connsiteX1" fmla="*/ 962525 w 4772526"/>
              <a:gd name="connsiteY1" fmla="*/ 913225 h 1651161"/>
              <a:gd name="connsiteX2" fmla="*/ 2534652 w 4772526"/>
              <a:gd name="connsiteY2" fmla="*/ 111119 h 1651161"/>
              <a:gd name="connsiteX3" fmla="*/ 4772526 w 4772526"/>
              <a:gd name="connsiteY3" fmla="*/ 6845 h 1651161"/>
              <a:gd name="connsiteX0" fmla="*/ 0 w 4772526"/>
              <a:gd name="connsiteY0" fmla="*/ 1644316 h 1644316"/>
              <a:gd name="connsiteX1" fmla="*/ 962525 w 4772526"/>
              <a:gd name="connsiteY1" fmla="*/ 906380 h 1644316"/>
              <a:gd name="connsiteX2" fmla="*/ 2502568 w 4772526"/>
              <a:gd name="connsiteY2" fmla="*/ 441159 h 1644316"/>
              <a:gd name="connsiteX3" fmla="*/ 4772526 w 4772526"/>
              <a:gd name="connsiteY3" fmla="*/ 0 h 1644316"/>
              <a:gd name="connsiteX0" fmla="*/ 0 w 4804611"/>
              <a:gd name="connsiteY0" fmla="*/ 1379621 h 1379621"/>
              <a:gd name="connsiteX1" fmla="*/ 962525 w 4804611"/>
              <a:gd name="connsiteY1" fmla="*/ 641685 h 1379621"/>
              <a:gd name="connsiteX2" fmla="*/ 2502568 w 4804611"/>
              <a:gd name="connsiteY2" fmla="*/ 176464 h 1379621"/>
              <a:gd name="connsiteX3" fmla="*/ 4804611 w 4804611"/>
              <a:gd name="connsiteY3" fmla="*/ 0 h 1379621"/>
              <a:gd name="connsiteX0" fmla="*/ 0 w 4804611"/>
              <a:gd name="connsiteY0" fmla="*/ 1385674 h 1385674"/>
              <a:gd name="connsiteX1" fmla="*/ 962525 w 4804611"/>
              <a:gd name="connsiteY1" fmla="*/ 647738 h 1385674"/>
              <a:gd name="connsiteX2" fmla="*/ 2699458 w 4804611"/>
              <a:gd name="connsiteY2" fmla="*/ 76370 h 1385674"/>
              <a:gd name="connsiteX3" fmla="*/ 4804611 w 4804611"/>
              <a:gd name="connsiteY3" fmla="*/ 6053 h 1385674"/>
              <a:gd name="connsiteX0" fmla="*/ 0 w 4814974"/>
              <a:gd name="connsiteY0" fmla="*/ 1544736 h 1544736"/>
              <a:gd name="connsiteX1" fmla="*/ 962525 w 4814974"/>
              <a:gd name="connsiteY1" fmla="*/ 806800 h 1544736"/>
              <a:gd name="connsiteX2" fmla="*/ 2699458 w 4814974"/>
              <a:gd name="connsiteY2" fmla="*/ 235432 h 1544736"/>
              <a:gd name="connsiteX3" fmla="*/ 4814974 w 4814974"/>
              <a:gd name="connsiteY3" fmla="*/ 0 h 1544736"/>
              <a:gd name="connsiteX0" fmla="*/ 0 w 4814974"/>
              <a:gd name="connsiteY0" fmla="*/ 1544736 h 1544736"/>
              <a:gd name="connsiteX1" fmla="*/ 962525 w 4814974"/>
              <a:gd name="connsiteY1" fmla="*/ 806800 h 1544736"/>
              <a:gd name="connsiteX2" fmla="*/ 2979251 w 4814974"/>
              <a:gd name="connsiteY2" fmla="*/ 176463 h 1544736"/>
              <a:gd name="connsiteX3" fmla="*/ 4814974 w 4814974"/>
              <a:gd name="connsiteY3" fmla="*/ 0 h 1544736"/>
              <a:gd name="connsiteX0" fmla="*/ 0 w 4814974"/>
              <a:gd name="connsiteY0" fmla="*/ 1544926 h 1544926"/>
              <a:gd name="connsiteX1" fmla="*/ 962525 w 4814974"/>
              <a:gd name="connsiteY1" fmla="*/ 806990 h 1544926"/>
              <a:gd name="connsiteX2" fmla="*/ 2979251 w 4814974"/>
              <a:gd name="connsiteY2" fmla="*/ 176653 h 1544926"/>
              <a:gd name="connsiteX3" fmla="*/ 4814974 w 4814974"/>
              <a:gd name="connsiteY3" fmla="*/ 190 h 1544926"/>
              <a:gd name="connsiteX0" fmla="*/ 0 w 4814974"/>
              <a:gd name="connsiteY0" fmla="*/ 1544926 h 1544926"/>
              <a:gd name="connsiteX1" fmla="*/ 962525 w 4814974"/>
              <a:gd name="connsiteY1" fmla="*/ 806990 h 1544926"/>
              <a:gd name="connsiteX2" fmla="*/ 2979251 w 4814974"/>
              <a:gd name="connsiteY2" fmla="*/ 176653 h 1544926"/>
              <a:gd name="connsiteX3" fmla="*/ 4814974 w 4814974"/>
              <a:gd name="connsiteY3" fmla="*/ 190 h 1544926"/>
              <a:gd name="connsiteX0" fmla="*/ 0 w 4814974"/>
              <a:gd name="connsiteY0" fmla="*/ 1544926 h 1544926"/>
              <a:gd name="connsiteX1" fmla="*/ 2979251 w 4814974"/>
              <a:gd name="connsiteY1" fmla="*/ 176653 h 1544926"/>
              <a:gd name="connsiteX2" fmla="*/ 4814974 w 4814974"/>
              <a:gd name="connsiteY2" fmla="*/ 190 h 1544926"/>
              <a:gd name="connsiteX0" fmla="*/ 0 w 4814974"/>
              <a:gd name="connsiteY0" fmla="*/ 1544926 h 1544926"/>
              <a:gd name="connsiteX1" fmla="*/ 2979251 w 4814974"/>
              <a:gd name="connsiteY1" fmla="*/ 176653 h 1544926"/>
              <a:gd name="connsiteX2" fmla="*/ 4814974 w 4814974"/>
              <a:gd name="connsiteY2" fmla="*/ 190 h 154492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5042953"/>
              <a:gd name="connsiteY0" fmla="*/ 1910350 h 1910350"/>
              <a:gd name="connsiteX1" fmla="*/ 5042953 w 5042953"/>
              <a:gd name="connsiteY1" fmla="*/ 0 h 1910350"/>
              <a:gd name="connsiteX0" fmla="*/ 0 w 5042953"/>
              <a:gd name="connsiteY0" fmla="*/ 1910350 h 1910350"/>
              <a:gd name="connsiteX1" fmla="*/ 5042953 w 5042953"/>
              <a:gd name="connsiteY1" fmla="*/ 0 h 1910350"/>
              <a:gd name="connsiteX0" fmla="*/ 0 w 5096199"/>
              <a:gd name="connsiteY0" fmla="*/ 1769850 h 1769850"/>
              <a:gd name="connsiteX1" fmla="*/ 5096199 w 5096199"/>
              <a:gd name="connsiteY1" fmla="*/ 0 h 1769850"/>
              <a:gd name="connsiteX0" fmla="*/ 0 w 5096199"/>
              <a:gd name="connsiteY0" fmla="*/ 1769850 h 1769850"/>
              <a:gd name="connsiteX1" fmla="*/ 5096199 w 5096199"/>
              <a:gd name="connsiteY1" fmla="*/ 0 h 1769850"/>
              <a:gd name="connsiteX0" fmla="*/ 0 w 5096199"/>
              <a:gd name="connsiteY0" fmla="*/ 1488847 h 1488847"/>
              <a:gd name="connsiteX1" fmla="*/ 5096199 w 5096199"/>
              <a:gd name="connsiteY1" fmla="*/ 0 h 1488847"/>
              <a:gd name="connsiteX0" fmla="*/ 0 w 5096199"/>
              <a:gd name="connsiteY0" fmla="*/ 1685037 h 1685037"/>
              <a:gd name="connsiteX1" fmla="*/ 5096199 w 5096199"/>
              <a:gd name="connsiteY1" fmla="*/ 196190 h 1685037"/>
              <a:gd name="connsiteX0" fmla="*/ 0 w 5096199"/>
              <a:gd name="connsiteY0" fmla="*/ 1863302 h 1863302"/>
              <a:gd name="connsiteX1" fmla="*/ 5096199 w 5096199"/>
              <a:gd name="connsiteY1" fmla="*/ 163703 h 1863302"/>
              <a:gd name="connsiteX0" fmla="*/ 0 w 5096199"/>
              <a:gd name="connsiteY0" fmla="*/ 1760209 h 1760209"/>
              <a:gd name="connsiteX1" fmla="*/ 5096199 w 5096199"/>
              <a:gd name="connsiteY1" fmla="*/ 60610 h 1760209"/>
              <a:gd name="connsiteX0" fmla="*/ 0 w 5096199"/>
              <a:gd name="connsiteY0" fmla="*/ 1721635 h 1721635"/>
              <a:gd name="connsiteX1" fmla="*/ 5096199 w 5096199"/>
              <a:gd name="connsiteY1" fmla="*/ 22036 h 1721635"/>
              <a:gd name="connsiteX0" fmla="*/ 0 w 5096199"/>
              <a:gd name="connsiteY0" fmla="*/ 1721635 h 1721635"/>
              <a:gd name="connsiteX1" fmla="*/ 5096199 w 5096199"/>
              <a:gd name="connsiteY1" fmla="*/ 22036 h 1721635"/>
              <a:gd name="connsiteX0" fmla="*/ 0 w 5096196"/>
              <a:gd name="connsiteY0" fmla="*/ 1721635 h 1721635"/>
              <a:gd name="connsiteX1" fmla="*/ 5096197 w 5096196"/>
              <a:gd name="connsiteY1" fmla="*/ 22036 h 1721635"/>
              <a:gd name="connsiteX0" fmla="*/ 0 w 5096196"/>
              <a:gd name="connsiteY0" fmla="*/ 2027222 h 2027222"/>
              <a:gd name="connsiteX1" fmla="*/ 5096197 w 5096196"/>
              <a:gd name="connsiteY1" fmla="*/ 327623 h 2027222"/>
              <a:gd name="connsiteX0" fmla="*/ 0 w 5096196"/>
              <a:gd name="connsiteY0" fmla="*/ 1952631 h 1952631"/>
              <a:gd name="connsiteX1" fmla="*/ 5096197 w 5096196"/>
              <a:gd name="connsiteY1" fmla="*/ 253032 h 1952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96196" h="1952631">
                <a:moveTo>
                  <a:pt x="0" y="1952631"/>
                </a:moveTo>
                <a:cubicBezTo>
                  <a:pt x="1739706" y="340878"/>
                  <a:pt x="3140196" y="-438953"/>
                  <a:pt x="5096197" y="253032"/>
                </a:cubicBezTo>
              </a:path>
            </a:pathLst>
          </a:custGeom>
          <a:noFill/>
          <a:ln w="19050" cap="rnd">
            <a:solidFill>
              <a:schemeClr val="tx2"/>
            </a:solidFill>
            <a:tailEnd type="triangle" w="lg" len="lg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0000"/>
              </a:solidFill>
            </a:endParaRPr>
          </a:p>
        </p:txBody>
      </p:sp>
      <p:sp>
        <p:nvSpPr>
          <p:cNvPr id="93" name="Freeform 92"/>
          <p:cNvSpPr/>
          <p:nvPr/>
        </p:nvSpPr>
        <p:spPr>
          <a:xfrm>
            <a:off x="893003" y="3651322"/>
            <a:ext cx="1304045" cy="871111"/>
          </a:xfrm>
          <a:custGeom>
            <a:avLst/>
            <a:gdLst>
              <a:gd name="connsiteX0" fmla="*/ 0 w 2719137"/>
              <a:gd name="connsiteY0" fmla="*/ 3449053 h 3449053"/>
              <a:gd name="connsiteX1" fmla="*/ 994611 w 2719137"/>
              <a:gd name="connsiteY1" fmla="*/ 2815390 h 3449053"/>
              <a:gd name="connsiteX2" fmla="*/ 2109537 w 2719137"/>
              <a:gd name="connsiteY2" fmla="*/ 1772653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994611 w 2719137"/>
              <a:gd name="connsiteY1" fmla="*/ 2815390 h 3449053"/>
              <a:gd name="connsiteX2" fmla="*/ 2269958 w 2719137"/>
              <a:gd name="connsiteY2" fmla="*/ 1644316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1010653 w 2719137"/>
              <a:gd name="connsiteY1" fmla="*/ 2895601 h 3449053"/>
              <a:gd name="connsiteX2" fmla="*/ 2269958 w 2719137"/>
              <a:gd name="connsiteY2" fmla="*/ 1644316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1010653 w 2719137"/>
              <a:gd name="connsiteY1" fmla="*/ 2895601 h 3449053"/>
              <a:gd name="connsiteX2" fmla="*/ 2269958 w 2719137"/>
              <a:gd name="connsiteY2" fmla="*/ 1644316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1010653 w 2719137"/>
              <a:gd name="connsiteY1" fmla="*/ 2895601 h 3449053"/>
              <a:gd name="connsiteX2" fmla="*/ 2269958 w 2719137"/>
              <a:gd name="connsiteY2" fmla="*/ 1644316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1010653 w 2719137"/>
              <a:gd name="connsiteY1" fmla="*/ 2895601 h 3449053"/>
              <a:gd name="connsiteX2" fmla="*/ 2077453 w 2719137"/>
              <a:gd name="connsiteY2" fmla="*/ 1957137 h 3449053"/>
              <a:gd name="connsiteX3" fmla="*/ 2719137 w 2719137"/>
              <a:gd name="connsiteY3" fmla="*/ 0 h 3449053"/>
              <a:gd name="connsiteX0" fmla="*/ 0 w 2671011"/>
              <a:gd name="connsiteY0" fmla="*/ 3489159 h 3489159"/>
              <a:gd name="connsiteX1" fmla="*/ 1010653 w 2671011"/>
              <a:gd name="connsiteY1" fmla="*/ 2935707 h 3489159"/>
              <a:gd name="connsiteX2" fmla="*/ 2077453 w 2671011"/>
              <a:gd name="connsiteY2" fmla="*/ 1997243 h 3489159"/>
              <a:gd name="connsiteX3" fmla="*/ 2671011 w 2671011"/>
              <a:gd name="connsiteY3" fmla="*/ 0 h 3489159"/>
              <a:gd name="connsiteX0" fmla="*/ 0 w 2823411"/>
              <a:gd name="connsiteY0" fmla="*/ 3577390 h 3577390"/>
              <a:gd name="connsiteX1" fmla="*/ 1010653 w 2823411"/>
              <a:gd name="connsiteY1" fmla="*/ 3023938 h 3577390"/>
              <a:gd name="connsiteX2" fmla="*/ 2077453 w 2823411"/>
              <a:gd name="connsiteY2" fmla="*/ 2085474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1010653 w 2823411"/>
              <a:gd name="connsiteY1" fmla="*/ 3023938 h 3577390"/>
              <a:gd name="connsiteX2" fmla="*/ 2085474 w 2823411"/>
              <a:gd name="connsiteY2" fmla="*/ 2037348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1010653 w 2823411"/>
              <a:gd name="connsiteY1" fmla="*/ 3023938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1010653 w 2823411"/>
              <a:gd name="connsiteY1" fmla="*/ 3023938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34190 w 2823411"/>
              <a:gd name="connsiteY1" fmla="*/ 3136233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34190 w 2823411"/>
              <a:gd name="connsiteY1" fmla="*/ 3136233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34190 w 2823411"/>
              <a:gd name="connsiteY1" fmla="*/ 3136233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42211 w 2823411"/>
              <a:gd name="connsiteY1" fmla="*/ 3200402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42211 w 2823411"/>
              <a:gd name="connsiteY1" fmla="*/ 3200402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42211 w 2823411"/>
              <a:gd name="connsiteY1" fmla="*/ 3200402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63516"/>
              <a:gd name="connsiteY0" fmla="*/ 3537285 h 3537285"/>
              <a:gd name="connsiteX1" fmla="*/ 882316 w 2863516"/>
              <a:gd name="connsiteY1" fmla="*/ 3200402 h 3537285"/>
              <a:gd name="connsiteX2" fmla="*/ 2253916 w 2863516"/>
              <a:gd name="connsiteY2" fmla="*/ 1965159 h 3537285"/>
              <a:gd name="connsiteX3" fmla="*/ 2863516 w 2863516"/>
              <a:gd name="connsiteY3" fmla="*/ 0 h 3537285"/>
              <a:gd name="connsiteX0" fmla="*/ 0 w 2863516"/>
              <a:gd name="connsiteY0" fmla="*/ 3537285 h 3537285"/>
              <a:gd name="connsiteX1" fmla="*/ 882316 w 2863516"/>
              <a:gd name="connsiteY1" fmla="*/ 3200402 h 3537285"/>
              <a:gd name="connsiteX2" fmla="*/ 2253916 w 2863516"/>
              <a:gd name="connsiteY2" fmla="*/ 1965159 h 3537285"/>
              <a:gd name="connsiteX3" fmla="*/ 2863516 w 2863516"/>
              <a:gd name="connsiteY3" fmla="*/ 0 h 3537285"/>
              <a:gd name="connsiteX0" fmla="*/ 0 w 2863516"/>
              <a:gd name="connsiteY0" fmla="*/ 3537285 h 3537285"/>
              <a:gd name="connsiteX1" fmla="*/ 1171074 w 2863516"/>
              <a:gd name="connsiteY1" fmla="*/ 3056023 h 3537285"/>
              <a:gd name="connsiteX2" fmla="*/ 2253916 w 2863516"/>
              <a:gd name="connsiteY2" fmla="*/ 1965159 h 3537285"/>
              <a:gd name="connsiteX3" fmla="*/ 2863516 w 2863516"/>
              <a:gd name="connsiteY3" fmla="*/ 0 h 3537285"/>
              <a:gd name="connsiteX0" fmla="*/ 0 w 2863516"/>
              <a:gd name="connsiteY0" fmla="*/ 3537285 h 3537285"/>
              <a:gd name="connsiteX1" fmla="*/ 1171074 w 2863516"/>
              <a:gd name="connsiteY1" fmla="*/ 3056023 h 3537285"/>
              <a:gd name="connsiteX2" fmla="*/ 2205790 w 2863516"/>
              <a:gd name="connsiteY2" fmla="*/ 1900990 h 3537285"/>
              <a:gd name="connsiteX3" fmla="*/ 2863516 w 2863516"/>
              <a:gd name="connsiteY3" fmla="*/ 0 h 3537285"/>
              <a:gd name="connsiteX0" fmla="*/ 0 w 2863516"/>
              <a:gd name="connsiteY0" fmla="*/ 3537285 h 3537285"/>
              <a:gd name="connsiteX1" fmla="*/ 2205790 w 2863516"/>
              <a:gd name="connsiteY1" fmla="*/ 1900990 h 3537285"/>
              <a:gd name="connsiteX2" fmla="*/ 2863516 w 2863516"/>
              <a:gd name="connsiteY2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9711"/>
              <a:gd name="connsiteX1" fmla="*/ 2863516 w 2863516"/>
              <a:gd name="connsiteY1" fmla="*/ 0 h 3539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863516" h="3539711">
                <a:moveTo>
                  <a:pt x="0" y="3537285"/>
                </a:moveTo>
                <a:cubicBezTo>
                  <a:pt x="1662423" y="3586779"/>
                  <a:pt x="2250251" y="2894859"/>
                  <a:pt x="2863516" y="0"/>
                </a:cubicBezTo>
              </a:path>
            </a:pathLst>
          </a:custGeom>
          <a:noFill/>
          <a:ln w="19050" cap="rnd">
            <a:solidFill>
              <a:schemeClr val="accent2"/>
            </a:solidFill>
            <a:tailEnd type="triangle" w="lg" len="lg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0000"/>
              </a:solidFill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4933206" y="3651322"/>
            <a:ext cx="1304045" cy="871111"/>
          </a:xfrm>
          <a:custGeom>
            <a:avLst/>
            <a:gdLst>
              <a:gd name="connsiteX0" fmla="*/ 0 w 2719137"/>
              <a:gd name="connsiteY0" fmla="*/ 3449053 h 3449053"/>
              <a:gd name="connsiteX1" fmla="*/ 994611 w 2719137"/>
              <a:gd name="connsiteY1" fmla="*/ 2815390 h 3449053"/>
              <a:gd name="connsiteX2" fmla="*/ 2109537 w 2719137"/>
              <a:gd name="connsiteY2" fmla="*/ 1772653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994611 w 2719137"/>
              <a:gd name="connsiteY1" fmla="*/ 2815390 h 3449053"/>
              <a:gd name="connsiteX2" fmla="*/ 2269958 w 2719137"/>
              <a:gd name="connsiteY2" fmla="*/ 1644316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1010653 w 2719137"/>
              <a:gd name="connsiteY1" fmla="*/ 2895601 h 3449053"/>
              <a:gd name="connsiteX2" fmla="*/ 2269958 w 2719137"/>
              <a:gd name="connsiteY2" fmla="*/ 1644316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1010653 w 2719137"/>
              <a:gd name="connsiteY1" fmla="*/ 2895601 h 3449053"/>
              <a:gd name="connsiteX2" fmla="*/ 2269958 w 2719137"/>
              <a:gd name="connsiteY2" fmla="*/ 1644316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1010653 w 2719137"/>
              <a:gd name="connsiteY1" fmla="*/ 2895601 h 3449053"/>
              <a:gd name="connsiteX2" fmla="*/ 2269958 w 2719137"/>
              <a:gd name="connsiteY2" fmla="*/ 1644316 h 3449053"/>
              <a:gd name="connsiteX3" fmla="*/ 2719137 w 2719137"/>
              <a:gd name="connsiteY3" fmla="*/ 0 h 3449053"/>
              <a:gd name="connsiteX0" fmla="*/ 0 w 2719137"/>
              <a:gd name="connsiteY0" fmla="*/ 3449053 h 3449053"/>
              <a:gd name="connsiteX1" fmla="*/ 1010653 w 2719137"/>
              <a:gd name="connsiteY1" fmla="*/ 2895601 h 3449053"/>
              <a:gd name="connsiteX2" fmla="*/ 2077453 w 2719137"/>
              <a:gd name="connsiteY2" fmla="*/ 1957137 h 3449053"/>
              <a:gd name="connsiteX3" fmla="*/ 2719137 w 2719137"/>
              <a:gd name="connsiteY3" fmla="*/ 0 h 3449053"/>
              <a:gd name="connsiteX0" fmla="*/ 0 w 2671011"/>
              <a:gd name="connsiteY0" fmla="*/ 3489159 h 3489159"/>
              <a:gd name="connsiteX1" fmla="*/ 1010653 w 2671011"/>
              <a:gd name="connsiteY1" fmla="*/ 2935707 h 3489159"/>
              <a:gd name="connsiteX2" fmla="*/ 2077453 w 2671011"/>
              <a:gd name="connsiteY2" fmla="*/ 1997243 h 3489159"/>
              <a:gd name="connsiteX3" fmla="*/ 2671011 w 2671011"/>
              <a:gd name="connsiteY3" fmla="*/ 0 h 3489159"/>
              <a:gd name="connsiteX0" fmla="*/ 0 w 2823411"/>
              <a:gd name="connsiteY0" fmla="*/ 3577390 h 3577390"/>
              <a:gd name="connsiteX1" fmla="*/ 1010653 w 2823411"/>
              <a:gd name="connsiteY1" fmla="*/ 3023938 h 3577390"/>
              <a:gd name="connsiteX2" fmla="*/ 2077453 w 2823411"/>
              <a:gd name="connsiteY2" fmla="*/ 2085474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1010653 w 2823411"/>
              <a:gd name="connsiteY1" fmla="*/ 3023938 h 3577390"/>
              <a:gd name="connsiteX2" fmla="*/ 2085474 w 2823411"/>
              <a:gd name="connsiteY2" fmla="*/ 2037348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1010653 w 2823411"/>
              <a:gd name="connsiteY1" fmla="*/ 3023938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1010653 w 2823411"/>
              <a:gd name="connsiteY1" fmla="*/ 3023938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34190 w 2823411"/>
              <a:gd name="connsiteY1" fmla="*/ 3136233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34190 w 2823411"/>
              <a:gd name="connsiteY1" fmla="*/ 3136233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34190 w 2823411"/>
              <a:gd name="connsiteY1" fmla="*/ 3136233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42211 w 2823411"/>
              <a:gd name="connsiteY1" fmla="*/ 3200402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42211 w 2823411"/>
              <a:gd name="connsiteY1" fmla="*/ 3200402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23411"/>
              <a:gd name="connsiteY0" fmla="*/ 3577390 h 3577390"/>
              <a:gd name="connsiteX1" fmla="*/ 842211 w 2823411"/>
              <a:gd name="connsiteY1" fmla="*/ 3200402 h 3577390"/>
              <a:gd name="connsiteX2" fmla="*/ 2213811 w 2823411"/>
              <a:gd name="connsiteY2" fmla="*/ 1965159 h 3577390"/>
              <a:gd name="connsiteX3" fmla="*/ 2823411 w 2823411"/>
              <a:gd name="connsiteY3" fmla="*/ 0 h 3577390"/>
              <a:gd name="connsiteX0" fmla="*/ 0 w 2863516"/>
              <a:gd name="connsiteY0" fmla="*/ 3537285 h 3537285"/>
              <a:gd name="connsiteX1" fmla="*/ 882316 w 2863516"/>
              <a:gd name="connsiteY1" fmla="*/ 3200402 h 3537285"/>
              <a:gd name="connsiteX2" fmla="*/ 2253916 w 2863516"/>
              <a:gd name="connsiteY2" fmla="*/ 1965159 h 3537285"/>
              <a:gd name="connsiteX3" fmla="*/ 2863516 w 2863516"/>
              <a:gd name="connsiteY3" fmla="*/ 0 h 3537285"/>
              <a:gd name="connsiteX0" fmla="*/ 0 w 2863516"/>
              <a:gd name="connsiteY0" fmla="*/ 3537285 h 3537285"/>
              <a:gd name="connsiteX1" fmla="*/ 882316 w 2863516"/>
              <a:gd name="connsiteY1" fmla="*/ 3200402 h 3537285"/>
              <a:gd name="connsiteX2" fmla="*/ 2253916 w 2863516"/>
              <a:gd name="connsiteY2" fmla="*/ 1965159 h 3537285"/>
              <a:gd name="connsiteX3" fmla="*/ 2863516 w 2863516"/>
              <a:gd name="connsiteY3" fmla="*/ 0 h 3537285"/>
              <a:gd name="connsiteX0" fmla="*/ 0 w 2863516"/>
              <a:gd name="connsiteY0" fmla="*/ 3537285 h 3537285"/>
              <a:gd name="connsiteX1" fmla="*/ 1171074 w 2863516"/>
              <a:gd name="connsiteY1" fmla="*/ 3056023 h 3537285"/>
              <a:gd name="connsiteX2" fmla="*/ 2253916 w 2863516"/>
              <a:gd name="connsiteY2" fmla="*/ 1965159 h 3537285"/>
              <a:gd name="connsiteX3" fmla="*/ 2863516 w 2863516"/>
              <a:gd name="connsiteY3" fmla="*/ 0 h 3537285"/>
              <a:gd name="connsiteX0" fmla="*/ 0 w 2863516"/>
              <a:gd name="connsiteY0" fmla="*/ 3537285 h 3537285"/>
              <a:gd name="connsiteX1" fmla="*/ 1171074 w 2863516"/>
              <a:gd name="connsiteY1" fmla="*/ 3056023 h 3537285"/>
              <a:gd name="connsiteX2" fmla="*/ 2205790 w 2863516"/>
              <a:gd name="connsiteY2" fmla="*/ 1900990 h 3537285"/>
              <a:gd name="connsiteX3" fmla="*/ 2863516 w 2863516"/>
              <a:gd name="connsiteY3" fmla="*/ 0 h 3537285"/>
              <a:gd name="connsiteX0" fmla="*/ 0 w 2863516"/>
              <a:gd name="connsiteY0" fmla="*/ 3537285 h 3537285"/>
              <a:gd name="connsiteX1" fmla="*/ 2205790 w 2863516"/>
              <a:gd name="connsiteY1" fmla="*/ 1900990 h 3537285"/>
              <a:gd name="connsiteX2" fmla="*/ 2863516 w 2863516"/>
              <a:gd name="connsiteY2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7285"/>
              <a:gd name="connsiteX1" fmla="*/ 2863516 w 2863516"/>
              <a:gd name="connsiteY1" fmla="*/ 0 h 3537285"/>
              <a:gd name="connsiteX0" fmla="*/ 0 w 2863516"/>
              <a:gd name="connsiteY0" fmla="*/ 3537285 h 3539711"/>
              <a:gd name="connsiteX1" fmla="*/ 2863516 w 2863516"/>
              <a:gd name="connsiteY1" fmla="*/ 0 h 3539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863516" h="3539711">
                <a:moveTo>
                  <a:pt x="0" y="3537285"/>
                </a:moveTo>
                <a:cubicBezTo>
                  <a:pt x="1662423" y="3586779"/>
                  <a:pt x="2250251" y="2894859"/>
                  <a:pt x="2863516" y="0"/>
                </a:cubicBezTo>
              </a:path>
            </a:pathLst>
          </a:custGeom>
          <a:noFill/>
          <a:ln w="19050" cap="rnd">
            <a:solidFill>
              <a:schemeClr val="accent1"/>
            </a:solidFill>
            <a:tailEnd type="triangle" w="lg" len="lg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0000"/>
              </a:solidFill>
            </a:endParaRPr>
          </a:p>
        </p:txBody>
      </p:sp>
      <p:sp>
        <p:nvSpPr>
          <p:cNvPr id="63" name="Oval 62"/>
          <p:cNvSpPr/>
          <p:nvPr/>
        </p:nvSpPr>
        <p:spPr>
          <a:xfrm>
            <a:off x="1214124" y="2352186"/>
            <a:ext cx="657730" cy="657730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5" name="Oval 64"/>
          <p:cNvSpPr/>
          <p:nvPr/>
        </p:nvSpPr>
        <p:spPr>
          <a:xfrm>
            <a:off x="3234225" y="2352186"/>
            <a:ext cx="657730" cy="65773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6" name="Oval 65"/>
          <p:cNvSpPr/>
          <p:nvPr/>
        </p:nvSpPr>
        <p:spPr>
          <a:xfrm>
            <a:off x="5254326" y="2352186"/>
            <a:ext cx="657730" cy="657730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7" name="Oval 66"/>
          <p:cNvSpPr/>
          <p:nvPr/>
        </p:nvSpPr>
        <p:spPr>
          <a:xfrm>
            <a:off x="7278501" y="2352186"/>
            <a:ext cx="657730" cy="657730"/>
          </a:xfrm>
          <a:prstGeom prst="ellipse">
            <a:avLst/>
          </a:prstGeom>
          <a:solidFill>
            <a:schemeClr val="accent5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2" name="Freeform 5"/>
          <p:cNvSpPr>
            <a:spLocks noChangeAspect="1" noEditPoints="1"/>
          </p:cNvSpPr>
          <p:nvPr/>
        </p:nvSpPr>
        <p:spPr bwMode="auto">
          <a:xfrm>
            <a:off x="1371600" y="2495557"/>
            <a:ext cx="343084" cy="363566"/>
          </a:xfrm>
          <a:custGeom>
            <a:avLst/>
            <a:gdLst>
              <a:gd name="T0" fmla="*/ 11 w 173"/>
              <a:gd name="T1" fmla="*/ 27 h 182"/>
              <a:gd name="T2" fmla="*/ 11 w 173"/>
              <a:gd name="T3" fmla="*/ 58 h 182"/>
              <a:gd name="T4" fmla="*/ 0 w 173"/>
              <a:gd name="T5" fmla="*/ 71 h 182"/>
              <a:gd name="T6" fmla="*/ 11 w 173"/>
              <a:gd name="T7" fmla="*/ 84 h 182"/>
              <a:gd name="T8" fmla="*/ 11 w 173"/>
              <a:gd name="T9" fmla="*/ 105 h 182"/>
              <a:gd name="T10" fmla="*/ 83 w 173"/>
              <a:gd name="T11" fmla="*/ 105 h 182"/>
              <a:gd name="T12" fmla="*/ 83 w 173"/>
              <a:gd name="T13" fmla="*/ 150 h 182"/>
              <a:gd name="T14" fmla="*/ 72 w 173"/>
              <a:gd name="T15" fmla="*/ 162 h 182"/>
              <a:gd name="T16" fmla="*/ 7 w 173"/>
              <a:gd name="T17" fmla="*/ 162 h 182"/>
              <a:gd name="T18" fmla="*/ 9 w 173"/>
              <a:gd name="T19" fmla="*/ 164 h 182"/>
              <a:gd name="T20" fmla="*/ 11 w 173"/>
              <a:gd name="T21" fmla="*/ 166 h 182"/>
              <a:gd name="T22" fmla="*/ 73 w 173"/>
              <a:gd name="T23" fmla="*/ 166 h 182"/>
              <a:gd name="T24" fmla="*/ 85 w 173"/>
              <a:gd name="T25" fmla="*/ 176 h 182"/>
              <a:gd name="T26" fmla="*/ 98 w 173"/>
              <a:gd name="T27" fmla="*/ 166 h 182"/>
              <a:gd name="T28" fmla="*/ 120 w 173"/>
              <a:gd name="T29" fmla="*/ 166 h 182"/>
              <a:gd name="T30" fmla="*/ 120 w 173"/>
              <a:gd name="T31" fmla="*/ 182 h 182"/>
              <a:gd name="T32" fmla="*/ 125 w 173"/>
              <a:gd name="T33" fmla="*/ 180 h 182"/>
              <a:gd name="T34" fmla="*/ 125 w 173"/>
              <a:gd name="T35" fmla="*/ 166 h 182"/>
              <a:gd name="T36" fmla="*/ 143 w 173"/>
              <a:gd name="T37" fmla="*/ 166 h 182"/>
              <a:gd name="T38" fmla="*/ 144 w 173"/>
              <a:gd name="T39" fmla="*/ 165 h 182"/>
              <a:gd name="T40" fmla="*/ 147 w 173"/>
              <a:gd name="T41" fmla="*/ 162 h 182"/>
              <a:gd name="T42" fmla="*/ 125 w 173"/>
              <a:gd name="T43" fmla="*/ 162 h 182"/>
              <a:gd name="T44" fmla="*/ 125 w 173"/>
              <a:gd name="T45" fmla="*/ 115 h 182"/>
              <a:gd name="T46" fmla="*/ 135 w 173"/>
              <a:gd name="T47" fmla="*/ 105 h 182"/>
              <a:gd name="T48" fmla="*/ 173 w 173"/>
              <a:gd name="T49" fmla="*/ 105 h 182"/>
              <a:gd name="T50" fmla="*/ 173 w 173"/>
              <a:gd name="T51" fmla="*/ 100 h 182"/>
              <a:gd name="T52" fmla="*/ 135 w 173"/>
              <a:gd name="T53" fmla="*/ 100 h 182"/>
              <a:gd name="T54" fmla="*/ 122 w 173"/>
              <a:gd name="T55" fmla="*/ 90 h 182"/>
              <a:gd name="T56" fmla="*/ 109 w 173"/>
              <a:gd name="T57" fmla="*/ 100 h 182"/>
              <a:gd name="T58" fmla="*/ 87 w 173"/>
              <a:gd name="T59" fmla="*/ 100 h 182"/>
              <a:gd name="T60" fmla="*/ 87 w 173"/>
              <a:gd name="T61" fmla="*/ 65 h 182"/>
              <a:gd name="T62" fmla="*/ 98 w 173"/>
              <a:gd name="T63" fmla="*/ 55 h 182"/>
              <a:gd name="T64" fmla="*/ 164 w 173"/>
              <a:gd name="T65" fmla="*/ 55 h 182"/>
              <a:gd name="T66" fmla="*/ 161 w 173"/>
              <a:gd name="T67" fmla="*/ 51 h 182"/>
              <a:gd name="T68" fmla="*/ 98 w 173"/>
              <a:gd name="T69" fmla="*/ 51 h 182"/>
              <a:gd name="T70" fmla="*/ 85 w 173"/>
              <a:gd name="T71" fmla="*/ 39 h 182"/>
              <a:gd name="T72" fmla="*/ 72 w 173"/>
              <a:gd name="T73" fmla="*/ 52 h 182"/>
              <a:gd name="T74" fmla="*/ 83 w 173"/>
              <a:gd name="T75" fmla="*/ 65 h 182"/>
              <a:gd name="T76" fmla="*/ 83 w 173"/>
              <a:gd name="T77" fmla="*/ 100 h 182"/>
              <a:gd name="T78" fmla="*/ 16 w 173"/>
              <a:gd name="T79" fmla="*/ 100 h 182"/>
              <a:gd name="T80" fmla="*/ 16 w 173"/>
              <a:gd name="T81" fmla="*/ 84 h 182"/>
              <a:gd name="T82" fmla="*/ 26 w 173"/>
              <a:gd name="T83" fmla="*/ 71 h 182"/>
              <a:gd name="T84" fmla="*/ 16 w 173"/>
              <a:gd name="T85" fmla="*/ 58 h 182"/>
              <a:gd name="T86" fmla="*/ 16 w 173"/>
              <a:gd name="T87" fmla="*/ 31 h 182"/>
              <a:gd name="T88" fmla="*/ 85 w 173"/>
              <a:gd name="T89" fmla="*/ 31 h 182"/>
              <a:gd name="T90" fmla="*/ 85 w 173"/>
              <a:gd name="T91" fmla="*/ 1 h 182"/>
              <a:gd name="T92" fmla="*/ 80 w 173"/>
              <a:gd name="T93" fmla="*/ 0 h 182"/>
              <a:gd name="T94" fmla="*/ 80 w 173"/>
              <a:gd name="T95" fmla="*/ 27 h 182"/>
              <a:gd name="T96" fmla="*/ 16 w 173"/>
              <a:gd name="T97" fmla="*/ 27 h 182"/>
              <a:gd name="T98" fmla="*/ 11 w 173"/>
              <a:gd name="T99" fmla="*/ 27 h 182"/>
              <a:gd name="T100" fmla="*/ 120 w 173"/>
              <a:gd name="T101" fmla="*/ 162 h 182"/>
              <a:gd name="T102" fmla="*/ 98 w 173"/>
              <a:gd name="T103" fmla="*/ 162 h 182"/>
              <a:gd name="T104" fmla="*/ 87 w 173"/>
              <a:gd name="T105" fmla="*/ 150 h 182"/>
              <a:gd name="T106" fmla="*/ 87 w 173"/>
              <a:gd name="T107" fmla="*/ 105 h 182"/>
              <a:gd name="T108" fmla="*/ 109 w 173"/>
              <a:gd name="T109" fmla="*/ 105 h 182"/>
              <a:gd name="T110" fmla="*/ 120 w 173"/>
              <a:gd name="T111" fmla="*/ 115 h 182"/>
              <a:gd name="T112" fmla="*/ 120 w 173"/>
              <a:gd name="T113" fmla="*/ 162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73" h="182">
                <a:moveTo>
                  <a:pt x="11" y="27"/>
                </a:moveTo>
                <a:cubicBezTo>
                  <a:pt x="11" y="58"/>
                  <a:pt x="11" y="58"/>
                  <a:pt x="11" y="58"/>
                </a:cubicBezTo>
                <a:cubicBezTo>
                  <a:pt x="5" y="59"/>
                  <a:pt x="0" y="64"/>
                  <a:pt x="0" y="71"/>
                </a:cubicBezTo>
                <a:cubicBezTo>
                  <a:pt x="0" y="78"/>
                  <a:pt x="5" y="83"/>
                  <a:pt x="11" y="84"/>
                </a:cubicBezTo>
                <a:cubicBezTo>
                  <a:pt x="11" y="105"/>
                  <a:pt x="11" y="105"/>
                  <a:pt x="11" y="105"/>
                </a:cubicBezTo>
                <a:cubicBezTo>
                  <a:pt x="83" y="105"/>
                  <a:pt x="83" y="105"/>
                  <a:pt x="83" y="105"/>
                </a:cubicBezTo>
                <a:cubicBezTo>
                  <a:pt x="83" y="150"/>
                  <a:pt x="83" y="150"/>
                  <a:pt x="83" y="150"/>
                </a:cubicBezTo>
                <a:cubicBezTo>
                  <a:pt x="77" y="151"/>
                  <a:pt x="73" y="156"/>
                  <a:pt x="72" y="162"/>
                </a:cubicBezTo>
                <a:cubicBezTo>
                  <a:pt x="7" y="162"/>
                  <a:pt x="7" y="162"/>
                  <a:pt x="7" y="162"/>
                </a:cubicBezTo>
                <a:cubicBezTo>
                  <a:pt x="7" y="163"/>
                  <a:pt x="8" y="164"/>
                  <a:pt x="9" y="164"/>
                </a:cubicBezTo>
                <a:cubicBezTo>
                  <a:pt x="9" y="165"/>
                  <a:pt x="10" y="166"/>
                  <a:pt x="11" y="166"/>
                </a:cubicBezTo>
                <a:cubicBezTo>
                  <a:pt x="73" y="166"/>
                  <a:pt x="73" y="166"/>
                  <a:pt x="73" y="166"/>
                </a:cubicBezTo>
                <a:cubicBezTo>
                  <a:pt x="74" y="172"/>
                  <a:pt x="79" y="176"/>
                  <a:pt x="85" y="176"/>
                </a:cubicBezTo>
                <a:cubicBezTo>
                  <a:pt x="91" y="176"/>
                  <a:pt x="97" y="172"/>
                  <a:pt x="98" y="166"/>
                </a:cubicBezTo>
                <a:cubicBezTo>
                  <a:pt x="120" y="166"/>
                  <a:pt x="120" y="166"/>
                  <a:pt x="120" y="166"/>
                </a:cubicBezTo>
                <a:cubicBezTo>
                  <a:pt x="120" y="182"/>
                  <a:pt x="120" y="182"/>
                  <a:pt x="120" y="182"/>
                </a:cubicBezTo>
                <a:cubicBezTo>
                  <a:pt x="122" y="181"/>
                  <a:pt x="123" y="180"/>
                  <a:pt x="125" y="180"/>
                </a:cubicBezTo>
                <a:cubicBezTo>
                  <a:pt x="125" y="166"/>
                  <a:pt x="125" y="166"/>
                  <a:pt x="125" y="166"/>
                </a:cubicBezTo>
                <a:cubicBezTo>
                  <a:pt x="143" y="166"/>
                  <a:pt x="143" y="166"/>
                  <a:pt x="143" y="166"/>
                </a:cubicBezTo>
                <a:cubicBezTo>
                  <a:pt x="143" y="166"/>
                  <a:pt x="144" y="165"/>
                  <a:pt x="144" y="165"/>
                </a:cubicBezTo>
                <a:cubicBezTo>
                  <a:pt x="145" y="164"/>
                  <a:pt x="146" y="163"/>
                  <a:pt x="147" y="162"/>
                </a:cubicBezTo>
                <a:cubicBezTo>
                  <a:pt x="125" y="162"/>
                  <a:pt x="125" y="162"/>
                  <a:pt x="125" y="162"/>
                </a:cubicBezTo>
                <a:cubicBezTo>
                  <a:pt x="125" y="115"/>
                  <a:pt x="125" y="115"/>
                  <a:pt x="125" y="115"/>
                </a:cubicBezTo>
                <a:cubicBezTo>
                  <a:pt x="130" y="114"/>
                  <a:pt x="134" y="110"/>
                  <a:pt x="135" y="105"/>
                </a:cubicBezTo>
                <a:cubicBezTo>
                  <a:pt x="173" y="105"/>
                  <a:pt x="173" y="105"/>
                  <a:pt x="173" y="105"/>
                </a:cubicBezTo>
                <a:cubicBezTo>
                  <a:pt x="173" y="103"/>
                  <a:pt x="173" y="102"/>
                  <a:pt x="173" y="100"/>
                </a:cubicBezTo>
                <a:cubicBezTo>
                  <a:pt x="135" y="100"/>
                  <a:pt x="135" y="100"/>
                  <a:pt x="135" y="100"/>
                </a:cubicBezTo>
                <a:cubicBezTo>
                  <a:pt x="133" y="94"/>
                  <a:pt x="128" y="90"/>
                  <a:pt x="122" y="90"/>
                </a:cubicBezTo>
                <a:cubicBezTo>
                  <a:pt x="115" y="90"/>
                  <a:pt x="110" y="94"/>
                  <a:pt x="109" y="100"/>
                </a:cubicBezTo>
                <a:cubicBezTo>
                  <a:pt x="87" y="100"/>
                  <a:pt x="87" y="100"/>
                  <a:pt x="87" y="100"/>
                </a:cubicBezTo>
                <a:cubicBezTo>
                  <a:pt x="87" y="65"/>
                  <a:pt x="87" y="65"/>
                  <a:pt x="87" y="65"/>
                </a:cubicBezTo>
                <a:cubicBezTo>
                  <a:pt x="93" y="64"/>
                  <a:pt x="97" y="60"/>
                  <a:pt x="98" y="55"/>
                </a:cubicBezTo>
                <a:cubicBezTo>
                  <a:pt x="164" y="55"/>
                  <a:pt x="164" y="55"/>
                  <a:pt x="164" y="55"/>
                </a:cubicBezTo>
                <a:cubicBezTo>
                  <a:pt x="163" y="54"/>
                  <a:pt x="162" y="52"/>
                  <a:pt x="161" y="51"/>
                </a:cubicBezTo>
                <a:cubicBezTo>
                  <a:pt x="98" y="51"/>
                  <a:pt x="98" y="51"/>
                  <a:pt x="98" y="51"/>
                </a:cubicBezTo>
                <a:cubicBezTo>
                  <a:pt x="98" y="44"/>
                  <a:pt x="92" y="39"/>
                  <a:pt x="85" y="39"/>
                </a:cubicBezTo>
                <a:cubicBezTo>
                  <a:pt x="78" y="39"/>
                  <a:pt x="72" y="45"/>
                  <a:pt x="72" y="52"/>
                </a:cubicBezTo>
                <a:cubicBezTo>
                  <a:pt x="72" y="59"/>
                  <a:pt x="77" y="64"/>
                  <a:pt x="83" y="65"/>
                </a:cubicBezTo>
                <a:cubicBezTo>
                  <a:pt x="83" y="100"/>
                  <a:pt x="83" y="100"/>
                  <a:pt x="83" y="100"/>
                </a:cubicBezTo>
                <a:cubicBezTo>
                  <a:pt x="16" y="100"/>
                  <a:pt x="16" y="100"/>
                  <a:pt x="16" y="100"/>
                </a:cubicBezTo>
                <a:cubicBezTo>
                  <a:pt x="16" y="84"/>
                  <a:pt x="16" y="84"/>
                  <a:pt x="16" y="84"/>
                </a:cubicBezTo>
                <a:cubicBezTo>
                  <a:pt x="21" y="82"/>
                  <a:pt x="26" y="77"/>
                  <a:pt x="26" y="71"/>
                </a:cubicBezTo>
                <a:cubicBezTo>
                  <a:pt x="26" y="65"/>
                  <a:pt x="21" y="60"/>
                  <a:pt x="16" y="58"/>
                </a:cubicBezTo>
                <a:cubicBezTo>
                  <a:pt x="16" y="31"/>
                  <a:pt x="16" y="31"/>
                  <a:pt x="16" y="31"/>
                </a:cubicBezTo>
                <a:cubicBezTo>
                  <a:pt x="85" y="31"/>
                  <a:pt x="85" y="31"/>
                  <a:pt x="85" y="31"/>
                </a:cubicBezTo>
                <a:cubicBezTo>
                  <a:pt x="85" y="1"/>
                  <a:pt x="85" y="1"/>
                  <a:pt x="85" y="1"/>
                </a:cubicBezTo>
                <a:cubicBezTo>
                  <a:pt x="83" y="0"/>
                  <a:pt x="82" y="0"/>
                  <a:pt x="80" y="0"/>
                </a:cubicBezTo>
                <a:cubicBezTo>
                  <a:pt x="80" y="27"/>
                  <a:pt x="80" y="27"/>
                  <a:pt x="80" y="27"/>
                </a:cubicBezTo>
                <a:cubicBezTo>
                  <a:pt x="16" y="27"/>
                  <a:pt x="16" y="27"/>
                  <a:pt x="16" y="27"/>
                </a:cubicBezTo>
                <a:lnTo>
                  <a:pt x="11" y="27"/>
                </a:lnTo>
                <a:close/>
                <a:moveTo>
                  <a:pt x="120" y="162"/>
                </a:moveTo>
                <a:cubicBezTo>
                  <a:pt x="98" y="162"/>
                  <a:pt x="98" y="162"/>
                  <a:pt x="98" y="162"/>
                </a:cubicBezTo>
                <a:cubicBezTo>
                  <a:pt x="98" y="156"/>
                  <a:pt x="93" y="151"/>
                  <a:pt x="87" y="150"/>
                </a:cubicBezTo>
                <a:cubicBezTo>
                  <a:pt x="87" y="105"/>
                  <a:pt x="87" y="105"/>
                  <a:pt x="87" y="105"/>
                </a:cubicBezTo>
                <a:cubicBezTo>
                  <a:pt x="109" y="105"/>
                  <a:pt x="109" y="105"/>
                  <a:pt x="109" y="105"/>
                </a:cubicBezTo>
                <a:cubicBezTo>
                  <a:pt x="110" y="110"/>
                  <a:pt x="115" y="115"/>
                  <a:pt x="120" y="115"/>
                </a:cubicBezTo>
                <a:lnTo>
                  <a:pt x="120" y="162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CiscoSans ExtraLight"/>
              <a:ea typeface=""/>
              <a:cs typeface=""/>
            </a:endParaRPr>
          </a:p>
        </p:txBody>
      </p:sp>
      <p:grpSp>
        <p:nvGrpSpPr>
          <p:cNvPr id="4" name="Group 123"/>
          <p:cNvGrpSpPr>
            <a:grpSpLocks noChangeAspect="1"/>
          </p:cNvGrpSpPr>
          <p:nvPr/>
        </p:nvGrpSpPr>
        <p:grpSpPr>
          <a:xfrm>
            <a:off x="3435826" y="2529713"/>
            <a:ext cx="266834" cy="300108"/>
            <a:chOff x="7667625" y="2047875"/>
            <a:chExt cx="450850" cy="507070"/>
          </a:xfrm>
          <a:solidFill>
            <a:schemeClr val="bg2"/>
          </a:solidFill>
        </p:grpSpPr>
        <p:sp>
          <p:nvSpPr>
            <p:cNvPr id="125" name="Freeform 7"/>
            <p:cNvSpPr>
              <a:spLocks noEditPoints="1"/>
            </p:cNvSpPr>
            <p:nvPr/>
          </p:nvSpPr>
          <p:spPr bwMode="auto">
            <a:xfrm>
              <a:off x="7766993" y="2145644"/>
              <a:ext cx="251912" cy="409301"/>
            </a:xfrm>
            <a:custGeom>
              <a:avLst/>
              <a:gdLst/>
              <a:ahLst/>
              <a:cxnLst>
                <a:cxn ang="0">
                  <a:pos x="132" y="0"/>
                </a:cxn>
                <a:cxn ang="0">
                  <a:pos x="130" y="0"/>
                </a:cxn>
                <a:cxn ang="0">
                  <a:pos x="0" y="124"/>
                </a:cxn>
                <a:cxn ang="0">
                  <a:pos x="46" y="224"/>
                </a:cxn>
                <a:cxn ang="0">
                  <a:pos x="55" y="248"/>
                </a:cxn>
                <a:cxn ang="0">
                  <a:pos x="60" y="272"/>
                </a:cxn>
                <a:cxn ang="0">
                  <a:pos x="76" y="310"/>
                </a:cxn>
                <a:cxn ang="0">
                  <a:pos x="185" y="310"/>
                </a:cxn>
                <a:cxn ang="0">
                  <a:pos x="202" y="272"/>
                </a:cxn>
                <a:cxn ang="0">
                  <a:pos x="216" y="224"/>
                </a:cxn>
                <a:cxn ang="0">
                  <a:pos x="239" y="185"/>
                </a:cxn>
                <a:cxn ang="0">
                  <a:pos x="262" y="124"/>
                </a:cxn>
                <a:cxn ang="0">
                  <a:pos x="132" y="0"/>
                </a:cxn>
                <a:cxn ang="0">
                  <a:pos x="94" y="74"/>
                </a:cxn>
                <a:cxn ang="0">
                  <a:pos x="94" y="74"/>
                </a:cxn>
                <a:cxn ang="0">
                  <a:pos x="70" y="111"/>
                </a:cxn>
                <a:cxn ang="0">
                  <a:pos x="70" y="111"/>
                </a:cxn>
                <a:cxn ang="0">
                  <a:pos x="54" y="127"/>
                </a:cxn>
                <a:cxn ang="0">
                  <a:pos x="38" y="111"/>
                </a:cxn>
                <a:cxn ang="0">
                  <a:pos x="38" y="108"/>
                </a:cxn>
                <a:cxn ang="0">
                  <a:pos x="85" y="43"/>
                </a:cxn>
                <a:cxn ang="0">
                  <a:pos x="89" y="43"/>
                </a:cxn>
                <a:cxn ang="0">
                  <a:pos x="105" y="59"/>
                </a:cxn>
                <a:cxn ang="0">
                  <a:pos x="94" y="74"/>
                </a:cxn>
                <a:cxn ang="0">
                  <a:pos x="170" y="370"/>
                </a:cxn>
                <a:cxn ang="0">
                  <a:pos x="92" y="370"/>
                </a:cxn>
                <a:cxn ang="0">
                  <a:pos x="74" y="384"/>
                </a:cxn>
                <a:cxn ang="0">
                  <a:pos x="92" y="399"/>
                </a:cxn>
                <a:cxn ang="0">
                  <a:pos x="170" y="399"/>
                </a:cxn>
                <a:cxn ang="0">
                  <a:pos x="187" y="384"/>
                </a:cxn>
                <a:cxn ang="0">
                  <a:pos x="170" y="370"/>
                </a:cxn>
                <a:cxn ang="0">
                  <a:pos x="119" y="426"/>
                </a:cxn>
                <a:cxn ang="0">
                  <a:pos x="143" y="426"/>
                </a:cxn>
                <a:cxn ang="0">
                  <a:pos x="158" y="414"/>
                </a:cxn>
                <a:cxn ang="0">
                  <a:pos x="103" y="414"/>
                </a:cxn>
                <a:cxn ang="0">
                  <a:pos x="119" y="426"/>
                </a:cxn>
                <a:cxn ang="0">
                  <a:pos x="172" y="326"/>
                </a:cxn>
                <a:cxn ang="0">
                  <a:pos x="90" y="326"/>
                </a:cxn>
                <a:cxn ang="0">
                  <a:pos x="72" y="341"/>
                </a:cxn>
                <a:cxn ang="0">
                  <a:pos x="90" y="356"/>
                </a:cxn>
                <a:cxn ang="0">
                  <a:pos x="172" y="356"/>
                </a:cxn>
                <a:cxn ang="0">
                  <a:pos x="190" y="341"/>
                </a:cxn>
                <a:cxn ang="0">
                  <a:pos x="172" y="326"/>
                </a:cxn>
              </a:cxnLst>
              <a:rect l="0" t="0" r="r" b="b"/>
              <a:pathLst>
                <a:path w="262" h="426">
                  <a:moveTo>
                    <a:pt x="132" y="0"/>
                  </a:moveTo>
                  <a:cubicBezTo>
                    <a:pt x="131" y="0"/>
                    <a:pt x="131" y="0"/>
                    <a:pt x="130" y="0"/>
                  </a:cubicBezTo>
                  <a:cubicBezTo>
                    <a:pt x="58" y="0"/>
                    <a:pt x="0" y="56"/>
                    <a:pt x="0" y="124"/>
                  </a:cubicBezTo>
                  <a:cubicBezTo>
                    <a:pt x="0" y="163"/>
                    <a:pt x="30" y="190"/>
                    <a:pt x="46" y="224"/>
                  </a:cubicBezTo>
                  <a:cubicBezTo>
                    <a:pt x="51" y="233"/>
                    <a:pt x="53" y="241"/>
                    <a:pt x="55" y="248"/>
                  </a:cubicBezTo>
                  <a:cubicBezTo>
                    <a:pt x="58" y="257"/>
                    <a:pt x="59" y="264"/>
                    <a:pt x="60" y="272"/>
                  </a:cubicBezTo>
                  <a:cubicBezTo>
                    <a:pt x="62" y="287"/>
                    <a:pt x="63" y="301"/>
                    <a:pt x="76" y="310"/>
                  </a:cubicBezTo>
                  <a:cubicBezTo>
                    <a:pt x="185" y="310"/>
                    <a:pt x="185" y="310"/>
                    <a:pt x="185" y="310"/>
                  </a:cubicBezTo>
                  <a:cubicBezTo>
                    <a:pt x="199" y="301"/>
                    <a:pt x="200" y="287"/>
                    <a:pt x="202" y="272"/>
                  </a:cubicBezTo>
                  <a:cubicBezTo>
                    <a:pt x="204" y="258"/>
                    <a:pt x="206" y="245"/>
                    <a:pt x="216" y="224"/>
                  </a:cubicBezTo>
                  <a:cubicBezTo>
                    <a:pt x="222" y="210"/>
                    <a:pt x="231" y="198"/>
                    <a:pt x="239" y="185"/>
                  </a:cubicBezTo>
                  <a:cubicBezTo>
                    <a:pt x="251" y="166"/>
                    <a:pt x="262" y="147"/>
                    <a:pt x="262" y="124"/>
                  </a:cubicBezTo>
                  <a:cubicBezTo>
                    <a:pt x="262" y="56"/>
                    <a:pt x="203" y="0"/>
                    <a:pt x="132" y="0"/>
                  </a:cubicBezTo>
                  <a:close/>
                  <a:moveTo>
                    <a:pt x="94" y="74"/>
                  </a:moveTo>
                  <a:cubicBezTo>
                    <a:pt x="94" y="74"/>
                    <a:pt x="94" y="74"/>
                    <a:pt x="94" y="74"/>
                  </a:cubicBezTo>
                  <a:cubicBezTo>
                    <a:pt x="78" y="78"/>
                    <a:pt x="71" y="97"/>
                    <a:pt x="70" y="111"/>
                  </a:cubicBezTo>
                  <a:cubicBezTo>
                    <a:pt x="70" y="111"/>
                    <a:pt x="70" y="111"/>
                    <a:pt x="70" y="111"/>
                  </a:cubicBezTo>
                  <a:cubicBezTo>
                    <a:pt x="70" y="119"/>
                    <a:pt x="63" y="127"/>
                    <a:pt x="54" y="127"/>
                  </a:cubicBezTo>
                  <a:cubicBezTo>
                    <a:pt x="45" y="127"/>
                    <a:pt x="38" y="119"/>
                    <a:pt x="38" y="111"/>
                  </a:cubicBezTo>
                  <a:cubicBezTo>
                    <a:pt x="38" y="110"/>
                    <a:pt x="38" y="108"/>
                    <a:pt x="38" y="108"/>
                  </a:cubicBezTo>
                  <a:cubicBezTo>
                    <a:pt x="40" y="76"/>
                    <a:pt x="59" y="51"/>
                    <a:pt x="85" y="43"/>
                  </a:cubicBezTo>
                  <a:cubicBezTo>
                    <a:pt x="85" y="43"/>
                    <a:pt x="88" y="43"/>
                    <a:pt x="89" y="43"/>
                  </a:cubicBezTo>
                  <a:cubicBezTo>
                    <a:pt x="98" y="43"/>
                    <a:pt x="105" y="50"/>
                    <a:pt x="105" y="59"/>
                  </a:cubicBezTo>
                  <a:cubicBezTo>
                    <a:pt x="105" y="66"/>
                    <a:pt x="101" y="71"/>
                    <a:pt x="94" y="74"/>
                  </a:cubicBezTo>
                  <a:close/>
                  <a:moveTo>
                    <a:pt x="170" y="370"/>
                  </a:moveTo>
                  <a:cubicBezTo>
                    <a:pt x="92" y="370"/>
                    <a:pt x="92" y="370"/>
                    <a:pt x="92" y="370"/>
                  </a:cubicBezTo>
                  <a:cubicBezTo>
                    <a:pt x="82" y="370"/>
                    <a:pt x="74" y="376"/>
                    <a:pt x="74" y="384"/>
                  </a:cubicBezTo>
                  <a:cubicBezTo>
                    <a:pt x="74" y="392"/>
                    <a:pt x="82" y="399"/>
                    <a:pt x="92" y="399"/>
                  </a:cubicBezTo>
                  <a:cubicBezTo>
                    <a:pt x="170" y="399"/>
                    <a:pt x="170" y="399"/>
                    <a:pt x="170" y="399"/>
                  </a:cubicBezTo>
                  <a:cubicBezTo>
                    <a:pt x="180" y="399"/>
                    <a:pt x="187" y="392"/>
                    <a:pt x="187" y="384"/>
                  </a:cubicBezTo>
                  <a:cubicBezTo>
                    <a:pt x="187" y="376"/>
                    <a:pt x="180" y="370"/>
                    <a:pt x="170" y="370"/>
                  </a:cubicBezTo>
                  <a:close/>
                  <a:moveTo>
                    <a:pt x="119" y="426"/>
                  </a:moveTo>
                  <a:cubicBezTo>
                    <a:pt x="143" y="426"/>
                    <a:pt x="143" y="426"/>
                    <a:pt x="143" y="426"/>
                  </a:cubicBezTo>
                  <a:cubicBezTo>
                    <a:pt x="151" y="426"/>
                    <a:pt x="158" y="421"/>
                    <a:pt x="158" y="414"/>
                  </a:cubicBezTo>
                  <a:cubicBezTo>
                    <a:pt x="103" y="414"/>
                    <a:pt x="103" y="414"/>
                    <a:pt x="103" y="414"/>
                  </a:cubicBezTo>
                  <a:cubicBezTo>
                    <a:pt x="104" y="421"/>
                    <a:pt x="111" y="426"/>
                    <a:pt x="119" y="426"/>
                  </a:cubicBezTo>
                  <a:close/>
                  <a:moveTo>
                    <a:pt x="172" y="326"/>
                  </a:moveTo>
                  <a:cubicBezTo>
                    <a:pt x="90" y="326"/>
                    <a:pt x="90" y="326"/>
                    <a:pt x="90" y="326"/>
                  </a:cubicBezTo>
                  <a:cubicBezTo>
                    <a:pt x="80" y="326"/>
                    <a:pt x="72" y="333"/>
                    <a:pt x="72" y="341"/>
                  </a:cubicBezTo>
                  <a:cubicBezTo>
                    <a:pt x="72" y="349"/>
                    <a:pt x="80" y="356"/>
                    <a:pt x="90" y="356"/>
                  </a:cubicBezTo>
                  <a:cubicBezTo>
                    <a:pt x="172" y="356"/>
                    <a:pt x="172" y="356"/>
                    <a:pt x="172" y="356"/>
                  </a:cubicBezTo>
                  <a:cubicBezTo>
                    <a:pt x="182" y="356"/>
                    <a:pt x="190" y="349"/>
                    <a:pt x="190" y="341"/>
                  </a:cubicBezTo>
                  <a:cubicBezTo>
                    <a:pt x="190" y="333"/>
                    <a:pt x="182" y="326"/>
                    <a:pt x="172" y="3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 sz="1600">
                <a:solidFill>
                  <a:srgbClr val="676767"/>
                </a:solidFill>
                <a:latin typeface="CiscoSans ExtraLight"/>
                <a:ea typeface=""/>
                <a:cs typeface=""/>
              </a:endParaRPr>
            </a:p>
          </p:txBody>
        </p:sp>
        <p:cxnSp>
          <p:nvCxnSpPr>
            <p:cNvPr id="126" name="Straight Connector 125"/>
            <p:cNvCxnSpPr/>
            <p:nvPr/>
          </p:nvCxnSpPr>
          <p:spPr>
            <a:xfrm flipH="1">
              <a:off x="7720566" y="2373267"/>
              <a:ext cx="50800" cy="47625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/>
            <p:cNvCxnSpPr/>
            <p:nvPr/>
          </p:nvCxnSpPr>
          <p:spPr>
            <a:xfrm flipH="1" flipV="1">
              <a:off x="7726916" y="2109742"/>
              <a:ext cx="44450" cy="3810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/>
            <p:cNvCxnSpPr/>
            <p:nvPr/>
          </p:nvCxnSpPr>
          <p:spPr>
            <a:xfrm flipH="1">
              <a:off x="8006316" y="2103392"/>
              <a:ext cx="50800" cy="47625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/>
            <p:cNvCxnSpPr/>
            <p:nvPr/>
          </p:nvCxnSpPr>
          <p:spPr>
            <a:xfrm flipH="1" flipV="1">
              <a:off x="8009491" y="2376442"/>
              <a:ext cx="50800" cy="3810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/>
            <p:cNvCxnSpPr/>
            <p:nvPr/>
          </p:nvCxnSpPr>
          <p:spPr>
            <a:xfrm flipV="1">
              <a:off x="7892016" y="2047875"/>
              <a:ext cx="1034" cy="65042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/>
            <p:cNvCxnSpPr/>
            <p:nvPr/>
          </p:nvCxnSpPr>
          <p:spPr>
            <a:xfrm>
              <a:off x="8053941" y="2265317"/>
              <a:ext cx="64534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/>
            <p:cNvCxnSpPr/>
            <p:nvPr/>
          </p:nvCxnSpPr>
          <p:spPr>
            <a:xfrm>
              <a:off x="7667625" y="2265317"/>
              <a:ext cx="65641" cy="0"/>
            </a:xfrm>
            <a:prstGeom prst="line">
              <a:avLst/>
            </a:prstGeom>
            <a:grpFill/>
            <a:ln w="12700" cap="rnd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132"/>
          <p:cNvGrpSpPr>
            <a:grpSpLocks noChangeAspect="1"/>
          </p:cNvGrpSpPr>
          <p:nvPr/>
        </p:nvGrpSpPr>
        <p:grpSpPr>
          <a:xfrm>
            <a:off x="5461735" y="2529715"/>
            <a:ext cx="266424" cy="271424"/>
            <a:chOff x="-782782" y="2502909"/>
            <a:chExt cx="630245" cy="642073"/>
          </a:xfrm>
          <a:effectLst/>
        </p:grpSpPr>
        <p:sp>
          <p:nvSpPr>
            <p:cNvPr id="134" name="Rectangle 133"/>
            <p:cNvSpPr/>
            <p:nvPr/>
          </p:nvSpPr>
          <p:spPr>
            <a:xfrm>
              <a:off x="-782782" y="2992582"/>
              <a:ext cx="15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-612332" y="2992582"/>
              <a:ext cx="15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-441883" y="2992582"/>
              <a:ext cx="15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-782782" y="2824138"/>
              <a:ext cx="15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8" name="Rectangle 137"/>
            <p:cNvSpPr/>
            <p:nvPr/>
          </p:nvSpPr>
          <p:spPr>
            <a:xfrm rot="20430134">
              <a:off x="-545174" y="2747937"/>
              <a:ext cx="15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9" name="Rectangle 138"/>
            <p:cNvSpPr/>
            <p:nvPr/>
          </p:nvSpPr>
          <p:spPr>
            <a:xfrm rot="19536361">
              <a:off x="-304937" y="2727407"/>
              <a:ext cx="15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0" name="Rectangle 139"/>
            <p:cNvSpPr/>
            <p:nvPr/>
          </p:nvSpPr>
          <p:spPr>
            <a:xfrm rot="814894">
              <a:off x="-644893" y="2534388"/>
              <a:ext cx="15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1" name="Rectangle 140"/>
            <p:cNvSpPr/>
            <p:nvPr/>
          </p:nvSpPr>
          <p:spPr>
            <a:xfrm rot="20936244">
              <a:off x="-408818" y="2502909"/>
              <a:ext cx="152400" cy="152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539752" y="1145194"/>
            <a:ext cx="8243504" cy="1148648"/>
            <a:chOff x="539750" y="1145192"/>
            <a:chExt cx="8243504" cy="1148648"/>
          </a:xfrm>
        </p:grpSpPr>
        <p:grpSp>
          <p:nvGrpSpPr>
            <p:cNvPr id="61" name="Group 60"/>
            <p:cNvGrpSpPr/>
            <p:nvPr/>
          </p:nvGrpSpPr>
          <p:grpSpPr>
            <a:xfrm>
              <a:off x="954076" y="1353756"/>
              <a:ext cx="7829178" cy="731520"/>
              <a:chOff x="954076" y="1316422"/>
              <a:chExt cx="7829178" cy="731520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954076" y="1316422"/>
                <a:ext cx="7645412" cy="73152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  <a:alpha val="50000"/>
                </a:schemeClr>
              </a:solidFill>
              <a:ln w="254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TextBox 123"/>
              <p:cNvSpPr txBox="1"/>
              <p:nvPr/>
            </p:nvSpPr>
            <p:spPr>
              <a:xfrm>
                <a:off x="1871032" y="1405184"/>
                <a:ext cx="6912222" cy="553998"/>
              </a:xfrm>
              <a:prstGeom prst="rect">
                <a:avLst/>
              </a:prstGeom>
              <a:noFill/>
              <a:effectLst/>
            </p:spPr>
            <p:txBody>
              <a:bodyPr wrap="square" lIns="91440" tIns="0" rIns="91440" bIns="0" rtlCol="0" anchor="ctr">
                <a:spAutoFit/>
              </a:bodyPr>
              <a:lstStyle>
                <a:defPPr>
                  <a:defRPr lang="en-US"/>
                </a:defPPr>
                <a:lvl1pPr marL="0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1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2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3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4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5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86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66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48" algn="l" defTabSz="45718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5708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kern="0">
                    <a:solidFill>
                      <a:srgbClr val="00BCEB"/>
                    </a:solidFill>
                    <a:cs typeface="Arial" panose="020B0604020202020204" pitchFamily="34" charset="0"/>
                  </a:rPr>
                  <a:t>of service providers said they lost revenue due to attacks in 2016*</a:t>
                </a:r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539750" y="1145192"/>
              <a:ext cx="1148648" cy="1148648"/>
              <a:chOff x="539750" y="1270702"/>
              <a:chExt cx="822960" cy="822960"/>
            </a:xfrm>
          </p:grpSpPr>
          <p:sp>
            <p:nvSpPr>
              <p:cNvPr id="70" name="Pie 69"/>
              <p:cNvSpPr/>
              <p:nvPr/>
            </p:nvSpPr>
            <p:spPr>
              <a:xfrm>
                <a:off x="539750" y="1270702"/>
                <a:ext cx="822960" cy="822960"/>
              </a:xfrm>
              <a:prstGeom prst="pie">
                <a:avLst>
                  <a:gd name="adj1" fmla="val 1104460"/>
                  <a:gd name="adj2" fmla="val 16200000"/>
                </a:avLst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57178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Pie 70"/>
              <p:cNvSpPr/>
              <p:nvPr/>
            </p:nvSpPr>
            <p:spPr>
              <a:xfrm>
                <a:off x="539750" y="1270702"/>
                <a:ext cx="822960" cy="822960"/>
              </a:xfrm>
              <a:prstGeom prst="pie">
                <a:avLst>
                  <a:gd name="adj1" fmla="val 16168222"/>
                  <a:gd name="adj2" fmla="val 2186009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57178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72" name="Oval 71"/>
              <p:cNvSpPr>
                <a:spLocks noChangeAspect="1"/>
              </p:cNvSpPr>
              <p:nvPr/>
            </p:nvSpPr>
            <p:spPr>
              <a:xfrm>
                <a:off x="616902" y="1347855"/>
                <a:ext cx="668655" cy="66865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78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Rectangle 72"/>
              <p:cNvSpPr/>
              <p:nvPr/>
            </p:nvSpPr>
            <p:spPr>
              <a:xfrm>
                <a:off x="637217" y="1501396"/>
                <a:ext cx="653719" cy="37486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defTabSz="457178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800">
                    <a:solidFill>
                      <a:srgbClr val="00BCEB"/>
                    </a:solidFill>
                    <a:latin typeface="CiscoSans ExtraLight"/>
                    <a:ea typeface=""/>
                    <a:cs typeface=""/>
                    <a:sym typeface="Arial" pitchFamily="34" charset="0"/>
                  </a:rPr>
                  <a:t>34%</a:t>
                </a:r>
                <a:endParaRPr lang="en-US" sz="2800">
                  <a:solidFill>
                    <a:srgbClr val="00BCEB"/>
                  </a:solidFill>
                  <a:latin typeface="CiscoSans ExtraLight"/>
                  <a:ea typeface=""/>
                  <a:cs typeface=""/>
                </a:endParaRPr>
              </a:p>
            </p:txBody>
          </p:sp>
        </p:grpSp>
      </p:grpSp>
      <p:sp>
        <p:nvSpPr>
          <p:cNvPr id="75" name="Freeform 74"/>
          <p:cNvSpPr/>
          <p:nvPr/>
        </p:nvSpPr>
        <p:spPr>
          <a:xfrm rot="2425610">
            <a:off x="6920851" y="3681403"/>
            <a:ext cx="1461763" cy="548690"/>
          </a:xfrm>
          <a:custGeom>
            <a:avLst/>
            <a:gdLst>
              <a:gd name="connsiteX0" fmla="*/ 0 w 4772526"/>
              <a:gd name="connsiteY0" fmla="*/ 1644503 h 1644503"/>
              <a:gd name="connsiteX1" fmla="*/ 978568 w 4772526"/>
              <a:gd name="connsiteY1" fmla="*/ 681977 h 1644503"/>
              <a:gd name="connsiteX2" fmla="*/ 2534652 w 4772526"/>
              <a:gd name="connsiteY2" fmla="*/ 104461 h 1644503"/>
              <a:gd name="connsiteX3" fmla="*/ 4772526 w 4772526"/>
              <a:gd name="connsiteY3" fmla="*/ 187 h 1644503"/>
              <a:gd name="connsiteX0" fmla="*/ 0 w 4772526"/>
              <a:gd name="connsiteY0" fmla="*/ 1651161 h 1651161"/>
              <a:gd name="connsiteX1" fmla="*/ 962525 w 4772526"/>
              <a:gd name="connsiteY1" fmla="*/ 913225 h 1651161"/>
              <a:gd name="connsiteX2" fmla="*/ 2534652 w 4772526"/>
              <a:gd name="connsiteY2" fmla="*/ 111119 h 1651161"/>
              <a:gd name="connsiteX3" fmla="*/ 4772526 w 4772526"/>
              <a:gd name="connsiteY3" fmla="*/ 6845 h 1651161"/>
              <a:gd name="connsiteX0" fmla="*/ 0 w 4772526"/>
              <a:gd name="connsiteY0" fmla="*/ 1644316 h 1644316"/>
              <a:gd name="connsiteX1" fmla="*/ 962525 w 4772526"/>
              <a:gd name="connsiteY1" fmla="*/ 906380 h 1644316"/>
              <a:gd name="connsiteX2" fmla="*/ 2502568 w 4772526"/>
              <a:gd name="connsiteY2" fmla="*/ 441159 h 1644316"/>
              <a:gd name="connsiteX3" fmla="*/ 4772526 w 4772526"/>
              <a:gd name="connsiteY3" fmla="*/ 0 h 1644316"/>
              <a:gd name="connsiteX0" fmla="*/ 0 w 4804611"/>
              <a:gd name="connsiteY0" fmla="*/ 1379621 h 1379621"/>
              <a:gd name="connsiteX1" fmla="*/ 962525 w 4804611"/>
              <a:gd name="connsiteY1" fmla="*/ 641685 h 1379621"/>
              <a:gd name="connsiteX2" fmla="*/ 2502568 w 4804611"/>
              <a:gd name="connsiteY2" fmla="*/ 176464 h 1379621"/>
              <a:gd name="connsiteX3" fmla="*/ 4804611 w 4804611"/>
              <a:gd name="connsiteY3" fmla="*/ 0 h 1379621"/>
              <a:gd name="connsiteX0" fmla="*/ 0 w 4804611"/>
              <a:gd name="connsiteY0" fmla="*/ 1385674 h 1385674"/>
              <a:gd name="connsiteX1" fmla="*/ 962525 w 4804611"/>
              <a:gd name="connsiteY1" fmla="*/ 647738 h 1385674"/>
              <a:gd name="connsiteX2" fmla="*/ 2699458 w 4804611"/>
              <a:gd name="connsiteY2" fmla="*/ 76370 h 1385674"/>
              <a:gd name="connsiteX3" fmla="*/ 4804611 w 4804611"/>
              <a:gd name="connsiteY3" fmla="*/ 6053 h 1385674"/>
              <a:gd name="connsiteX0" fmla="*/ 0 w 4814974"/>
              <a:gd name="connsiteY0" fmla="*/ 1544736 h 1544736"/>
              <a:gd name="connsiteX1" fmla="*/ 962525 w 4814974"/>
              <a:gd name="connsiteY1" fmla="*/ 806800 h 1544736"/>
              <a:gd name="connsiteX2" fmla="*/ 2699458 w 4814974"/>
              <a:gd name="connsiteY2" fmla="*/ 235432 h 1544736"/>
              <a:gd name="connsiteX3" fmla="*/ 4814974 w 4814974"/>
              <a:gd name="connsiteY3" fmla="*/ 0 h 1544736"/>
              <a:gd name="connsiteX0" fmla="*/ 0 w 4814974"/>
              <a:gd name="connsiteY0" fmla="*/ 1544736 h 1544736"/>
              <a:gd name="connsiteX1" fmla="*/ 962525 w 4814974"/>
              <a:gd name="connsiteY1" fmla="*/ 806800 h 1544736"/>
              <a:gd name="connsiteX2" fmla="*/ 2979251 w 4814974"/>
              <a:gd name="connsiteY2" fmla="*/ 176463 h 1544736"/>
              <a:gd name="connsiteX3" fmla="*/ 4814974 w 4814974"/>
              <a:gd name="connsiteY3" fmla="*/ 0 h 1544736"/>
              <a:gd name="connsiteX0" fmla="*/ 0 w 4814974"/>
              <a:gd name="connsiteY0" fmla="*/ 1544926 h 1544926"/>
              <a:gd name="connsiteX1" fmla="*/ 962525 w 4814974"/>
              <a:gd name="connsiteY1" fmla="*/ 806990 h 1544926"/>
              <a:gd name="connsiteX2" fmla="*/ 2979251 w 4814974"/>
              <a:gd name="connsiteY2" fmla="*/ 176653 h 1544926"/>
              <a:gd name="connsiteX3" fmla="*/ 4814974 w 4814974"/>
              <a:gd name="connsiteY3" fmla="*/ 190 h 1544926"/>
              <a:gd name="connsiteX0" fmla="*/ 0 w 4814974"/>
              <a:gd name="connsiteY0" fmla="*/ 1544926 h 1544926"/>
              <a:gd name="connsiteX1" fmla="*/ 962525 w 4814974"/>
              <a:gd name="connsiteY1" fmla="*/ 806990 h 1544926"/>
              <a:gd name="connsiteX2" fmla="*/ 2979251 w 4814974"/>
              <a:gd name="connsiteY2" fmla="*/ 176653 h 1544926"/>
              <a:gd name="connsiteX3" fmla="*/ 4814974 w 4814974"/>
              <a:gd name="connsiteY3" fmla="*/ 190 h 1544926"/>
              <a:gd name="connsiteX0" fmla="*/ 0 w 4814974"/>
              <a:gd name="connsiteY0" fmla="*/ 1544926 h 1544926"/>
              <a:gd name="connsiteX1" fmla="*/ 2979251 w 4814974"/>
              <a:gd name="connsiteY1" fmla="*/ 176653 h 1544926"/>
              <a:gd name="connsiteX2" fmla="*/ 4814974 w 4814974"/>
              <a:gd name="connsiteY2" fmla="*/ 190 h 1544926"/>
              <a:gd name="connsiteX0" fmla="*/ 0 w 4814974"/>
              <a:gd name="connsiteY0" fmla="*/ 1544926 h 1544926"/>
              <a:gd name="connsiteX1" fmla="*/ 2979251 w 4814974"/>
              <a:gd name="connsiteY1" fmla="*/ 176653 h 1544926"/>
              <a:gd name="connsiteX2" fmla="*/ 4814974 w 4814974"/>
              <a:gd name="connsiteY2" fmla="*/ 190 h 154492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4814974"/>
              <a:gd name="connsiteY0" fmla="*/ 1544736 h 1544736"/>
              <a:gd name="connsiteX1" fmla="*/ 4814974 w 4814974"/>
              <a:gd name="connsiteY1" fmla="*/ 0 h 1544736"/>
              <a:gd name="connsiteX0" fmla="*/ 0 w 5042953"/>
              <a:gd name="connsiteY0" fmla="*/ 1910350 h 1910350"/>
              <a:gd name="connsiteX1" fmla="*/ 5042953 w 5042953"/>
              <a:gd name="connsiteY1" fmla="*/ 0 h 1910350"/>
              <a:gd name="connsiteX0" fmla="*/ 0 w 5042953"/>
              <a:gd name="connsiteY0" fmla="*/ 1910350 h 1910350"/>
              <a:gd name="connsiteX1" fmla="*/ 5042953 w 5042953"/>
              <a:gd name="connsiteY1" fmla="*/ 0 h 1910350"/>
              <a:gd name="connsiteX0" fmla="*/ 0 w 5096199"/>
              <a:gd name="connsiteY0" fmla="*/ 1769850 h 1769850"/>
              <a:gd name="connsiteX1" fmla="*/ 5096199 w 5096199"/>
              <a:gd name="connsiteY1" fmla="*/ 0 h 1769850"/>
              <a:gd name="connsiteX0" fmla="*/ 0 w 5096199"/>
              <a:gd name="connsiteY0" fmla="*/ 1769850 h 1769850"/>
              <a:gd name="connsiteX1" fmla="*/ 5096199 w 5096199"/>
              <a:gd name="connsiteY1" fmla="*/ 0 h 1769850"/>
              <a:gd name="connsiteX0" fmla="*/ 0 w 5096199"/>
              <a:gd name="connsiteY0" fmla="*/ 1488847 h 1488847"/>
              <a:gd name="connsiteX1" fmla="*/ 5096199 w 5096199"/>
              <a:gd name="connsiteY1" fmla="*/ 0 h 1488847"/>
              <a:gd name="connsiteX0" fmla="*/ 0 w 5096199"/>
              <a:gd name="connsiteY0" fmla="*/ 1685037 h 1685037"/>
              <a:gd name="connsiteX1" fmla="*/ 5096199 w 5096199"/>
              <a:gd name="connsiteY1" fmla="*/ 196190 h 1685037"/>
              <a:gd name="connsiteX0" fmla="*/ 0 w 5096199"/>
              <a:gd name="connsiteY0" fmla="*/ 1863302 h 1863302"/>
              <a:gd name="connsiteX1" fmla="*/ 5096199 w 5096199"/>
              <a:gd name="connsiteY1" fmla="*/ 163703 h 1863302"/>
              <a:gd name="connsiteX0" fmla="*/ 0 w 5096199"/>
              <a:gd name="connsiteY0" fmla="*/ 1760209 h 1760209"/>
              <a:gd name="connsiteX1" fmla="*/ 5096199 w 5096199"/>
              <a:gd name="connsiteY1" fmla="*/ 60610 h 1760209"/>
              <a:gd name="connsiteX0" fmla="*/ 0 w 5096199"/>
              <a:gd name="connsiteY0" fmla="*/ 1721635 h 1721635"/>
              <a:gd name="connsiteX1" fmla="*/ 5096199 w 5096199"/>
              <a:gd name="connsiteY1" fmla="*/ 22036 h 1721635"/>
              <a:gd name="connsiteX0" fmla="*/ 0 w 5096199"/>
              <a:gd name="connsiteY0" fmla="*/ 1721635 h 1721635"/>
              <a:gd name="connsiteX1" fmla="*/ 5096199 w 5096199"/>
              <a:gd name="connsiteY1" fmla="*/ 22036 h 1721635"/>
              <a:gd name="connsiteX0" fmla="*/ 0 w 5096196"/>
              <a:gd name="connsiteY0" fmla="*/ 1721635 h 1721635"/>
              <a:gd name="connsiteX1" fmla="*/ 5096197 w 5096196"/>
              <a:gd name="connsiteY1" fmla="*/ 22036 h 1721635"/>
              <a:gd name="connsiteX0" fmla="*/ 0 w 5096196"/>
              <a:gd name="connsiteY0" fmla="*/ 2027222 h 2027222"/>
              <a:gd name="connsiteX1" fmla="*/ 5096197 w 5096196"/>
              <a:gd name="connsiteY1" fmla="*/ 327623 h 2027222"/>
              <a:gd name="connsiteX0" fmla="*/ 0 w 5096196"/>
              <a:gd name="connsiteY0" fmla="*/ 1952631 h 1952631"/>
              <a:gd name="connsiteX1" fmla="*/ 5096197 w 5096196"/>
              <a:gd name="connsiteY1" fmla="*/ 253032 h 1952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96196" h="1952631">
                <a:moveTo>
                  <a:pt x="0" y="1952631"/>
                </a:moveTo>
                <a:cubicBezTo>
                  <a:pt x="1739706" y="340878"/>
                  <a:pt x="3140196" y="-438953"/>
                  <a:pt x="5096197" y="253032"/>
                </a:cubicBezTo>
              </a:path>
            </a:pathLst>
          </a:custGeom>
          <a:noFill/>
          <a:ln w="19050" cap="rnd">
            <a:solidFill>
              <a:schemeClr val="accent5"/>
            </a:solidFill>
            <a:tailEnd type="triangle" w="lg" len="lg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0000"/>
              </a:solidFill>
            </a:endParaRPr>
          </a:p>
        </p:txBody>
      </p:sp>
      <p:sp>
        <p:nvSpPr>
          <p:cNvPr id="76" name="Freeform 793"/>
          <p:cNvSpPr>
            <a:spLocks/>
          </p:cNvSpPr>
          <p:nvPr/>
        </p:nvSpPr>
        <p:spPr bwMode="auto">
          <a:xfrm>
            <a:off x="7400926" y="2511578"/>
            <a:ext cx="393315" cy="204851"/>
          </a:xfrm>
          <a:custGeom>
            <a:avLst/>
            <a:gdLst>
              <a:gd name="T0" fmla="*/ 789 w 800"/>
              <a:gd name="T1" fmla="*/ 348 h 417"/>
              <a:gd name="T2" fmla="*/ 783 w 800"/>
              <a:gd name="T3" fmla="*/ 339 h 417"/>
              <a:gd name="T4" fmla="*/ 677 w 800"/>
              <a:gd name="T5" fmla="*/ 277 h 417"/>
              <a:gd name="T6" fmla="*/ 669 w 800"/>
              <a:gd name="T7" fmla="*/ 269 h 417"/>
              <a:gd name="T8" fmla="*/ 657 w 800"/>
              <a:gd name="T9" fmla="*/ 241 h 417"/>
              <a:gd name="T10" fmla="*/ 685 w 800"/>
              <a:gd name="T11" fmla="*/ 165 h 417"/>
              <a:gd name="T12" fmla="*/ 685 w 800"/>
              <a:gd name="T13" fmla="*/ 119 h 417"/>
              <a:gd name="T14" fmla="*/ 617 w 800"/>
              <a:gd name="T15" fmla="*/ 50 h 417"/>
              <a:gd name="T16" fmla="*/ 548 w 800"/>
              <a:gd name="T17" fmla="*/ 119 h 417"/>
              <a:gd name="T18" fmla="*/ 548 w 800"/>
              <a:gd name="T19" fmla="*/ 165 h 417"/>
              <a:gd name="T20" fmla="*/ 576 w 800"/>
              <a:gd name="T21" fmla="*/ 241 h 417"/>
              <a:gd name="T22" fmla="*/ 564 w 800"/>
              <a:gd name="T23" fmla="*/ 269 h 417"/>
              <a:gd name="T24" fmla="*/ 557 w 800"/>
              <a:gd name="T25" fmla="*/ 277 h 417"/>
              <a:gd name="T26" fmla="*/ 551 w 800"/>
              <a:gd name="T27" fmla="*/ 280 h 417"/>
              <a:gd name="T28" fmla="*/ 460 w 800"/>
              <a:gd name="T29" fmla="*/ 227 h 417"/>
              <a:gd name="T30" fmla="*/ 453 w 800"/>
              <a:gd name="T31" fmla="*/ 219 h 417"/>
              <a:gd name="T32" fmla="*/ 440 w 800"/>
              <a:gd name="T33" fmla="*/ 191 h 417"/>
              <a:gd name="T34" fmla="*/ 469 w 800"/>
              <a:gd name="T35" fmla="*/ 115 h 417"/>
              <a:gd name="T36" fmla="*/ 469 w 800"/>
              <a:gd name="T37" fmla="*/ 69 h 417"/>
              <a:gd name="T38" fmla="*/ 400 w 800"/>
              <a:gd name="T39" fmla="*/ 0 h 417"/>
              <a:gd name="T40" fmla="*/ 331 w 800"/>
              <a:gd name="T41" fmla="*/ 69 h 417"/>
              <a:gd name="T42" fmla="*/ 331 w 800"/>
              <a:gd name="T43" fmla="*/ 115 h 417"/>
              <a:gd name="T44" fmla="*/ 360 w 800"/>
              <a:gd name="T45" fmla="*/ 191 h 417"/>
              <a:gd name="T46" fmla="*/ 347 w 800"/>
              <a:gd name="T47" fmla="*/ 219 h 417"/>
              <a:gd name="T48" fmla="*/ 340 w 800"/>
              <a:gd name="T49" fmla="*/ 227 h 417"/>
              <a:gd name="T50" fmla="*/ 248 w 800"/>
              <a:gd name="T51" fmla="*/ 281 h 417"/>
              <a:gd name="T52" fmla="*/ 243 w 800"/>
              <a:gd name="T53" fmla="*/ 277 h 417"/>
              <a:gd name="T54" fmla="*/ 236 w 800"/>
              <a:gd name="T55" fmla="*/ 269 h 417"/>
              <a:gd name="T56" fmla="*/ 223 w 800"/>
              <a:gd name="T57" fmla="*/ 241 h 417"/>
              <a:gd name="T58" fmla="*/ 252 w 800"/>
              <a:gd name="T59" fmla="*/ 165 h 417"/>
              <a:gd name="T60" fmla="*/ 252 w 800"/>
              <a:gd name="T61" fmla="*/ 119 h 417"/>
              <a:gd name="T62" fmla="*/ 183 w 800"/>
              <a:gd name="T63" fmla="*/ 50 h 417"/>
              <a:gd name="T64" fmla="*/ 114 w 800"/>
              <a:gd name="T65" fmla="*/ 119 h 417"/>
              <a:gd name="T66" fmla="*/ 114 w 800"/>
              <a:gd name="T67" fmla="*/ 165 h 417"/>
              <a:gd name="T68" fmla="*/ 143 w 800"/>
              <a:gd name="T69" fmla="*/ 241 h 417"/>
              <a:gd name="T70" fmla="*/ 131 w 800"/>
              <a:gd name="T71" fmla="*/ 269 h 417"/>
              <a:gd name="T72" fmla="*/ 123 w 800"/>
              <a:gd name="T73" fmla="*/ 277 h 417"/>
              <a:gd name="T74" fmla="*/ 17 w 800"/>
              <a:gd name="T75" fmla="*/ 339 h 417"/>
              <a:gd name="T76" fmla="*/ 11 w 800"/>
              <a:gd name="T77" fmla="*/ 348 h 417"/>
              <a:gd name="T78" fmla="*/ 0 w 800"/>
              <a:gd name="T79" fmla="*/ 417 h 417"/>
              <a:gd name="T80" fmla="*/ 109 w 800"/>
              <a:gd name="T81" fmla="*/ 417 h 417"/>
              <a:gd name="T82" fmla="*/ 400 w 800"/>
              <a:gd name="T83" fmla="*/ 333 h 417"/>
              <a:gd name="T84" fmla="*/ 691 w 800"/>
              <a:gd name="T85" fmla="*/ 417 h 417"/>
              <a:gd name="T86" fmla="*/ 800 w 800"/>
              <a:gd name="T87" fmla="*/ 417 h 417"/>
              <a:gd name="T88" fmla="*/ 789 w 800"/>
              <a:gd name="T89" fmla="*/ 348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00" h="417">
                <a:moveTo>
                  <a:pt x="789" y="348"/>
                </a:moveTo>
                <a:cubicBezTo>
                  <a:pt x="788" y="344"/>
                  <a:pt x="785" y="340"/>
                  <a:pt x="783" y="339"/>
                </a:cubicBezTo>
                <a:lnTo>
                  <a:pt x="677" y="277"/>
                </a:lnTo>
                <a:cubicBezTo>
                  <a:pt x="674" y="276"/>
                  <a:pt x="670" y="272"/>
                  <a:pt x="669" y="269"/>
                </a:cubicBezTo>
                <a:lnTo>
                  <a:pt x="657" y="241"/>
                </a:lnTo>
                <a:cubicBezTo>
                  <a:pt x="674" y="228"/>
                  <a:pt x="685" y="188"/>
                  <a:pt x="685" y="165"/>
                </a:cubicBezTo>
                <a:lnTo>
                  <a:pt x="685" y="119"/>
                </a:lnTo>
                <a:cubicBezTo>
                  <a:pt x="685" y="81"/>
                  <a:pt x="655" y="50"/>
                  <a:pt x="617" y="50"/>
                </a:cubicBezTo>
                <a:cubicBezTo>
                  <a:pt x="579" y="50"/>
                  <a:pt x="548" y="81"/>
                  <a:pt x="548" y="119"/>
                </a:cubicBezTo>
                <a:lnTo>
                  <a:pt x="548" y="165"/>
                </a:lnTo>
                <a:cubicBezTo>
                  <a:pt x="548" y="188"/>
                  <a:pt x="559" y="228"/>
                  <a:pt x="576" y="241"/>
                </a:cubicBezTo>
                <a:lnTo>
                  <a:pt x="564" y="269"/>
                </a:lnTo>
                <a:cubicBezTo>
                  <a:pt x="563" y="272"/>
                  <a:pt x="559" y="276"/>
                  <a:pt x="557" y="277"/>
                </a:cubicBezTo>
                <a:lnTo>
                  <a:pt x="551" y="280"/>
                </a:lnTo>
                <a:lnTo>
                  <a:pt x="460" y="227"/>
                </a:lnTo>
                <a:cubicBezTo>
                  <a:pt x="457" y="226"/>
                  <a:pt x="454" y="222"/>
                  <a:pt x="453" y="219"/>
                </a:cubicBezTo>
                <a:lnTo>
                  <a:pt x="440" y="191"/>
                </a:lnTo>
                <a:cubicBezTo>
                  <a:pt x="458" y="178"/>
                  <a:pt x="469" y="138"/>
                  <a:pt x="469" y="115"/>
                </a:cubicBezTo>
                <a:lnTo>
                  <a:pt x="469" y="69"/>
                </a:lnTo>
                <a:cubicBezTo>
                  <a:pt x="469" y="31"/>
                  <a:pt x="438" y="0"/>
                  <a:pt x="400" y="0"/>
                </a:cubicBezTo>
                <a:cubicBezTo>
                  <a:pt x="362" y="0"/>
                  <a:pt x="331" y="31"/>
                  <a:pt x="331" y="69"/>
                </a:cubicBezTo>
                <a:lnTo>
                  <a:pt x="331" y="115"/>
                </a:lnTo>
                <a:cubicBezTo>
                  <a:pt x="331" y="138"/>
                  <a:pt x="343" y="178"/>
                  <a:pt x="360" y="191"/>
                </a:cubicBezTo>
                <a:lnTo>
                  <a:pt x="347" y="219"/>
                </a:lnTo>
                <a:cubicBezTo>
                  <a:pt x="346" y="222"/>
                  <a:pt x="343" y="226"/>
                  <a:pt x="340" y="227"/>
                </a:cubicBezTo>
                <a:lnTo>
                  <a:pt x="248" y="281"/>
                </a:lnTo>
                <a:lnTo>
                  <a:pt x="243" y="277"/>
                </a:lnTo>
                <a:cubicBezTo>
                  <a:pt x="240" y="276"/>
                  <a:pt x="237" y="272"/>
                  <a:pt x="236" y="269"/>
                </a:cubicBezTo>
                <a:lnTo>
                  <a:pt x="223" y="241"/>
                </a:lnTo>
                <a:cubicBezTo>
                  <a:pt x="241" y="228"/>
                  <a:pt x="252" y="188"/>
                  <a:pt x="252" y="165"/>
                </a:cubicBezTo>
                <a:lnTo>
                  <a:pt x="252" y="119"/>
                </a:lnTo>
                <a:cubicBezTo>
                  <a:pt x="252" y="81"/>
                  <a:pt x="221" y="50"/>
                  <a:pt x="183" y="50"/>
                </a:cubicBezTo>
                <a:cubicBezTo>
                  <a:pt x="146" y="50"/>
                  <a:pt x="114" y="81"/>
                  <a:pt x="114" y="119"/>
                </a:cubicBezTo>
                <a:lnTo>
                  <a:pt x="114" y="165"/>
                </a:lnTo>
                <a:cubicBezTo>
                  <a:pt x="114" y="188"/>
                  <a:pt x="125" y="228"/>
                  <a:pt x="143" y="241"/>
                </a:cubicBezTo>
                <a:lnTo>
                  <a:pt x="131" y="269"/>
                </a:lnTo>
                <a:cubicBezTo>
                  <a:pt x="130" y="272"/>
                  <a:pt x="126" y="276"/>
                  <a:pt x="123" y="277"/>
                </a:cubicBezTo>
                <a:lnTo>
                  <a:pt x="17" y="339"/>
                </a:lnTo>
                <a:cubicBezTo>
                  <a:pt x="14" y="340"/>
                  <a:pt x="11" y="344"/>
                  <a:pt x="11" y="348"/>
                </a:cubicBezTo>
                <a:lnTo>
                  <a:pt x="0" y="417"/>
                </a:lnTo>
                <a:lnTo>
                  <a:pt x="109" y="417"/>
                </a:lnTo>
                <a:cubicBezTo>
                  <a:pt x="162" y="356"/>
                  <a:pt x="288" y="333"/>
                  <a:pt x="400" y="333"/>
                </a:cubicBezTo>
                <a:cubicBezTo>
                  <a:pt x="512" y="333"/>
                  <a:pt x="637" y="356"/>
                  <a:pt x="691" y="417"/>
                </a:cubicBezTo>
                <a:lnTo>
                  <a:pt x="800" y="417"/>
                </a:lnTo>
                <a:lnTo>
                  <a:pt x="789" y="348"/>
                </a:lnTo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4003" eaLnBrk="0" fontAlgn="auto" hangingPunct="0">
              <a:spcBef>
                <a:spcPts val="0"/>
              </a:spcBef>
              <a:spcAft>
                <a:spcPts val="0"/>
              </a:spcAft>
            </a:pPr>
            <a:endParaRPr lang="en-IN" sz="2400">
              <a:solidFill>
                <a:srgbClr val="676767"/>
              </a:solidFill>
              <a:latin typeface="CiscoSans ExtraLight"/>
              <a:ea typeface="ＭＳ Ｐゴシック" charset="-128"/>
              <a:cs typeface=""/>
            </a:endParaRPr>
          </a:p>
        </p:txBody>
      </p:sp>
      <p:sp>
        <p:nvSpPr>
          <p:cNvPr id="77" name="Freeform 794"/>
          <p:cNvSpPr>
            <a:spLocks/>
          </p:cNvSpPr>
          <p:nvPr/>
        </p:nvSpPr>
        <p:spPr bwMode="auto">
          <a:xfrm>
            <a:off x="7506792" y="2764776"/>
            <a:ext cx="245822" cy="81941"/>
          </a:xfrm>
          <a:custGeom>
            <a:avLst/>
            <a:gdLst>
              <a:gd name="T0" fmla="*/ 399 w 500"/>
              <a:gd name="T1" fmla="*/ 17 h 167"/>
              <a:gd name="T2" fmla="*/ 286 w 500"/>
              <a:gd name="T3" fmla="*/ 1 h 167"/>
              <a:gd name="T4" fmla="*/ 250 w 500"/>
              <a:gd name="T5" fmla="*/ 0 h 167"/>
              <a:gd name="T6" fmla="*/ 214 w 500"/>
              <a:gd name="T7" fmla="*/ 1 h 167"/>
              <a:gd name="T8" fmla="*/ 100 w 500"/>
              <a:gd name="T9" fmla="*/ 17 h 167"/>
              <a:gd name="T10" fmla="*/ 0 w 500"/>
              <a:gd name="T11" fmla="*/ 83 h 167"/>
              <a:gd name="T12" fmla="*/ 250 w 500"/>
              <a:gd name="T13" fmla="*/ 167 h 167"/>
              <a:gd name="T14" fmla="*/ 500 w 500"/>
              <a:gd name="T15" fmla="*/ 83 h 167"/>
              <a:gd name="T16" fmla="*/ 399 w 500"/>
              <a:gd name="T17" fmla="*/ 1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00" h="167">
                <a:moveTo>
                  <a:pt x="399" y="17"/>
                </a:moveTo>
                <a:cubicBezTo>
                  <a:pt x="367" y="9"/>
                  <a:pt x="328" y="3"/>
                  <a:pt x="286" y="1"/>
                </a:cubicBezTo>
                <a:cubicBezTo>
                  <a:pt x="274" y="0"/>
                  <a:pt x="262" y="0"/>
                  <a:pt x="250" y="0"/>
                </a:cubicBezTo>
                <a:cubicBezTo>
                  <a:pt x="237" y="0"/>
                  <a:pt x="226" y="0"/>
                  <a:pt x="214" y="1"/>
                </a:cubicBezTo>
                <a:cubicBezTo>
                  <a:pt x="172" y="3"/>
                  <a:pt x="133" y="9"/>
                  <a:pt x="100" y="17"/>
                </a:cubicBezTo>
                <a:cubicBezTo>
                  <a:pt x="39" y="32"/>
                  <a:pt x="0" y="56"/>
                  <a:pt x="0" y="83"/>
                </a:cubicBezTo>
                <a:cubicBezTo>
                  <a:pt x="0" y="129"/>
                  <a:pt x="112" y="167"/>
                  <a:pt x="250" y="167"/>
                </a:cubicBezTo>
                <a:cubicBezTo>
                  <a:pt x="388" y="167"/>
                  <a:pt x="500" y="129"/>
                  <a:pt x="500" y="83"/>
                </a:cubicBezTo>
                <a:cubicBezTo>
                  <a:pt x="500" y="56"/>
                  <a:pt x="460" y="32"/>
                  <a:pt x="399" y="17"/>
                </a:cubicBezTo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4003" eaLnBrk="0" fontAlgn="auto" hangingPunct="0">
              <a:spcBef>
                <a:spcPts val="0"/>
              </a:spcBef>
              <a:spcAft>
                <a:spcPts val="0"/>
              </a:spcAft>
            </a:pPr>
            <a:endParaRPr lang="en-IN" sz="2400">
              <a:solidFill>
                <a:srgbClr val="676767"/>
              </a:solidFill>
              <a:latin typeface="CiscoSans ExtraLight"/>
              <a:ea typeface="ＭＳ Ｐゴシック" charset="-128"/>
              <a:cs typeface="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17452" y="4959626"/>
            <a:ext cx="222654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282828"/>
                </a:solidFill>
                <a:latin typeface="CiscoSansTT ExtraLight"/>
                <a:ea typeface=""/>
                <a:cs typeface=""/>
              </a:rPr>
              <a:t>*Cisco 2017 Midyear Cybersecurity Report </a:t>
            </a:r>
          </a:p>
        </p:txBody>
      </p:sp>
    </p:spTree>
    <p:extLst>
      <p:ext uri="{BB962C8B-B14F-4D97-AF65-F5344CB8AC3E}">
        <p14:creationId xmlns:p14="http://schemas.microsoft.com/office/powerpoint/2010/main" val="37704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ragmented Ecosystem for SPs to turn to…</a:t>
            </a:r>
            <a:endParaRPr lang="en-US" dirty="0"/>
          </a:p>
        </p:txBody>
      </p:sp>
      <p:pic>
        <p:nvPicPr>
          <p:cNvPr id="3" name="Picture 2" descr="49526E2B-B6BF-4D22-9770-BB30F3598D9A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7632" y="1073543"/>
            <a:ext cx="8645738" cy="3914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11968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+mn-lt"/>
              </a:rPr>
              <a:t>Your network is your business </a:t>
            </a:r>
            <a:endParaRPr lang="en-US" dirty="0">
              <a:latin typeface="+mn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69347" y="967846"/>
            <a:ext cx="7912744" cy="530579"/>
          </a:xfrm>
          <a:prstGeom prst="rect">
            <a:avLst/>
          </a:prstGeom>
          <a:solidFill>
            <a:schemeClr val="bg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FFFFF"/>
              </a:solidFill>
              <a:latin typeface="+mn-lt"/>
              <a:ea typeface=""/>
              <a:cs typeface="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9346" y="1551826"/>
            <a:ext cx="3913632" cy="164592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"/>
              <a:cs typeface=""/>
            </a:endParaRPr>
          </a:p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"/>
                <a:cs typeface=""/>
              </a:rPr>
              <a:t>Telco</a:t>
            </a:r>
          </a:p>
        </p:txBody>
      </p:sp>
      <p:sp>
        <p:nvSpPr>
          <p:cNvPr id="5" name="Rectangle 4"/>
          <p:cNvSpPr/>
          <p:nvPr/>
        </p:nvSpPr>
        <p:spPr>
          <a:xfrm>
            <a:off x="4573030" y="3293780"/>
            <a:ext cx="3909060" cy="1645920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"/>
              <a:cs typeface=""/>
            </a:endParaRPr>
          </a:p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"/>
                <a:cs typeface=""/>
              </a:rPr>
              <a:t>Web</a:t>
            </a:r>
          </a:p>
        </p:txBody>
      </p:sp>
      <p:sp>
        <p:nvSpPr>
          <p:cNvPr id="6" name="Rectangle 5"/>
          <p:cNvSpPr/>
          <p:nvPr/>
        </p:nvSpPr>
        <p:spPr>
          <a:xfrm>
            <a:off x="4573030" y="1565961"/>
            <a:ext cx="3909060" cy="164592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"/>
              <a:cs typeface=""/>
            </a:endParaRPr>
          </a:p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"/>
                <a:cs typeface=""/>
              </a:rPr>
              <a:t>Gaming</a:t>
            </a:r>
          </a:p>
        </p:txBody>
      </p:sp>
      <p:sp>
        <p:nvSpPr>
          <p:cNvPr id="7" name="Rectangle 6"/>
          <p:cNvSpPr/>
          <p:nvPr/>
        </p:nvSpPr>
        <p:spPr>
          <a:xfrm>
            <a:off x="569346" y="3288439"/>
            <a:ext cx="3909526" cy="1645920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"/>
              <a:cs typeface=""/>
            </a:endParaRPr>
          </a:p>
          <a:p>
            <a:pPr algn="ctr" defTabSz="4570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kern="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"/>
                <a:cs typeface=""/>
              </a:rPr>
              <a:t>Cable &amp; </a:t>
            </a:r>
            <a:r>
              <a:rPr lang="en-US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"/>
                <a:cs typeface=""/>
              </a:rPr>
              <a:t>Media</a:t>
            </a:r>
            <a:endParaRPr lang="en-US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"/>
              <a:cs typeface=""/>
            </a:endParaRPr>
          </a:p>
        </p:txBody>
      </p:sp>
      <p:sp>
        <p:nvSpPr>
          <p:cNvPr id="9" name="Oval 8"/>
          <p:cNvSpPr/>
          <p:nvPr/>
        </p:nvSpPr>
        <p:spPr>
          <a:xfrm>
            <a:off x="4000471" y="2696366"/>
            <a:ext cx="1028700" cy="1028700"/>
          </a:xfrm>
          <a:prstGeom prst="ellipse">
            <a:avLst/>
          </a:prstGeom>
          <a:solidFill>
            <a:srgbClr val="FFFFFF"/>
          </a:solidFill>
          <a:ln w="57150" cap="flat" cmpd="sng" algn="ctr">
            <a:solidFill>
              <a:srgbClr val="214794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51441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kern="0" dirty="0">
              <a:solidFill>
                <a:srgbClr val="FFFFFF"/>
              </a:solidFill>
              <a:latin typeface="+mn-lt"/>
              <a:ea typeface=""/>
              <a:cs typeface=""/>
            </a:endParaRP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4165012" y="2918041"/>
            <a:ext cx="690493" cy="659106"/>
            <a:chOff x="4579937" y="2209800"/>
            <a:chExt cx="558800" cy="533400"/>
          </a:xfrm>
          <a:solidFill>
            <a:schemeClr val="bg1"/>
          </a:solidFill>
        </p:grpSpPr>
        <p:sp>
          <p:nvSpPr>
            <p:cNvPr id="11" name="Freeform 139"/>
            <p:cNvSpPr>
              <a:spLocks/>
            </p:cNvSpPr>
            <p:nvPr/>
          </p:nvSpPr>
          <p:spPr bwMode="auto">
            <a:xfrm>
              <a:off x="4579937" y="2425700"/>
              <a:ext cx="254000" cy="317500"/>
            </a:xfrm>
            <a:custGeom>
              <a:avLst/>
              <a:gdLst>
                <a:gd name="T0" fmla="*/ 0 w 160"/>
                <a:gd name="T1" fmla="*/ 0 h 200"/>
                <a:gd name="T2" fmla="*/ 160 w 160"/>
                <a:gd name="T3" fmla="*/ 200 h 200"/>
                <a:gd name="T4" fmla="*/ 160 w 160"/>
                <a:gd name="T5" fmla="*/ 0 h 200"/>
                <a:gd name="T6" fmla="*/ 0 w 160"/>
                <a:gd name="T7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0" h="200">
                  <a:moveTo>
                    <a:pt x="0" y="0"/>
                  </a:moveTo>
                  <a:lnTo>
                    <a:pt x="160" y="200"/>
                  </a:lnTo>
                  <a:lnTo>
                    <a:pt x="16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050" kern="0">
                <a:solidFill>
                  <a:srgbClr val="676767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12" name="Freeform 140"/>
            <p:cNvSpPr>
              <a:spLocks/>
            </p:cNvSpPr>
            <p:nvPr/>
          </p:nvSpPr>
          <p:spPr bwMode="auto">
            <a:xfrm>
              <a:off x="4579937" y="2228850"/>
              <a:ext cx="227013" cy="146050"/>
            </a:xfrm>
            <a:custGeom>
              <a:avLst/>
              <a:gdLst>
                <a:gd name="T0" fmla="*/ 72 w 143"/>
                <a:gd name="T1" fmla="*/ 0 h 92"/>
                <a:gd name="T2" fmla="*/ 0 w 143"/>
                <a:gd name="T3" fmla="*/ 92 h 92"/>
                <a:gd name="T4" fmla="*/ 143 w 143"/>
                <a:gd name="T5" fmla="*/ 92 h 92"/>
                <a:gd name="T6" fmla="*/ 72 w 143"/>
                <a:gd name="T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3" h="92">
                  <a:moveTo>
                    <a:pt x="72" y="0"/>
                  </a:moveTo>
                  <a:lnTo>
                    <a:pt x="0" y="92"/>
                  </a:lnTo>
                  <a:lnTo>
                    <a:pt x="143" y="92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050" kern="0">
                <a:solidFill>
                  <a:srgbClr val="676767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13" name="Freeform 141"/>
            <p:cNvSpPr>
              <a:spLocks/>
            </p:cNvSpPr>
            <p:nvPr/>
          </p:nvSpPr>
          <p:spPr bwMode="auto">
            <a:xfrm>
              <a:off x="4740275" y="2209800"/>
              <a:ext cx="236538" cy="150813"/>
            </a:xfrm>
            <a:custGeom>
              <a:avLst/>
              <a:gdLst>
                <a:gd name="T0" fmla="*/ 149 w 149"/>
                <a:gd name="T1" fmla="*/ 0 h 95"/>
                <a:gd name="T2" fmla="*/ 0 w 149"/>
                <a:gd name="T3" fmla="*/ 0 h 95"/>
                <a:gd name="T4" fmla="*/ 75 w 149"/>
                <a:gd name="T5" fmla="*/ 95 h 95"/>
                <a:gd name="T6" fmla="*/ 149 w 149"/>
                <a:gd name="T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9" h="95">
                  <a:moveTo>
                    <a:pt x="149" y="0"/>
                  </a:moveTo>
                  <a:lnTo>
                    <a:pt x="0" y="0"/>
                  </a:lnTo>
                  <a:lnTo>
                    <a:pt x="75" y="95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050" kern="0">
                <a:solidFill>
                  <a:srgbClr val="676767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4910137" y="2228850"/>
              <a:ext cx="228600" cy="146050"/>
            </a:xfrm>
            <a:custGeom>
              <a:avLst/>
              <a:gdLst>
                <a:gd name="T0" fmla="*/ 144 w 144"/>
                <a:gd name="T1" fmla="*/ 92 h 92"/>
                <a:gd name="T2" fmla="*/ 72 w 144"/>
                <a:gd name="T3" fmla="*/ 0 h 92"/>
                <a:gd name="T4" fmla="*/ 0 w 144"/>
                <a:gd name="T5" fmla="*/ 92 h 92"/>
                <a:gd name="T6" fmla="*/ 144 w 144"/>
                <a:gd name="T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4" h="92">
                  <a:moveTo>
                    <a:pt x="144" y="92"/>
                  </a:moveTo>
                  <a:lnTo>
                    <a:pt x="72" y="0"/>
                  </a:lnTo>
                  <a:lnTo>
                    <a:pt x="0" y="92"/>
                  </a:lnTo>
                  <a:lnTo>
                    <a:pt x="144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050" kern="0">
                <a:solidFill>
                  <a:srgbClr val="676767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4884737" y="2425700"/>
              <a:ext cx="252413" cy="317500"/>
            </a:xfrm>
            <a:custGeom>
              <a:avLst/>
              <a:gdLst>
                <a:gd name="T0" fmla="*/ 0 w 159"/>
                <a:gd name="T1" fmla="*/ 200 h 200"/>
                <a:gd name="T2" fmla="*/ 159 w 159"/>
                <a:gd name="T3" fmla="*/ 0 h 200"/>
                <a:gd name="T4" fmla="*/ 0 w 159"/>
                <a:gd name="T5" fmla="*/ 0 h 200"/>
                <a:gd name="T6" fmla="*/ 0 w 159"/>
                <a:gd name="T7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9" h="200">
                  <a:moveTo>
                    <a:pt x="0" y="200"/>
                  </a:moveTo>
                  <a:lnTo>
                    <a:pt x="159" y="0"/>
                  </a:lnTo>
                  <a:lnTo>
                    <a:pt x="0" y="0"/>
                  </a:lnTo>
                  <a:lnTo>
                    <a:pt x="0" y="2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51441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IN" sz="1050" kern="0">
                <a:solidFill>
                  <a:srgbClr val="676767"/>
                </a:solidFill>
                <a:latin typeface="+mn-lt"/>
                <a:ea typeface=""/>
                <a:cs typeface="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211369" y="3495815"/>
            <a:ext cx="418260" cy="412466"/>
            <a:chOff x="162021" y="2184488"/>
            <a:chExt cx="423252" cy="381519"/>
          </a:xfrm>
          <a:solidFill>
            <a:schemeClr val="bg1"/>
          </a:solidFill>
        </p:grpSpPr>
        <p:sp>
          <p:nvSpPr>
            <p:cNvPr id="17" name="Rounded Rectangle 16"/>
            <p:cNvSpPr/>
            <p:nvPr/>
          </p:nvSpPr>
          <p:spPr>
            <a:xfrm>
              <a:off x="177941" y="2353371"/>
              <a:ext cx="407332" cy="212636"/>
            </a:xfrm>
            <a:prstGeom prst="roundRect">
              <a:avLst>
                <a:gd name="adj" fmla="val 2652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 b="1" kern="0" dirty="0">
                  <a:solidFill>
                    <a:srgbClr val="FFFFFF"/>
                  </a:solidFill>
                  <a:latin typeface="+mn-lt"/>
                  <a:ea typeface=""/>
                  <a:cs typeface=""/>
                </a:rPr>
                <a:t>Take 7</a:t>
              </a:r>
            </a:p>
          </p:txBody>
        </p:sp>
        <p:sp>
          <p:nvSpPr>
            <p:cNvPr id="18" name="Freeform 17"/>
            <p:cNvSpPr/>
            <p:nvPr/>
          </p:nvSpPr>
          <p:spPr>
            <a:xfrm>
              <a:off x="177941" y="2290819"/>
              <a:ext cx="407332" cy="60892"/>
            </a:xfrm>
            <a:custGeom>
              <a:avLst/>
              <a:gdLst>
                <a:gd name="connsiteX0" fmla="*/ 362924 w 444163"/>
                <a:gd name="connsiteY0" fmla="*/ 3018 h 66380"/>
                <a:gd name="connsiteX1" fmla="*/ 303776 w 444163"/>
                <a:gd name="connsiteY1" fmla="*/ 63363 h 66380"/>
                <a:gd name="connsiteX2" fmla="*/ 376282 w 444163"/>
                <a:gd name="connsiteY2" fmla="*/ 63363 h 66380"/>
                <a:gd name="connsiteX3" fmla="*/ 435430 w 444163"/>
                <a:gd name="connsiteY3" fmla="*/ 3018 h 66380"/>
                <a:gd name="connsiteX4" fmla="*/ 217675 w 444163"/>
                <a:gd name="connsiteY4" fmla="*/ 3018 h 66380"/>
                <a:gd name="connsiteX5" fmla="*/ 158527 w 444163"/>
                <a:gd name="connsiteY5" fmla="*/ 63363 h 66380"/>
                <a:gd name="connsiteX6" fmla="*/ 231033 w 444163"/>
                <a:gd name="connsiteY6" fmla="*/ 63363 h 66380"/>
                <a:gd name="connsiteX7" fmla="*/ 290181 w 444163"/>
                <a:gd name="connsiteY7" fmla="*/ 3018 h 66380"/>
                <a:gd name="connsiteX8" fmla="*/ 72542 w 444163"/>
                <a:gd name="connsiteY8" fmla="*/ 3018 h 66380"/>
                <a:gd name="connsiteX9" fmla="*/ 13394 w 444163"/>
                <a:gd name="connsiteY9" fmla="*/ 63363 h 66380"/>
                <a:gd name="connsiteX10" fmla="*/ 85900 w 444163"/>
                <a:gd name="connsiteY10" fmla="*/ 63363 h 66380"/>
                <a:gd name="connsiteX11" fmla="*/ 145048 w 444163"/>
                <a:gd name="connsiteY11" fmla="*/ 3018 h 66380"/>
                <a:gd name="connsiteX12" fmla="*/ 11064 w 444163"/>
                <a:gd name="connsiteY12" fmla="*/ 0 h 66380"/>
                <a:gd name="connsiteX13" fmla="*/ 433099 w 444163"/>
                <a:gd name="connsiteY13" fmla="*/ 0 h 66380"/>
                <a:gd name="connsiteX14" fmla="*/ 444163 w 444163"/>
                <a:gd name="connsiteY14" fmla="*/ 11064 h 66380"/>
                <a:gd name="connsiteX15" fmla="*/ 444163 w 444163"/>
                <a:gd name="connsiteY15" fmla="*/ 55316 h 66380"/>
                <a:gd name="connsiteX16" fmla="*/ 433099 w 444163"/>
                <a:gd name="connsiteY16" fmla="*/ 66380 h 66380"/>
                <a:gd name="connsiteX17" fmla="*/ 11064 w 444163"/>
                <a:gd name="connsiteY17" fmla="*/ 66380 h 66380"/>
                <a:gd name="connsiteX18" fmla="*/ 0 w 444163"/>
                <a:gd name="connsiteY18" fmla="*/ 55316 h 66380"/>
                <a:gd name="connsiteX19" fmla="*/ 0 w 444163"/>
                <a:gd name="connsiteY19" fmla="*/ 11064 h 66380"/>
                <a:gd name="connsiteX20" fmla="*/ 11064 w 444163"/>
                <a:gd name="connsiteY20" fmla="*/ 0 h 6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4163" h="66380">
                  <a:moveTo>
                    <a:pt x="362924" y="3018"/>
                  </a:moveTo>
                  <a:lnTo>
                    <a:pt x="303776" y="63363"/>
                  </a:lnTo>
                  <a:lnTo>
                    <a:pt x="376282" y="63363"/>
                  </a:lnTo>
                  <a:lnTo>
                    <a:pt x="435430" y="3018"/>
                  </a:lnTo>
                  <a:close/>
                  <a:moveTo>
                    <a:pt x="217675" y="3018"/>
                  </a:moveTo>
                  <a:lnTo>
                    <a:pt x="158527" y="63363"/>
                  </a:lnTo>
                  <a:lnTo>
                    <a:pt x="231033" y="63363"/>
                  </a:lnTo>
                  <a:lnTo>
                    <a:pt x="290181" y="3018"/>
                  </a:lnTo>
                  <a:close/>
                  <a:moveTo>
                    <a:pt x="72542" y="3018"/>
                  </a:moveTo>
                  <a:lnTo>
                    <a:pt x="13394" y="63363"/>
                  </a:lnTo>
                  <a:lnTo>
                    <a:pt x="85900" y="63363"/>
                  </a:lnTo>
                  <a:lnTo>
                    <a:pt x="145048" y="3018"/>
                  </a:lnTo>
                  <a:close/>
                  <a:moveTo>
                    <a:pt x="11064" y="0"/>
                  </a:moveTo>
                  <a:lnTo>
                    <a:pt x="433099" y="0"/>
                  </a:lnTo>
                  <a:cubicBezTo>
                    <a:pt x="439209" y="0"/>
                    <a:pt x="444163" y="4954"/>
                    <a:pt x="444163" y="11064"/>
                  </a:cubicBezTo>
                  <a:lnTo>
                    <a:pt x="444163" y="55316"/>
                  </a:lnTo>
                  <a:cubicBezTo>
                    <a:pt x="444163" y="61426"/>
                    <a:pt x="439209" y="66380"/>
                    <a:pt x="433099" y="66380"/>
                  </a:cubicBezTo>
                  <a:lnTo>
                    <a:pt x="11064" y="66380"/>
                  </a:lnTo>
                  <a:cubicBezTo>
                    <a:pt x="4954" y="66380"/>
                    <a:pt x="0" y="61426"/>
                    <a:pt x="0" y="55316"/>
                  </a:cubicBezTo>
                  <a:lnTo>
                    <a:pt x="0" y="11064"/>
                  </a:lnTo>
                  <a:cubicBezTo>
                    <a:pt x="0" y="4954"/>
                    <a:pt x="4954" y="0"/>
                    <a:pt x="1106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>
                <a:solidFill>
                  <a:srgbClr val="FFFFFF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 rot="20729993">
              <a:off x="162021" y="2184488"/>
              <a:ext cx="414118" cy="60892"/>
            </a:xfrm>
            <a:custGeom>
              <a:avLst/>
              <a:gdLst>
                <a:gd name="connsiteX0" fmla="*/ 147463 w 451563"/>
                <a:gd name="connsiteY0" fmla="*/ 3018 h 66380"/>
                <a:gd name="connsiteX1" fmla="*/ 72764 w 451563"/>
                <a:gd name="connsiteY1" fmla="*/ 3018 h 66380"/>
                <a:gd name="connsiteX2" fmla="*/ 13617 w 451563"/>
                <a:gd name="connsiteY2" fmla="*/ 63363 h 66380"/>
                <a:gd name="connsiteX3" fmla="*/ 88316 w 451563"/>
                <a:gd name="connsiteY3" fmla="*/ 63363 h 66380"/>
                <a:gd name="connsiteX4" fmla="*/ 295015 w 451563"/>
                <a:gd name="connsiteY4" fmla="*/ 3019 h 66380"/>
                <a:gd name="connsiteX5" fmla="*/ 220316 w 451563"/>
                <a:gd name="connsiteY5" fmla="*/ 3019 h 66380"/>
                <a:gd name="connsiteX6" fmla="*/ 161168 w 451563"/>
                <a:gd name="connsiteY6" fmla="*/ 63363 h 66380"/>
                <a:gd name="connsiteX7" fmla="*/ 235867 w 451563"/>
                <a:gd name="connsiteY7" fmla="*/ 63363 h 66380"/>
                <a:gd name="connsiteX8" fmla="*/ 442684 w 451563"/>
                <a:gd name="connsiteY8" fmla="*/ 3018 h 66380"/>
                <a:gd name="connsiteX9" fmla="*/ 367985 w 451563"/>
                <a:gd name="connsiteY9" fmla="*/ 3018 h 66380"/>
                <a:gd name="connsiteX10" fmla="*/ 308837 w 451563"/>
                <a:gd name="connsiteY10" fmla="*/ 63363 h 66380"/>
                <a:gd name="connsiteX11" fmla="*/ 383536 w 451563"/>
                <a:gd name="connsiteY11" fmla="*/ 63363 h 66380"/>
                <a:gd name="connsiteX12" fmla="*/ 440499 w 451563"/>
                <a:gd name="connsiteY12" fmla="*/ 0 h 66380"/>
                <a:gd name="connsiteX13" fmla="*/ 451563 w 451563"/>
                <a:gd name="connsiteY13" fmla="*/ 11064 h 66380"/>
                <a:gd name="connsiteX14" fmla="*/ 451563 w 451563"/>
                <a:gd name="connsiteY14" fmla="*/ 55316 h 66380"/>
                <a:gd name="connsiteX15" fmla="*/ 440499 w 451563"/>
                <a:gd name="connsiteY15" fmla="*/ 66380 h 66380"/>
                <a:gd name="connsiteX16" fmla="*/ 11064 w 451563"/>
                <a:gd name="connsiteY16" fmla="*/ 66380 h 66380"/>
                <a:gd name="connsiteX17" fmla="*/ 0 w 451563"/>
                <a:gd name="connsiteY17" fmla="*/ 55316 h 66380"/>
                <a:gd name="connsiteX18" fmla="*/ 0 w 451563"/>
                <a:gd name="connsiteY18" fmla="*/ 11064 h 66380"/>
                <a:gd name="connsiteX19" fmla="*/ 11064 w 451563"/>
                <a:gd name="connsiteY19" fmla="*/ 0 h 6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563" h="66380">
                  <a:moveTo>
                    <a:pt x="147463" y="3018"/>
                  </a:moveTo>
                  <a:lnTo>
                    <a:pt x="72764" y="3018"/>
                  </a:lnTo>
                  <a:lnTo>
                    <a:pt x="13617" y="63363"/>
                  </a:lnTo>
                  <a:lnTo>
                    <a:pt x="88316" y="63363"/>
                  </a:lnTo>
                  <a:close/>
                  <a:moveTo>
                    <a:pt x="295015" y="3019"/>
                  </a:moveTo>
                  <a:lnTo>
                    <a:pt x="220316" y="3019"/>
                  </a:lnTo>
                  <a:lnTo>
                    <a:pt x="161168" y="63363"/>
                  </a:lnTo>
                  <a:lnTo>
                    <a:pt x="235867" y="63363"/>
                  </a:lnTo>
                  <a:close/>
                  <a:moveTo>
                    <a:pt x="442684" y="3018"/>
                  </a:moveTo>
                  <a:lnTo>
                    <a:pt x="367985" y="3018"/>
                  </a:lnTo>
                  <a:lnTo>
                    <a:pt x="308837" y="63363"/>
                  </a:lnTo>
                  <a:lnTo>
                    <a:pt x="383536" y="63363"/>
                  </a:lnTo>
                  <a:close/>
                  <a:moveTo>
                    <a:pt x="440499" y="0"/>
                  </a:moveTo>
                  <a:cubicBezTo>
                    <a:pt x="446609" y="0"/>
                    <a:pt x="451563" y="4954"/>
                    <a:pt x="451563" y="11064"/>
                  </a:cubicBezTo>
                  <a:lnTo>
                    <a:pt x="451563" y="55316"/>
                  </a:lnTo>
                  <a:cubicBezTo>
                    <a:pt x="451563" y="61426"/>
                    <a:pt x="446609" y="66380"/>
                    <a:pt x="440499" y="66380"/>
                  </a:cubicBezTo>
                  <a:lnTo>
                    <a:pt x="11064" y="66380"/>
                  </a:lnTo>
                  <a:cubicBezTo>
                    <a:pt x="4954" y="66380"/>
                    <a:pt x="0" y="61426"/>
                    <a:pt x="0" y="55316"/>
                  </a:cubicBezTo>
                  <a:lnTo>
                    <a:pt x="0" y="11064"/>
                  </a:lnTo>
                  <a:cubicBezTo>
                    <a:pt x="0" y="4954"/>
                    <a:pt x="4954" y="0"/>
                    <a:pt x="1106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>
                <a:solidFill>
                  <a:srgbClr val="FFFFFF"/>
                </a:solidFill>
                <a:latin typeface="+mn-lt"/>
                <a:ea typeface=""/>
                <a:cs typeface=""/>
              </a:endParaRPr>
            </a:p>
          </p:txBody>
        </p:sp>
      </p:grpSp>
      <p:sp>
        <p:nvSpPr>
          <p:cNvPr id="20" name="Freeform 766"/>
          <p:cNvSpPr>
            <a:spLocks noChangeAspect="1" noEditPoints="1"/>
          </p:cNvSpPr>
          <p:nvPr/>
        </p:nvSpPr>
        <p:spPr bwMode="auto">
          <a:xfrm>
            <a:off x="5464995" y="1887947"/>
            <a:ext cx="521411" cy="323650"/>
          </a:xfrm>
          <a:custGeom>
            <a:avLst/>
            <a:gdLst>
              <a:gd name="T0" fmla="*/ 952 w 1208"/>
              <a:gd name="T1" fmla="*/ 8 h 750"/>
              <a:gd name="T2" fmla="*/ 910 w 1208"/>
              <a:gd name="T3" fmla="*/ 0 h 750"/>
              <a:gd name="T4" fmla="*/ 298 w 1208"/>
              <a:gd name="T5" fmla="*/ 0 h 750"/>
              <a:gd name="T6" fmla="*/ 256 w 1208"/>
              <a:gd name="T7" fmla="*/ 8 h 750"/>
              <a:gd name="T8" fmla="*/ 0 w 1208"/>
              <a:gd name="T9" fmla="*/ 371 h 750"/>
              <a:gd name="T10" fmla="*/ 156 w 1208"/>
              <a:gd name="T11" fmla="*/ 735 h 750"/>
              <a:gd name="T12" fmla="*/ 360 w 1208"/>
              <a:gd name="T13" fmla="*/ 484 h 750"/>
              <a:gd name="T14" fmla="*/ 385 w 1208"/>
              <a:gd name="T15" fmla="*/ 473 h 750"/>
              <a:gd name="T16" fmla="*/ 823 w 1208"/>
              <a:gd name="T17" fmla="*/ 473 h 750"/>
              <a:gd name="T18" fmla="*/ 848 w 1208"/>
              <a:gd name="T19" fmla="*/ 484 h 750"/>
              <a:gd name="T20" fmla="*/ 1052 w 1208"/>
              <a:gd name="T21" fmla="*/ 735 h 750"/>
              <a:gd name="T22" fmla="*/ 1208 w 1208"/>
              <a:gd name="T23" fmla="*/ 371 h 750"/>
              <a:gd name="T24" fmla="*/ 952 w 1208"/>
              <a:gd name="T25" fmla="*/ 8 h 750"/>
              <a:gd name="T26" fmla="*/ 423 w 1208"/>
              <a:gd name="T27" fmla="*/ 287 h 750"/>
              <a:gd name="T28" fmla="*/ 353 w 1208"/>
              <a:gd name="T29" fmla="*/ 287 h 750"/>
              <a:gd name="T30" fmla="*/ 353 w 1208"/>
              <a:gd name="T31" fmla="*/ 351 h 750"/>
              <a:gd name="T32" fmla="*/ 329 w 1208"/>
              <a:gd name="T33" fmla="*/ 375 h 750"/>
              <a:gd name="T34" fmla="*/ 305 w 1208"/>
              <a:gd name="T35" fmla="*/ 351 h 750"/>
              <a:gd name="T36" fmla="*/ 305 w 1208"/>
              <a:gd name="T37" fmla="*/ 287 h 750"/>
              <a:gd name="T38" fmla="*/ 241 w 1208"/>
              <a:gd name="T39" fmla="*/ 287 h 750"/>
              <a:gd name="T40" fmla="*/ 217 w 1208"/>
              <a:gd name="T41" fmla="*/ 263 h 750"/>
              <a:gd name="T42" fmla="*/ 241 w 1208"/>
              <a:gd name="T43" fmla="*/ 239 h 750"/>
              <a:gd name="T44" fmla="*/ 305 w 1208"/>
              <a:gd name="T45" fmla="*/ 239 h 750"/>
              <a:gd name="T46" fmla="*/ 305 w 1208"/>
              <a:gd name="T47" fmla="*/ 170 h 750"/>
              <a:gd name="T48" fmla="*/ 329 w 1208"/>
              <a:gd name="T49" fmla="*/ 146 h 750"/>
              <a:gd name="T50" fmla="*/ 353 w 1208"/>
              <a:gd name="T51" fmla="*/ 170 h 750"/>
              <a:gd name="T52" fmla="*/ 353 w 1208"/>
              <a:gd name="T53" fmla="*/ 239 h 750"/>
              <a:gd name="T54" fmla="*/ 423 w 1208"/>
              <a:gd name="T55" fmla="*/ 239 h 750"/>
              <a:gd name="T56" fmla="*/ 447 w 1208"/>
              <a:gd name="T57" fmla="*/ 263 h 750"/>
              <a:gd name="T58" fmla="*/ 423 w 1208"/>
              <a:gd name="T59" fmla="*/ 287 h 750"/>
              <a:gd name="T60" fmla="*/ 776 w 1208"/>
              <a:gd name="T61" fmla="*/ 315 h 750"/>
              <a:gd name="T62" fmla="*/ 755 w 1208"/>
              <a:gd name="T63" fmla="*/ 256 h 750"/>
              <a:gd name="T64" fmla="*/ 776 w 1208"/>
              <a:gd name="T65" fmla="*/ 197 h 750"/>
              <a:gd name="T66" fmla="*/ 798 w 1208"/>
              <a:gd name="T67" fmla="*/ 256 h 750"/>
              <a:gd name="T68" fmla="*/ 776 w 1208"/>
              <a:gd name="T69" fmla="*/ 315 h 750"/>
              <a:gd name="T70" fmla="*/ 875 w 1208"/>
              <a:gd name="T71" fmla="*/ 383 h 750"/>
              <a:gd name="T72" fmla="*/ 816 w 1208"/>
              <a:gd name="T73" fmla="*/ 361 h 750"/>
              <a:gd name="T74" fmla="*/ 875 w 1208"/>
              <a:gd name="T75" fmla="*/ 340 h 750"/>
              <a:gd name="T76" fmla="*/ 934 w 1208"/>
              <a:gd name="T77" fmla="*/ 361 h 750"/>
              <a:gd name="T78" fmla="*/ 875 w 1208"/>
              <a:gd name="T79" fmla="*/ 383 h 750"/>
              <a:gd name="T80" fmla="*/ 834 w 1208"/>
              <a:gd name="T81" fmla="*/ 256 h 750"/>
              <a:gd name="T82" fmla="*/ 875 w 1208"/>
              <a:gd name="T83" fmla="*/ 216 h 750"/>
              <a:gd name="T84" fmla="*/ 915 w 1208"/>
              <a:gd name="T85" fmla="*/ 256 h 750"/>
              <a:gd name="T86" fmla="*/ 875 w 1208"/>
              <a:gd name="T87" fmla="*/ 296 h 750"/>
              <a:gd name="T88" fmla="*/ 834 w 1208"/>
              <a:gd name="T89" fmla="*/ 256 h 750"/>
              <a:gd name="T90" fmla="*/ 875 w 1208"/>
              <a:gd name="T91" fmla="*/ 181 h 750"/>
              <a:gd name="T92" fmla="*/ 816 w 1208"/>
              <a:gd name="T93" fmla="*/ 160 h 750"/>
              <a:gd name="T94" fmla="*/ 875 w 1208"/>
              <a:gd name="T95" fmla="*/ 139 h 750"/>
              <a:gd name="T96" fmla="*/ 934 w 1208"/>
              <a:gd name="T97" fmla="*/ 160 h 750"/>
              <a:gd name="T98" fmla="*/ 875 w 1208"/>
              <a:gd name="T99" fmla="*/ 181 h 750"/>
              <a:gd name="T100" fmla="*/ 978 w 1208"/>
              <a:gd name="T101" fmla="*/ 315 h 750"/>
              <a:gd name="T102" fmla="*/ 956 w 1208"/>
              <a:gd name="T103" fmla="*/ 256 h 750"/>
              <a:gd name="T104" fmla="*/ 978 w 1208"/>
              <a:gd name="T105" fmla="*/ 197 h 750"/>
              <a:gd name="T106" fmla="*/ 999 w 1208"/>
              <a:gd name="T107" fmla="*/ 256 h 750"/>
              <a:gd name="T108" fmla="*/ 978 w 1208"/>
              <a:gd name="T109" fmla="*/ 315 h 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208" h="750">
                <a:moveTo>
                  <a:pt x="952" y="8"/>
                </a:moveTo>
                <a:cubicBezTo>
                  <a:pt x="939" y="3"/>
                  <a:pt x="924" y="0"/>
                  <a:pt x="910" y="0"/>
                </a:cubicBezTo>
                <a:cubicBezTo>
                  <a:pt x="298" y="0"/>
                  <a:pt x="298" y="0"/>
                  <a:pt x="298" y="0"/>
                </a:cubicBezTo>
                <a:cubicBezTo>
                  <a:pt x="284" y="0"/>
                  <a:pt x="270" y="3"/>
                  <a:pt x="256" y="8"/>
                </a:cubicBezTo>
                <a:cubicBezTo>
                  <a:pt x="136" y="56"/>
                  <a:pt x="0" y="178"/>
                  <a:pt x="0" y="371"/>
                </a:cubicBezTo>
                <a:cubicBezTo>
                  <a:pt x="0" y="576"/>
                  <a:pt x="47" y="750"/>
                  <a:pt x="156" y="735"/>
                </a:cubicBezTo>
                <a:cubicBezTo>
                  <a:pt x="250" y="723"/>
                  <a:pt x="256" y="603"/>
                  <a:pt x="360" y="484"/>
                </a:cubicBezTo>
                <a:cubicBezTo>
                  <a:pt x="366" y="477"/>
                  <a:pt x="375" y="473"/>
                  <a:pt x="385" y="473"/>
                </a:cubicBezTo>
                <a:cubicBezTo>
                  <a:pt x="823" y="473"/>
                  <a:pt x="823" y="473"/>
                  <a:pt x="823" y="473"/>
                </a:cubicBezTo>
                <a:cubicBezTo>
                  <a:pt x="833" y="473"/>
                  <a:pt x="842" y="477"/>
                  <a:pt x="848" y="484"/>
                </a:cubicBezTo>
                <a:cubicBezTo>
                  <a:pt x="953" y="603"/>
                  <a:pt x="958" y="723"/>
                  <a:pt x="1052" y="735"/>
                </a:cubicBezTo>
                <a:cubicBezTo>
                  <a:pt x="1161" y="750"/>
                  <a:pt x="1208" y="576"/>
                  <a:pt x="1208" y="371"/>
                </a:cubicBezTo>
                <a:cubicBezTo>
                  <a:pt x="1208" y="178"/>
                  <a:pt x="1072" y="56"/>
                  <a:pt x="952" y="8"/>
                </a:cubicBezTo>
                <a:close/>
                <a:moveTo>
                  <a:pt x="423" y="287"/>
                </a:moveTo>
                <a:cubicBezTo>
                  <a:pt x="353" y="287"/>
                  <a:pt x="353" y="287"/>
                  <a:pt x="353" y="287"/>
                </a:cubicBezTo>
                <a:cubicBezTo>
                  <a:pt x="353" y="351"/>
                  <a:pt x="353" y="351"/>
                  <a:pt x="353" y="351"/>
                </a:cubicBezTo>
                <a:cubicBezTo>
                  <a:pt x="353" y="365"/>
                  <a:pt x="343" y="375"/>
                  <a:pt x="329" y="375"/>
                </a:cubicBezTo>
                <a:cubicBezTo>
                  <a:pt x="316" y="375"/>
                  <a:pt x="305" y="365"/>
                  <a:pt x="305" y="351"/>
                </a:cubicBezTo>
                <a:cubicBezTo>
                  <a:pt x="305" y="287"/>
                  <a:pt x="305" y="287"/>
                  <a:pt x="305" y="287"/>
                </a:cubicBezTo>
                <a:cubicBezTo>
                  <a:pt x="241" y="287"/>
                  <a:pt x="241" y="287"/>
                  <a:pt x="241" y="287"/>
                </a:cubicBezTo>
                <a:cubicBezTo>
                  <a:pt x="228" y="287"/>
                  <a:pt x="217" y="277"/>
                  <a:pt x="217" y="263"/>
                </a:cubicBezTo>
                <a:cubicBezTo>
                  <a:pt x="217" y="250"/>
                  <a:pt x="228" y="239"/>
                  <a:pt x="241" y="239"/>
                </a:cubicBezTo>
                <a:cubicBezTo>
                  <a:pt x="305" y="239"/>
                  <a:pt x="305" y="239"/>
                  <a:pt x="305" y="239"/>
                </a:cubicBezTo>
                <a:cubicBezTo>
                  <a:pt x="305" y="170"/>
                  <a:pt x="305" y="170"/>
                  <a:pt x="305" y="170"/>
                </a:cubicBezTo>
                <a:cubicBezTo>
                  <a:pt x="305" y="157"/>
                  <a:pt x="316" y="146"/>
                  <a:pt x="329" y="146"/>
                </a:cubicBezTo>
                <a:cubicBezTo>
                  <a:pt x="343" y="146"/>
                  <a:pt x="353" y="157"/>
                  <a:pt x="353" y="170"/>
                </a:cubicBezTo>
                <a:cubicBezTo>
                  <a:pt x="353" y="239"/>
                  <a:pt x="353" y="239"/>
                  <a:pt x="353" y="239"/>
                </a:cubicBezTo>
                <a:cubicBezTo>
                  <a:pt x="423" y="239"/>
                  <a:pt x="423" y="239"/>
                  <a:pt x="423" y="239"/>
                </a:cubicBezTo>
                <a:cubicBezTo>
                  <a:pt x="436" y="239"/>
                  <a:pt x="447" y="250"/>
                  <a:pt x="447" y="263"/>
                </a:cubicBezTo>
                <a:cubicBezTo>
                  <a:pt x="447" y="277"/>
                  <a:pt x="436" y="287"/>
                  <a:pt x="423" y="287"/>
                </a:cubicBezTo>
                <a:close/>
                <a:moveTo>
                  <a:pt x="776" y="315"/>
                </a:moveTo>
                <a:cubicBezTo>
                  <a:pt x="765" y="315"/>
                  <a:pt x="755" y="288"/>
                  <a:pt x="755" y="256"/>
                </a:cubicBezTo>
                <a:cubicBezTo>
                  <a:pt x="755" y="224"/>
                  <a:pt x="765" y="197"/>
                  <a:pt x="776" y="197"/>
                </a:cubicBezTo>
                <a:cubicBezTo>
                  <a:pt x="788" y="197"/>
                  <a:pt x="798" y="224"/>
                  <a:pt x="798" y="256"/>
                </a:cubicBezTo>
                <a:cubicBezTo>
                  <a:pt x="798" y="288"/>
                  <a:pt x="788" y="315"/>
                  <a:pt x="776" y="315"/>
                </a:cubicBezTo>
                <a:close/>
                <a:moveTo>
                  <a:pt x="875" y="383"/>
                </a:moveTo>
                <a:cubicBezTo>
                  <a:pt x="842" y="383"/>
                  <a:pt x="816" y="373"/>
                  <a:pt x="816" y="361"/>
                </a:cubicBezTo>
                <a:cubicBezTo>
                  <a:pt x="816" y="349"/>
                  <a:pt x="842" y="340"/>
                  <a:pt x="875" y="340"/>
                </a:cubicBezTo>
                <a:cubicBezTo>
                  <a:pt x="907" y="340"/>
                  <a:pt x="934" y="349"/>
                  <a:pt x="934" y="361"/>
                </a:cubicBezTo>
                <a:cubicBezTo>
                  <a:pt x="934" y="373"/>
                  <a:pt x="907" y="383"/>
                  <a:pt x="875" y="383"/>
                </a:cubicBezTo>
                <a:close/>
                <a:moveTo>
                  <a:pt x="834" y="256"/>
                </a:moveTo>
                <a:cubicBezTo>
                  <a:pt x="834" y="234"/>
                  <a:pt x="853" y="216"/>
                  <a:pt x="875" y="216"/>
                </a:cubicBezTo>
                <a:cubicBezTo>
                  <a:pt x="897" y="216"/>
                  <a:pt x="915" y="234"/>
                  <a:pt x="915" y="256"/>
                </a:cubicBezTo>
                <a:cubicBezTo>
                  <a:pt x="915" y="278"/>
                  <a:pt x="897" y="296"/>
                  <a:pt x="875" y="296"/>
                </a:cubicBezTo>
                <a:cubicBezTo>
                  <a:pt x="853" y="296"/>
                  <a:pt x="834" y="278"/>
                  <a:pt x="834" y="256"/>
                </a:cubicBezTo>
                <a:close/>
                <a:moveTo>
                  <a:pt x="875" y="181"/>
                </a:moveTo>
                <a:cubicBezTo>
                  <a:pt x="842" y="181"/>
                  <a:pt x="816" y="172"/>
                  <a:pt x="816" y="160"/>
                </a:cubicBezTo>
                <a:cubicBezTo>
                  <a:pt x="816" y="148"/>
                  <a:pt x="842" y="139"/>
                  <a:pt x="875" y="139"/>
                </a:cubicBezTo>
                <a:cubicBezTo>
                  <a:pt x="907" y="139"/>
                  <a:pt x="934" y="148"/>
                  <a:pt x="934" y="160"/>
                </a:cubicBezTo>
                <a:cubicBezTo>
                  <a:pt x="934" y="172"/>
                  <a:pt x="907" y="181"/>
                  <a:pt x="875" y="181"/>
                </a:cubicBezTo>
                <a:close/>
                <a:moveTo>
                  <a:pt x="978" y="315"/>
                </a:moveTo>
                <a:cubicBezTo>
                  <a:pt x="966" y="315"/>
                  <a:pt x="956" y="288"/>
                  <a:pt x="956" y="256"/>
                </a:cubicBezTo>
                <a:cubicBezTo>
                  <a:pt x="956" y="224"/>
                  <a:pt x="966" y="197"/>
                  <a:pt x="978" y="197"/>
                </a:cubicBezTo>
                <a:cubicBezTo>
                  <a:pt x="989" y="197"/>
                  <a:pt x="999" y="224"/>
                  <a:pt x="999" y="256"/>
                </a:cubicBezTo>
                <a:cubicBezTo>
                  <a:pt x="999" y="288"/>
                  <a:pt x="989" y="315"/>
                  <a:pt x="978" y="315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34288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rgbClr val="676767"/>
              </a:solidFill>
              <a:latin typeface="+mn-lt"/>
              <a:ea typeface=""/>
              <a:cs typeface=""/>
            </a:endParaRPr>
          </a:p>
        </p:txBody>
      </p:sp>
      <p:sp>
        <p:nvSpPr>
          <p:cNvPr id="21" name="Freeform 48"/>
          <p:cNvSpPr>
            <a:spLocks/>
          </p:cNvSpPr>
          <p:nvPr/>
        </p:nvSpPr>
        <p:spPr bwMode="auto">
          <a:xfrm>
            <a:off x="5625525" y="3537762"/>
            <a:ext cx="556625" cy="366268"/>
          </a:xfrm>
          <a:custGeom>
            <a:avLst/>
            <a:gdLst>
              <a:gd name="T0" fmla="*/ 361 w 432"/>
              <a:gd name="T1" fmla="*/ 121 h 268"/>
              <a:gd name="T2" fmla="*/ 364 w 432"/>
              <a:gd name="T3" fmla="*/ 96 h 268"/>
              <a:gd name="T4" fmla="*/ 268 w 432"/>
              <a:gd name="T5" fmla="*/ 0 h 268"/>
              <a:gd name="T6" fmla="*/ 175 w 432"/>
              <a:gd name="T7" fmla="*/ 71 h 268"/>
              <a:gd name="T8" fmla="*/ 138 w 432"/>
              <a:gd name="T9" fmla="*/ 62 h 268"/>
              <a:gd name="T10" fmla="*/ 54 w 432"/>
              <a:gd name="T11" fmla="*/ 146 h 268"/>
              <a:gd name="T12" fmla="*/ 55 w 432"/>
              <a:gd name="T13" fmla="*/ 156 h 268"/>
              <a:gd name="T14" fmla="*/ 54 w 432"/>
              <a:gd name="T15" fmla="*/ 156 h 268"/>
              <a:gd name="T16" fmla="*/ 0 w 432"/>
              <a:gd name="T17" fmla="*/ 212 h 268"/>
              <a:gd name="T18" fmla="*/ 54 w 432"/>
              <a:gd name="T19" fmla="*/ 268 h 268"/>
              <a:gd name="T20" fmla="*/ 360 w 432"/>
              <a:gd name="T21" fmla="*/ 268 h 268"/>
              <a:gd name="T22" fmla="*/ 432 w 432"/>
              <a:gd name="T23" fmla="*/ 194 h 268"/>
              <a:gd name="T24" fmla="*/ 361 w 432"/>
              <a:gd name="T25" fmla="*/ 12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2" h="268">
                <a:moveTo>
                  <a:pt x="361" y="121"/>
                </a:moveTo>
                <a:cubicBezTo>
                  <a:pt x="363" y="113"/>
                  <a:pt x="364" y="104"/>
                  <a:pt x="364" y="96"/>
                </a:cubicBezTo>
                <a:cubicBezTo>
                  <a:pt x="364" y="43"/>
                  <a:pt x="321" y="0"/>
                  <a:pt x="268" y="0"/>
                </a:cubicBezTo>
                <a:cubicBezTo>
                  <a:pt x="224" y="0"/>
                  <a:pt x="186" y="30"/>
                  <a:pt x="175" y="71"/>
                </a:cubicBezTo>
                <a:cubicBezTo>
                  <a:pt x="164" y="65"/>
                  <a:pt x="151" y="62"/>
                  <a:pt x="138" y="62"/>
                </a:cubicBezTo>
                <a:cubicBezTo>
                  <a:pt x="92" y="62"/>
                  <a:pt x="54" y="100"/>
                  <a:pt x="54" y="146"/>
                </a:cubicBezTo>
                <a:cubicBezTo>
                  <a:pt x="54" y="149"/>
                  <a:pt x="54" y="153"/>
                  <a:pt x="55" y="156"/>
                </a:cubicBezTo>
                <a:cubicBezTo>
                  <a:pt x="54" y="156"/>
                  <a:pt x="54" y="156"/>
                  <a:pt x="54" y="156"/>
                </a:cubicBezTo>
                <a:cubicBezTo>
                  <a:pt x="24" y="156"/>
                  <a:pt x="0" y="182"/>
                  <a:pt x="0" y="212"/>
                </a:cubicBezTo>
                <a:cubicBezTo>
                  <a:pt x="0" y="242"/>
                  <a:pt x="24" y="268"/>
                  <a:pt x="54" y="268"/>
                </a:cubicBezTo>
                <a:cubicBezTo>
                  <a:pt x="360" y="268"/>
                  <a:pt x="360" y="268"/>
                  <a:pt x="360" y="268"/>
                </a:cubicBezTo>
                <a:cubicBezTo>
                  <a:pt x="400" y="268"/>
                  <a:pt x="432" y="234"/>
                  <a:pt x="432" y="194"/>
                </a:cubicBezTo>
                <a:cubicBezTo>
                  <a:pt x="432" y="155"/>
                  <a:pt x="400" y="121"/>
                  <a:pt x="361" y="121"/>
                </a:cubicBezTo>
                <a:close/>
              </a:path>
            </a:pathLst>
          </a:cu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lIns="68547" tIns="34274" rIns="68547" bIns="34274" rtlCol="0" anchor="ctr"/>
          <a:lstStyle/>
          <a:p>
            <a:pPr algn="ctr" defTabSz="51336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schemeClr val="bg2"/>
              </a:solidFill>
              <a:latin typeface="+mn-lt"/>
              <a:ea typeface=""/>
              <a:cs typeface="CiscoSansTT Light"/>
            </a:endParaRPr>
          </a:p>
        </p:txBody>
      </p:sp>
      <p:sp>
        <p:nvSpPr>
          <p:cNvPr id="22" name="Rectangle 107548"/>
          <p:cNvSpPr/>
          <p:nvPr/>
        </p:nvSpPr>
        <p:spPr bwMode="auto">
          <a:xfrm rot="755747">
            <a:off x="1732601" y="1596507"/>
            <a:ext cx="469737" cy="543397"/>
          </a:xfrm>
          <a:custGeom>
            <a:avLst/>
            <a:gdLst/>
            <a:ahLst/>
            <a:cxnLst/>
            <a:rect l="l" t="t" r="r" b="b"/>
            <a:pathLst>
              <a:path w="8212826" h="8901817">
                <a:moveTo>
                  <a:pt x="4497681" y="7201125"/>
                </a:moveTo>
                <a:lnTo>
                  <a:pt x="4497681" y="8491711"/>
                </a:lnTo>
                <a:lnTo>
                  <a:pt x="5081600" y="7571751"/>
                </a:lnTo>
                <a:close/>
                <a:moveTo>
                  <a:pt x="5836176" y="6890495"/>
                </a:moveTo>
                <a:lnTo>
                  <a:pt x="5457014" y="7487862"/>
                </a:lnTo>
                <a:lnTo>
                  <a:pt x="6398161" y="8085230"/>
                </a:lnTo>
                <a:close/>
                <a:moveTo>
                  <a:pt x="4895788" y="5994363"/>
                </a:moveTo>
                <a:lnTo>
                  <a:pt x="4497681" y="6621578"/>
                </a:lnTo>
                <a:lnTo>
                  <a:pt x="4497681" y="6902697"/>
                </a:lnTo>
                <a:lnTo>
                  <a:pt x="5198089" y="7347261"/>
                </a:lnTo>
                <a:lnTo>
                  <a:pt x="5687980" y="6575442"/>
                </a:lnTo>
                <a:lnTo>
                  <a:pt x="5635501" y="6463876"/>
                </a:lnTo>
                <a:close/>
                <a:moveTo>
                  <a:pt x="4497681" y="5715678"/>
                </a:moveTo>
                <a:lnTo>
                  <a:pt x="4497681" y="6151406"/>
                </a:lnTo>
                <a:lnTo>
                  <a:pt x="4694824" y="5840809"/>
                </a:lnTo>
                <a:close/>
                <a:moveTo>
                  <a:pt x="5203902" y="5546330"/>
                </a:moveTo>
                <a:lnTo>
                  <a:pt x="5070235" y="5756921"/>
                </a:lnTo>
                <a:lnTo>
                  <a:pt x="5402019" y="5967512"/>
                </a:lnTo>
                <a:close/>
                <a:moveTo>
                  <a:pt x="5193775" y="4574281"/>
                </a:moveTo>
                <a:lnTo>
                  <a:pt x="6931089" y="8267670"/>
                </a:lnTo>
                <a:lnTo>
                  <a:pt x="6343807" y="8398898"/>
                </a:lnTo>
                <a:lnTo>
                  <a:pt x="5282566" y="7725304"/>
                </a:lnTo>
                <a:lnTo>
                  <a:pt x="4608974" y="8786545"/>
                </a:lnTo>
                <a:lnTo>
                  <a:pt x="4093096" y="8901817"/>
                </a:lnTo>
                <a:lnTo>
                  <a:pt x="4093096" y="4820228"/>
                </a:lnTo>
                <a:lnTo>
                  <a:pt x="4497681" y="4820228"/>
                </a:lnTo>
                <a:lnTo>
                  <a:pt x="4497681" y="5417250"/>
                </a:lnTo>
                <a:lnTo>
                  <a:pt x="4811312" y="5616319"/>
                </a:lnTo>
                <a:lnTo>
                  <a:pt x="5055706" y="5231277"/>
                </a:lnTo>
                <a:lnTo>
                  <a:pt x="4827670" y="4746491"/>
                </a:lnTo>
                <a:close/>
                <a:moveTo>
                  <a:pt x="5064" y="5190605"/>
                </a:moveTo>
                <a:lnTo>
                  <a:pt x="696552" y="5276114"/>
                </a:lnTo>
                <a:cubicBezTo>
                  <a:pt x="673849" y="5830665"/>
                  <a:pt x="905790" y="6387729"/>
                  <a:pt x="1329298" y="6795803"/>
                </a:cubicBezTo>
                <a:cubicBezTo>
                  <a:pt x="1742308" y="7193763"/>
                  <a:pt x="2296214" y="7410173"/>
                  <a:pt x="2847106" y="7388810"/>
                </a:cubicBezTo>
                <a:lnTo>
                  <a:pt x="2935322" y="8080183"/>
                </a:lnTo>
                <a:cubicBezTo>
                  <a:pt x="2171520" y="8127883"/>
                  <a:pt x="1404010" y="7838139"/>
                  <a:pt x="838426" y="7288578"/>
                </a:cubicBezTo>
                <a:cubicBezTo>
                  <a:pt x="262300" y="6728776"/>
                  <a:pt x="-43753" y="5958291"/>
                  <a:pt x="5064" y="5190605"/>
                </a:cubicBezTo>
                <a:close/>
                <a:moveTo>
                  <a:pt x="2315372" y="4553207"/>
                </a:moveTo>
                <a:lnTo>
                  <a:pt x="2576079" y="4585445"/>
                </a:lnTo>
                <a:cubicBezTo>
                  <a:pt x="2567519" y="4794524"/>
                  <a:pt x="2654967" y="5004551"/>
                  <a:pt x="2814640" y="5158404"/>
                </a:cubicBezTo>
                <a:cubicBezTo>
                  <a:pt x="2970355" y="5308445"/>
                  <a:pt x="3179191" y="5390036"/>
                  <a:pt x="3386890" y="5381982"/>
                </a:cubicBezTo>
                <a:lnTo>
                  <a:pt x="3420150" y="5642648"/>
                </a:lnTo>
                <a:cubicBezTo>
                  <a:pt x="3132179" y="5660631"/>
                  <a:pt x="2842809" y="5551391"/>
                  <a:pt x="2629569" y="5344193"/>
                </a:cubicBezTo>
                <a:cubicBezTo>
                  <a:pt x="2412356" y="5133135"/>
                  <a:pt x="2296967" y="4842643"/>
                  <a:pt x="2315372" y="4553207"/>
                </a:cubicBezTo>
                <a:close/>
                <a:moveTo>
                  <a:pt x="1314524" y="4639948"/>
                </a:moveTo>
                <a:lnTo>
                  <a:pt x="1800223" y="4700010"/>
                </a:lnTo>
                <a:cubicBezTo>
                  <a:pt x="1784276" y="5089524"/>
                  <a:pt x="1947192" y="5480804"/>
                  <a:pt x="2244663" y="5767434"/>
                </a:cubicBezTo>
                <a:cubicBezTo>
                  <a:pt x="2534761" y="6046959"/>
                  <a:pt x="2923822" y="6198966"/>
                  <a:pt x="3310767" y="6183961"/>
                </a:cubicBezTo>
                <a:lnTo>
                  <a:pt x="3372729" y="6669578"/>
                </a:lnTo>
                <a:cubicBezTo>
                  <a:pt x="2836237" y="6703081"/>
                  <a:pt x="2297141" y="6499566"/>
                  <a:pt x="1899876" y="6113557"/>
                </a:cubicBezTo>
                <a:cubicBezTo>
                  <a:pt x="1495207" y="5720353"/>
                  <a:pt x="1280237" y="5179167"/>
                  <a:pt x="1314524" y="4639948"/>
                </a:cubicBezTo>
                <a:close/>
                <a:moveTo>
                  <a:pt x="4245423" y="3138341"/>
                </a:moveTo>
                <a:cubicBezTo>
                  <a:pt x="4678825" y="3041496"/>
                  <a:pt x="5108673" y="3314331"/>
                  <a:pt x="5205517" y="3747734"/>
                </a:cubicBezTo>
                <a:cubicBezTo>
                  <a:pt x="5302360" y="4181136"/>
                  <a:pt x="5029526" y="4610985"/>
                  <a:pt x="4596124" y="4707827"/>
                </a:cubicBezTo>
                <a:cubicBezTo>
                  <a:pt x="4162721" y="4804671"/>
                  <a:pt x="3732873" y="4531836"/>
                  <a:pt x="3636029" y="4098434"/>
                </a:cubicBezTo>
                <a:cubicBezTo>
                  <a:pt x="3539186" y="3665032"/>
                  <a:pt x="3812021" y="3235183"/>
                  <a:pt x="4245423" y="3138341"/>
                </a:cubicBezTo>
                <a:close/>
                <a:moveTo>
                  <a:pt x="4646799" y="2381722"/>
                </a:moveTo>
                <a:cubicBezTo>
                  <a:pt x="4933740" y="2339564"/>
                  <a:pt x="5232740" y="2430660"/>
                  <a:pt x="5460957" y="2629771"/>
                </a:cubicBezTo>
                <a:cubicBezTo>
                  <a:pt x="5684997" y="2825239"/>
                  <a:pt x="5817677" y="3104639"/>
                  <a:pt x="5823449" y="3393113"/>
                </a:cubicBezTo>
                <a:lnTo>
                  <a:pt x="5560931" y="3381413"/>
                </a:lnTo>
                <a:cubicBezTo>
                  <a:pt x="5551868" y="3173757"/>
                  <a:pt x="5453371" y="2972341"/>
                  <a:pt x="5291025" y="2829500"/>
                </a:cubicBezTo>
                <a:cubicBezTo>
                  <a:pt x="5124555" y="2683029"/>
                  <a:pt x="4908046" y="2613158"/>
                  <a:pt x="4700380" y="2638892"/>
                </a:cubicBezTo>
                <a:close/>
                <a:moveTo>
                  <a:pt x="4650897" y="1377131"/>
                </a:moveTo>
                <a:cubicBezTo>
                  <a:pt x="5185468" y="1298593"/>
                  <a:pt x="5742506" y="1468305"/>
                  <a:pt x="6167673" y="1839250"/>
                </a:cubicBezTo>
                <a:cubicBezTo>
                  <a:pt x="6585061" y="2203406"/>
                  <a:pt x="6832243" y="2723929"/>
                  <a:pt x="6842996" y="3261358"/>
                </a:cubicBezTo>
                <a:lnTo>
                  <a:pt x="6353927" y="3239563"/>
                </a:lnTo>
                <a:cubicBezTo>
                  <a:pt x="6337043" y="2852696"/>
                  <a:pt x="6153539" y="2477460"/>
                  <a:pt x="5851092" y="2211346"/>
                </a:cubicBezTo>
                <a:cubicBezTo>
                  <a:pt x="5540958" y="1938467"/>
                  <a:pt x="5137601" y="1808299"/>
                  <a:pt x="4750719" y="1856241"/>
                </a:cubicBezTo>
                <a:close/>
                <a:moveTo>
                  <a:pt x="5091943" y="26803"/>
                </a:moveTo>
                <a:cubicBezTo>
                  <a:pt x="5853010" y="-85015"/>
                  <a:pt x="6646064" y="156605"/>
                  <a:pt x="7251373" y="684716"/>
                </a:cubicBezTo>
                <a:cubicBezTo>
                  <a:pt x="7845607" y="1203164"/>
                  <a:pt x="8197519" y="1944231"/>
                  <a:pt x="8212826" y="2709368"/>
                </a:cubicBezTo>
                <a:lnTo>
                  <a:pt x="7516540" y="2678338"/>
                </a:lnTo>
                <a:cubicBezTo>
                  <a:pt x="7492502" y="2127556"/>
                  <a:pt x="7231249" y="1593336"/>
                  <a:pt x="6800657" y="1214470"/>
                </a:cubicBezTo>
                <a:cubicBezTo>
                  <a:pt x="6359121" y="825975"/>
                  <a:pt x="5784862" y="640655"/>
                  <a:pt x="5234059" y="708911"/>
                </a:cubicBezTo>
                <a:close/>
              </a:path>
            </a:pathLst>
          </a:custGeom>
          <a:solidFill>
            <a:schemeClr val="bg1"/>
          </a:solidFill>
          <a:ln w="1079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59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49" kern="0" dirty="0" err="1">
              <a:solidFill>
                <a:srgbClr val="FFFFFF"/>
              </a:solidFill>
              <a:latin typeface="+mn-lt"/>
              <a:ea typeface=""/>
              <a:cs typeface=""/>
            </a:endParaRPr>
          </a:p>
        </p:txBody>
      </p:sp>
      <p:sp>
        <p:nvSpPr>
          <p:cNvPr id="23" name="Freeform 159"/>
          <p:cNvSpPr>
            <a:spLocks noEditPoints="1"/>
          </p:cNvSpPr>
          <p:nvPr/>
        </p:nvSpPr>
        <p:spPr bwMode="auto">
          <a:xfrm>
            <a:off x="2138851" y="4086489"/>
            <a:ext cx="367836" cy="345971"/>
          </a:xfrm>
          <a:custGeom>
            <a:avLst/>
            <a:gdLst>
              <a:gd name="T0" fmla="*/ 27 w 690"/>
              <a:gd name="T1" fmla="*/ 0 h 582"/>
              <a:gd name="T2" fmla="*/ 7 w 690"/>
              <a:gd name="T3" fmla="*/ 15 h 582"/>
              <a:gd name="T4" fmla="*/ 0 w 690"/>
              <a:gd name="T5" fmla="*/ 550 h 582"/>
              <a:gd name="T6" fmla="*/ 7 w 690"/>
              <a:gd name="T7" fmla="*/ 567 h 582"/>
              <a:gd name="T8" fmla="*/ 27 w 690"/>
              <a:gd name="T9" fmla="*/ 582 h 582"/>
              <a:gd name="T10" fmla="*/ 663 w 690"/>
              <a:gd name="T11" fmla="*/ 582 h 582"/>
              <a:gd name="T12" fmla="*/ 685 w 690"/>
              <a:gd name="T13" fmla="*/ 567 h 582"/>
              <a:gd name="T14" fmla="*/ 690 w 690"/>
              <a:gd name="T15" fmla="*/ 32 h 582"/>
              <a:gd name="T16" fmla="*/ 685 w 690"/>
              <a:gd name="T17" fmla="*/ 15 h 582"/>
              <a:gd name="T18" fmla="*/ 663 w 690"/>
              <a:gd name="T19" fmla="*/ 0 h 582"/>
              <a:gd name="T20" fmla="*/ 232 w 690"/>
              <a:gd name="T21" fmla="*/ 40 h 582"/>
              <a:gd name="T22" fmla="*/ 249 w 690"/>
              <a:gd name="T23" fmla="*/ 48 h 582"/>
              <a:gd name="T24" fmla="*/ 256 w 690"/>
              <a:gd name="T25" fmla="*/ 66 h 582"/>
              <a:gd name="T26" fmla="*/ 252 w 690"/>
              <a:gd name="T27" fmla="*/ 79 h 582"/>
              <a:gd name="T28" fmla="*/ 237 w 690"/>
              <a:gd name="T29" fmla="*/ 89 h 582"/>
              <a:gd name="T30" fmla="*/ 222 w 690"/>
              <a:gd name="T31" fmla="*/ 87 h 582"/>
              <a:gd name="T32" fmla="*/ 209 w 690"/>
              <a:gd name="T33" fmla="*/ 75 h 582"/>
              <a:gd name="T34" fmla="*/ 208 w 690"/>
              <a:gd name="T35" fmla="*/ 60 h 582"/>
              <a:gd name="T36" fmla="*/ 218 w 690"/>
              <a:gd name="T37" fmla="*/ 46 h 582"/>
              <a:gd name="T38" fmla="*/ 232 w 690"/>
              <a:gd name="T39" fmla="*/ 40 h 582"/>
              <a:gd name="T40" fmla="*/ 160 w 690"/>
              <a:gd name="T41" fmla="*/ 43 h 582"/>
              <a:gd name="T42" fmla="*/ 173 w 690"/>
              <a:gd name="T43" fmla="*/ 55 h 582"/>
              <a:gd name="T44" fmla="*/ 174 w 690"/>
              <a:gd name="T45" fmla="*/ 70 h 582"/>
              <a:gd name="T46" fmla="*/ 165 w 690"/>
              <a:gd name="T47" fmla="*/ 86 h 582"/>
              <a:gd name="T48" fmla="*/ 150 w 690"/>
              <a:gd name="T49" fmla="*/ 90 h 582"/>
              <a:gd name="T50" fmla="*/ 133 w 690"/>
              <a:gd name="T51" fmla="*/ 82 h 582"/>
              <a:gd name="T52" fmla="*/ 125 w 690"/>
              <a:gd name="T53" fmla="*/ 66 h 582"/>
              <a:gd name="T54" fmla="*/ 129 w 690"/>
              <a:gd name="T55" fmla="*/ 51 h 582"/>
              <a:gd name="T56" fmla="*/ 146 w 690"/>
              <a:gd name="T57" fmla="*/ 42 h 582"/>
              <a:gd name="T58" fmla="*/ 69 w 690"/>
              <a:gd name="T59" fmla="*/ 40 h 582"/>
              <a:gd name="T60" fmla="*/ 86 w 690"/>
              <a:gd name="T61" fmla="*/ 48 h 582"/>
              <a:gd name="T62" fmla="*/ 93 w 690"/>
              <a:gd name="T63" fmla="*/ 66 h 582"/>
              <a:gd name="T64" fmla="*/ 89 w 690"/>
              <a:gd name="T65" fmla="*/ 79 h 582"/>
              <a:gd name="T66" fmla="*/ 74 w 690"/>
              <a:gd name="T67" fmla="*/ 89 h 582"/>
              <a:gd name="T68" fmla="*/ 59 w 690"/>
              <a:gd name="T69" fmla="*/ 87 h 582"/>
              <a:gd name="T70" fmla="*/ 46 w 690"/>
              <a:gd name="T71" fmla="*/ 75 h 582"/>
              <a:gd name="T72" fmla="*/ 44 w 690"/>
              <a:gd name="T73" fmla="*/ 60 h 582"/>
              <a:gd name="T74" fmla="*/ 55 w 690"/>
              <a:gd name="T75" fmla="*/ 46 h 582"/>
              <a:gd name="T76" fmla="*/ 69 w 690"/>
              <a:gd name="T77" fmla="*/ 40 h 582"/>
              <a:gd name="T78" fmla="*/ 647 w 690"/>
              <a:gd name="T79" fmla="*/ 518 h 582"/>
              <a:gd name="T80" fmla="*/ 630 w 690"/>
              <a:gd name="T81" fmla="*/ 535 h 582"/>
              <a:gd name="T82" fmla="*/ 74 w 690"/>
              <a:gd name="T83" fmla="*/ 538 h 582"/>
              <a:gd name="T84" fmla="*/ 51 w 690"/>
              <a:gd name="T85" fmla="*/ 528 h 582"/>
              <a:gd name="T86" fmla="*/ 42 w 690"/>
              <a:gd name="T87" fmla="*/ 505 h 582"/>
              <a:gd name="T88" fmla="*/ 44 w 690"/>
              <a:gd name="T89" fmla="*/ 172 h 582"/>
              <a:gd name="T90" fmla="*/ 61 w 690"/>
              <a:gd name="T91" fmla="*/ 155 h 582"/>
              <a:gd name="T92" fmla="*/ 616 w 690"/>
              <a:gd name="T93" fmla="*/ 152 h 582"/>
              <a:gd name="T94" fmla="*/ 639 w 690"/>
              <a:gd name="T95" fmla="*/ 162 h 582"/>
              <a:gd name="T96" fmla="*/ 649 w 690"/>
              <a:gd name="T97" fmla="*/ 185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90" h="582">
                <a:moveTo>
                  <a:pt x="658" y="0"/>
                </a:moveTo>
                <a:lnTo>
                  <a:pt x="32" y="0"/>
                </a:lnTo>
                <a:lnTo>
                  <a:pt x="32" y="0"/>
                </a:lnTo>
                <a:lnTo>
                  <a:pt x="27" y="0"/>
                </a:lnTo>
                <a:lnTo>
                  <a:pt x="20" y="3"/>
                </a:lnTo>
                <a:lnTo>
                  <a:pt x="15" y="5"/>
                </a:lnTo>
                <a:lnTo>
                  <a:pt x="9" y="9"/>
                </a:lnTo>
                <a:lnTo>
                  <a:pt x="7" y="15"/>
                </a:lnTo>
                <a:lnTo>
                  <a:pt x="3" y="20"/>
                </a:lnTo>
                <a:lnTo>
                  <a:pt x="1" y="25"/>
                </a:lnTo>
                <a:lnTo>
                  <a:pt x="0" y="32"/>
                </a:lnTo>
                <a:lnTo>
                  <a:pt x="0" y="550"/>
                </a:lnTo>
                <a:lnTo>
                  <a:pt x="0" y="550"/>
                </a:lnTo>
                <a:lnTo>
                  <a:pt x="1" y="557"/>
                </a:lnTo>
                <a:lnTo>
                  <a:pt x="3" y="562"/>
                </a:lnTo>
                <a:lnTo>
                  <a:pt x="7" y="567"/>
                </a:lnTo>
                <a:lnTo>
                  <a:pt x="9" y="573"/>
                </a:lnTo>
                <a:lnTo>
                  <a:pt x="15" y="577"/>
                </a:lnTo>
                <a:lnTo>
                  <a:pt x="20" y="580"/>
                </a:lnTo>
                <a:lnTo>
                  <a:pt x="27" y="582"/>
                </a:lnTo>
                <a:lnTo>
                  <a:pt x="32" y="582"/>
                </a:lnTo>
                <a:lnTo>
                  <a:pt x="658" y="582"/>
                </a:lnTo>
                <a:lnTo>
                  <a:pt x="658" y="582"/>
                </a:lnTo>
                <a:lnTo>
                  <a:pt x="663" y="582"/>
                </a:lnTo>
                <a:lnTo>
                  <a:pt x="670" y="580"/>
                </a:lnTo>
                <a:lnTo>
                  <a:pt x="676" y="577"/>
                </a:lnTo>
                <a:lnTo>
                  <a:pt x="681" y="573"/>
                </a:lnTo>
                <a:lnTo>
                  <a:pt x="685" y="567"/>
                </a:lnTo>
                <a:lnTo>
                  <a:pt x="688" y="562"/>
                </a:lnTo>
                <a:lnTo>
                  <a:pt x="689" y="557"/>
                </a:lnTo>
                <a:lnTo>
                  <a:pt x="690" y="550"/>
                </a:lnTo>
                <a:lnTo>
                  <a:pt x="690" y="32"/>
                </a:lnTo>
                <a:lnTo>
                  <a:pt x="690" y="32"/>
                </a:lnTo>
                <a:lnTo>
                  <a:pt x="689" y="25"/>
                </a:lnTo>
                <a:lnTo>
                  <a:pt x="688" y="20"/>
                </a:lnTo>
                <a:lnTo>
                  <a:pt x="685" y="15"/>
                </a:lnTo>
                <a:lnTo>
                  <a:pt x="681" y="9"/>
                </a:lnTo>
                <a:lnTo>
                  <a:pt x="676" y="5"/>
                </a:lnTo>
                <a:lnTo>
                  <a:pt x="670" y="3"/>
                </a:lnTo>
                <a:lnTo>
                  <a:pt x="663" y="0"/>
                </a:lnTo>
                <a:lnTo>
                  <a:pt x="658" y="0"/>
                </a:lnTo>
                <a:lnTo>
                  <a:pt x="658" y="0"/>
                </a:lnTo>
                <a:close/>
                <a:moveTo>
                  <a:pt x="232" y="40"/>
                </a:moveTo>
                <a:lnTo>
                  <a:pt x="232" y="40"/>
                </a:lnTo>
                <a:lnTo>
                  <a:pt x="237" y="42"/>
                </a:lnTo>
                <a:lnTo>
                  <a:pt x="241" y="43"/>
                </a:lnTo>
                <a:lnTo>
                  <a:pt x="245" y="46"/>
                </a:lnTo>
                <a:lnTo>
                  <a:pt x="249" y="48"/>
                </a:lnTo>
                <a:lnTo>
                  <a:pt x="252" y="51"/>
                </a:lnTo>
                <a:lnTo>
                  <a:pt x="255" y="55"/>
                </a:lnTo>
                <a:lnTo>
                  <a:pt x="256" y="60"/>
                </a:lnTo>
                <a:lnTo>
                  <a:pt x="256" y="66"/>
                </a:lnTo>
                <a:lnTo>
                  <a:pt x="256" y="66"/>
                </a:lnTo>
                <a:lnTo>
                  <a:pt x="256" y="70"/>
                </a:lnTo>
                <a:lnTo>
                  <a:pt x="255" y="75"/>
                </a:lnTo>
                <a:lnTo>
                  <a:pt x="252" y="79"/>
                </a:lnTo>
                <a:lnTo>
                  <a:pt x="249" y="82"/>
                </a:lnTo>
                <a:lnTo>
                  <a:pt x="245" y="86"/>
                </a:lnTo>
                <a:lnTo>
                  <a:pt x="241" y="87"/>
                </a:lnTo>
                <a:lnTo>
                  <a:pt x="237" y="89"/>
                </a:lnTo>
                <a:lnTo>
                  <a:pt x="232" y="90"/>
                </a:lnTo>
                <a:lnTo>
                  <a:pt x="232" y="90"/>
                </a:lnTo>
                <a:lnTo>
                  <a:pt x="227" y="89"/>
                </a:lnTo>
                <a:lnTo>
                  <a:pt x="222" y="87"/>
                </a:lnTo>
                <a:lnTo>
                  <a:pt x="218" y="86"/>
                </a:lnTo>
                <a:lnTo>
                  <a:pt x="214" y="82"/>
                </a:lnTo>
                <a:lnTo>
                  <a:pt x="212" y="79"/>
                </a:lnTo>
                <a:lnTo>
                  <a:pt x="209" y="75"/>
                </a:lnTo>
                <a:lnTo>
                  <a:pt x="208" y="70"/>
                </a:lnTo>
                <a:lnTo>
                  <a:pt x="208" y="66"/>
                </a:lnTo>
                <a:lnTo>
                  <a:pt x="208" y="66"/>
                </a:lnTo>
                <a:lnTo>
                  <a:pt x="208" y="60"/>
                </a:lnTo>
                <a:lnTo>
                  <a:pt x="209" y="55"/>
                </a:lnTo>
                <a:lnTo>
                  <a:pt x="212" y="51"/>
                </a:lnTo>
                <a:lnTo>
                  <a:pt x="214" y="48"/>
                </a:lnTo>
                <a:lnTo>
                  <a:pt x="218" y="46"/>
                </a:lnTo>
                <a:lnTo>
                  <a:pt x="222" y="43"/>
                </a:lnTo>
                <a:lnTo>
                  <a:pt x="227" y="42"/>
                </a:lnTo>
                <a:lnTo>
                  <a:pt x="232" y="40"/>
                </a:lnTo>
                <a:lnTo>
                  <a:pt x="232" y="40"/>
                </a:lnTo>
                <a:close/>
                <a:moveTo>
                  <a:pt x="150" y="40"/>
                </a:moveTo>
                <a:lnTo>
                  <a:pt x="150" y="40"/>
                </a:lnTo>
                <a:lnTo>
                  <a:pt x="155" y="42"/>
                </a:lnTo>
                <a:lnTo>
                  <a:pt x="160" y="43"/>
                </a:lnTo>
                <a:lnTo>
                  <a:pt x="165" y="46"/>
                </a:lnTo>
                <a:lnTo>
                  <a:pt x="167" y="48"/>
                </a:lnTo>
                <a:lnTo>
                  <a:pt x="171" y="51"/>
                </a:lnTo>
                <a:lnTo>
                  <a:pt x="173" y="55"/>
                </a:lnTo>
                <a:lnTo>
                  <a:pt x="174" y="60"/>
                </a:lnTo>
                <a:lnTo>
                  <a:pt x="175" y="66"/>
                </a:lnTo>
                <a:lnTo>
                  <a:pt x="175" y="66"/>
                </a:lnTo>
                <a:lnTo>
                  <a:pt x="174" y="70"/>
                </a:lnTo>
                <a:lnTo>
                  <a:pt x="173" y="75"/>
                </a:lnTo>
                <a:lnTo>
                  <a:pt x="171" y="79"/>
                </a:lnTo>
                <a:lnTo>
                  <a:pt x="167" y="82"/>
                </a:lnTo>
                <a:lnTo>
                  <a:pt x="165" y="86"/>
                </a:lnTo>
                <a:lnTo>
                  <a:pt x="160" y="87"/>
                </a:lnTo>
                <a:lnTo>
                  <a:pt x="155" y="89"/>
                </a:lnTo>
                <a:lnTo>
                  <a:pt x="150" y="90"/>
                </a:lnTo>
                <a:lnTo>
                  <a:pt x="150" y="90"/>
                </a:lnTo>
                <a:lnTo>
                  <a:pt x="146" y="89"/>
                </a:lnTo>
                <a:lnTo>
                  <a:pt x="140" y="87"/>
                </a:lnTo>
                <a:lnTo>
                  <a:pt x="136" y="86"/>
                </a:lnTo>
                <a:lnTo>
                  <a:pt x="133" y="82"/>
                </a:lnTo>
                <a:lnTo>
                  <a:pt x="129" y="79"/>
                </a:lnTo>
                <a:lnTo>
                  <a:pt x="128" y="75"/>
                </a:lnTo>
                <a:lnTo>
                  <a:pt x="127" y="70"/>
                </a:lnTo>
                <a:lnTo>
                  <a:pt x="125" y="66"/>
                </a:lnTo>
                <a:lnTo>
                  <a:pt x="125" y="66"/>
                </a:lnTo>
                <a:lnTo>
                  <a:pt x="127" y="60"/>
                </a:lnTo>
                <a:lnTo>
                  <a:pt x="128" y="55"/>
                </a:lnTo>
                <a:lnTo>
                  <a:pt x="129" y="51"/>
                </a:lnTo>
                <a:lnTo>
                  <a:pt x="133" y="48"/>
                </a:lnTo>
                <a:lnTo>
                  <a:pt x="136" y="46"/>
                </a:lnTo>
                <a:lnTo>
                  <a:pt x="140" y="43"/>
                </a:lnTo>
                <a:lnTo>
                  <a:pt x="146" y="42"/>
                </a:lnTo>
                <a:lnTo>
                  <a:pt x="150" y="40"/>
                </a:lnTo>
                <a:lnTo>
                  <a:pt x="150" y="40"/>
                </a:lnTo>
                <a:close/>
                <a:moveTo>
                  <a:pt x="69" y="40"/>
                </a:moveTo>
                <a:lnTo>
                  <a:pt x="69" y="40"/>
                </a:lnTo>
                <a:lnTo>
                  <a:pt x="74" y="42"/>
                </a:lnTo>
                <a:lnTo>
                  <a:pt x="78" y="43"/>
                </a:lnTo>
                <a:lnTo>
                  <a:pt x="82" y="46"/>
                </a:lnTo>
                <a:lnTo>
                  <a:pt x="86" y="48"/>
                </a:lnTo>
                <a:lnTo>
                  <a:pt x="89" y="51"/>
                </a:lnTo>
                <a:lnTo>
                  <a:pt x="92" y="55"/>
                </a:lnTo>
                <a:lnTo>
                  <a:pt x="93" y="60"/>
                </a:lnTo>
                <a:lnTo>
                  <a:pt x="93" y="66"/>
                </a:lnTo>
                <a:lnTo>
                  <a:pt x="93" y="66"/>
                </a:lnTo>
                <a:lnTo>
                  <a:pt x="93" y="70"/>
                </a:lnTo>
                <a:lnTo>
                  <a:pt x="92" y="75"/>
                </a:lnTo>
                <a:lnTo>
                  <a:pt x="89" y="79"/>
                </a:lnTo>
                <a:lnTo>
                  <a:pt x="86" y="82"/>
                </a:lnTo>
                <a:lnTo>
                  <a:pt x="82" y="86"/>
                </a:lnTo>
                <a:lnTo>
                  <a:pt x="78" y="87"/>
                </a:lnTo>
                <a:lnTo>
                  <a:pt x="74" y="89"/>
                </a:lnTo>
                <a:lnTo>
                  <a:pt x="69" y="90"/>
                </a:lnTo>
                <a:lnTo>
                  <a:pt x="69" y="90"/>
                </a:lnTo>
                <a:lnTo>
                  <a:pt x="63" y="89"/>
                </a:lnTo>
                <a:lnTo>
                  <a:pt x="59" y="87"/>
                </a:lnTo>
                <a:lnTo>
                  <a:pt x="55" y="86"/>
                </a:lnTo>
                <a:lnTo>
                  <a:pt x="51" y="82"/>
                </a:lnTo>
                <a:lnTo>
                  <a:pt x="49" y="79"/>
                </a:lnTo>
                <a:lnTo>
                  <a:pt x="46" y="75"/>
                </a:lnTo>
                <a:lnTo>
                  <a:pt x="44" y="70"/>
                </a:lnTo>
                <a:lnTo>
                  <a:pt x="44" y="66"/>
                </a:lnTo>
                <a:lnTo>
                  <a:pt x="44" y="66"/>
                </a:lnTo>
                <a:lnTo>
                  <a:pt x="44" y="60"/>
                </a:lnTo>
                <a:lnTo>
                  <a:pt x="46" y="55"/>
                </a:lnTo>
                <a:lnTo>
                  <a:pt x="49" y="51"/>
                </a:lnTo>
                <a:lnTo>
                  <a:pt x="51" y="48"/>
                </a:lnTo>
                <a:lnTo>
                  <a:pt x="55" y="46"/>
                </a:lnTo>
                <a:lnTo>
                  <a:pt x="59" y="43"/>
                </a:lnTo>
                <a:lnTo>
                  <a:pt x="63" y="42"/>
                </a:lnTo>
                <a:lnTo>
                  <a:pt x="69" y="40"/>
                </a:lnTo>
                <a:lnTo>
                  <a:pt x="69" y="40"/>
                </a:lnTo>
                <a:close/>
                <a:moveTo>
                  <a:pt x="649" y="505"/>
                </a:moveTo>
                <a:lnTo>
                  <a:pt x="649" y="505"/>
                </a:lnTo>
                <a:lnTo>
                  <a:pt x="649" y="511"/>
                </a:lnTo>
                <a:lnTo>
                  <a:pt x="647" y="518"/>
                </a:lnTo>
                <a:lnTo>
                  <a:pt x="643" y="523"/>
                </a:lnTo>
                <a:lnTo>
                  <a:pt x="639" y="528"/>
                </a:lnTo>
                <a:lnTo>
                  <a:pt x="635" y="532"/>
                </a:lnTo>
                <a:lnTo>
                  <a:pt x="630" y="535"/>
                </a:lnTo>
                <a:lnTo>
                  <a:pt x="623" y="536"/>
                </a:lnTo>
                <a:lnTo>
                  <a:pt x="616" y="538"/>
                </a:lnTo>
                <a:lnTo>
                  <a:pt x="74" y="538"/>
                </a:lnTo>
                <a:lnTo>
                  <a:pt x="74" y="538"/>
                </a:lnTo>
                <a:lnTo>
                  <a:pt x="67" y="536"/>
                </a:lnTo>
                <a:lnTo>
                  <a:pt x="61" y="535"/>
                </a:lnTo>
                <a:lnTo>
                  <a:pt x="55" y="532"/>
                </a:lnTo>
                <a:lnTo>
                  <a:pt x="51" y="528"/>
                </a:lnTo>
                <a:lnTo>
                  <a:pt x="47" y="523"/>
                </a:lnTo>
                <a:lnTo>
                  <a:pt x="44" y="518"/>
                </a:lnTo>
                <a:lnTo>
                  <a:pt x="42" y="511"/>
                </a:lnTo>
                <a:lnTo>
                  <a:pt x="42" y="505"/>
                </a:lnTo>
                <a:lnTo>
                  <a:pt x="42" y="185"/>
                </a:lnTo>
                <a:lnTo>
                  <a:pt x="42" y="185"/>
                </a:lnTo>
                <a:lnTo>
                  <a:pt x="42" y="179"/>
                </a:lnTo>
                <a:lnTo>
                  <a:pt x="44" y="172"/>
                </a:lnTo>
                <a:lnTo>
                  <a:pt x="47" y="167"/>
                </a:lnTo>
                <a:lnTo>
                  <a:pt x="51" y="162"/>
                </a:lnTo>
                <a:lnTo>
                  <a:pt x="55" y="158"/>
                </a:lnTo>
                <a:lnTo>
                  <a:pt x="61" y="155"/>
                </a:lnTo>
                <a:lnTo>
                  <a:pt x="67" y="154"/>
                </a:lnTo>
                <a:lnTo>
                  <a:pt x="74" y="152"/>
                </a:lnTo>
                <a:lnTo>
                  <a:pt x="616" y="152"/>
                </a:lnTo>
                <a:lnTo>
                  <a:pt x="616" y="152"/>
                </a:lnTo>
                <a:lnTo>
                  <a:pt x="623" y="154"/>
                </a:lnTo>
                <a:lnTo>
                  <a:pt x="630" y="155"/>
                </a:lnTo>
                <a:lnTo>
                  <a:pt x="635" y="158"/>
                </a:lnTo>
                <a:lnTo>
                  <a:pt x="639" y="162"/>
                </a:lnTo>
                <a:lnTo>
                  <a:pt x="643" y="167"/>
                </a:lnTo>
                <a:lnTo>
                  <a:pt x="647" y="172"/>
                </a:lnTo>
                <a:lnTo>
                  <a:pt x="649" y="179"/>
                </a:lnTo>
                <a:lnTo>
                  <a:pt x="649" y="185"/>
                </a:lnTo>
                <a:lnTo>
                  <a:pt x="649" y="50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288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25" b="1" kern="0" dirty="0">
                <a:solidFill>
                  <a:srgbClr val="676767"/>
                </a:solidFill>
                <a:latin typeface="+mn-lt"/>
                <a:ea typeface=""/>
                <a:cs typeface=""/>
              </a:rPr>
              <a:t>www…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122744" y="4555078"/>
            <a:ext cx="4000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IP</a:t>
            </a:r>
          </a:p>
        </p:txBody>
      </p:sp>
      <p:grpSp>
        <p:nvGrpSpPr>
          <p:cNvPr id="25" name="Group 24"/>
          <p:cNvGrpSpPr>
            <a:grpSpLocks noChangeAspect="1"/>
          </p:cNvGrpSpPr>
          <p:nvPr/>
        </p:nvGrpSpPr>
        <p:grpSpPr>
          <a:xfrm rot="20134597">
            <a:off x="3850959" y="1018252"/>
            <a:ext cx="444446" cy="445349"/>
            <a:chOff x="-4438651" y="2178050"/>
            <a:chExt cx="2341563" cy="2346325"/>
          </a:xfrm>
          <a:solidFill>
            <a:schemeClr val="bg1"/>
          </a:solidFill>
          <a:effectLst/>
        </p:grpSpPr>
        <p:sp>
          <p:nvSpPr>
            <p:cNvPr id="26" name="Freeform 5"/>
            <p:cNvSpPr>
              <a:spLocks noEditPoints="1"/>
            </p:cNvSpPr>
            <p:nvPr/>
          </p:nvSpPr>
          <p:spPr bwMode="auto">
            <a:xfrm>
              <a:off x="-4168776" y="2451100"/>
              <a:ext cx="2071688" cy="2073275"/>
            </a:xfrm>
            <a:custGeom>
              <a:avLst/>
              <a:gdLst>
                <a:gd name="T0" fmla="*/ 1305 w 1305"/>
                <a:gd name="T1" fmla="*/ 716 h 1306"/>
                <a:gd name="T2" fmla="*/ 1298 w 1305"/>
                <a:gd name="T3" fmla="*/ 685 h 1306"/>
                <a:gd name="T4" fmla="*/ 1281 w 1305"/>
                <a:gd name="T5" fmla="*/ 659 h 1306"/>
                <a:gd name="T6" fmla="*/ 0 w 1305"/>
                <a:gd name="T7" fmla="*/ 623 h 1306"/>
                <a:gd name="T8" fmla="*/ 651 w 1305"/>
                <a:gd name="T9" fmla="*/ 1273 h 1306"/>
                <a:gd name="T10" fmla="*/ 678 w 1305"/>
                <a:gd name="T11" fmla="*/ 1292 h 1306"/>
                <a:gd name="T12" fmla="*/ 707 w 1305"/>
                <a:gd name="T13" fmla="*/ 1303 h 1306"/>
                <a:gd name="T14" fmla="*/ 738 w 1305"/>
                <a:gd name="T15" fmla="*/ 1304 h 1306"/>
                <a:gd name="T16" fmla="*/ 768 w 1305"/>
                <a:gd name="T17" fmla="*/ 1297 h 1306"/>
                <a:gd name="T18" fmla="*/ 796 w 1305"/>
                <a:gd name="T19" fmla="*/ 1280 h 1306"/>
                <a:gd name="T20" fmla="*/ 1274 w 1305"/>
                <a:gd name="T21" fmla="*/ 804 h 1306"/>
                <a:gd name="T22" fmla="*/ 1293 w 1305"/>
                <a:gd name="T23" fmla="*/ 777 h 1306"/>
                <a:gd name="T24" fmla="*/ 1304 w 1305"/>
                <a:gd name="T25" fmla="*/ 747 h 1306"/>
                <a:gd name="T26" fmla="*/ 1305 w 1305"/>
                <a:gd name="T27" fmla="*/ 727 h 1306"/>
                <a:gd name="T28" fmla="*/ 768 w 1305"/>
                <a:gd name="T29" fmla="*/ 1051 h 1306"/>
                <a:gd name="T30" fmla="*/ 750 w 1305"/>
                <a:gd name="T31" fmla="*/ 1055 h 1306"/>
                <a:gd name="T32" fmla="*/ 731 w 1305"/>
                <a:gd name="T33" fmla="*/ 1051 h 1306"/>
                <a:gd name="T34" fmla="*/ 367 w 1305"/>
                <a:gd name="T35" fmla="*/ 687 h 1306"/>
                <a:gd name="T36" fmla="*/ 358 w 1305"/>
                <a:gd name="T37" fmla="*/ 669 h 1306"/>
                <a:gd name="T38" fmla="*/ 359 w 1305"/>
                <a:gd name="T39" fmla="*/ 650 h 1306"/>
                <a:gd name="T40" fmla="*/ 367 w 1305"/>
                <a:gd name="T41" fmla="*/ 638 h 1306"/>
                <a:gd name="T42" fmla="*/ 385 w 1305"/>
                <a:gd name="T43" fmla="*/ 629 h 1306"/>
                <a:gd name="T44" fmla="*/ 404 w 1305"/>
                <a:gd name="T45" fmla="*/ 630 h 1306"/>
                <a:gd name="T46" fmla="*/ 774 w 1305"/>
                <a:gd name="T47" fmla="*/ 998 h 1306"/>
                <a:gd name="T48" fmla="*/ 781 w 1305"/>
                <a:gd name="T49" fmla="*/ 1009 h 1306"/>
                <a:gd name="T50" fmla="*/ 783 w 1305"/>
                <a:gd name="T51" fmla="*/ 1029 h 1306"/>
                <a:gd name="T52" fmla="*/ 774 w 1305"/>
                <a:gd name="T53" fmla="*/ 1046 h 1306"/>
                <a:gd name="T54" fmla="*/ 910 w 1305"/>
                <a:gd name="T55" fmla="*/ 910 h 1306"/>
                <a:gd name="T56" fmla="*/ 892 w 1305"/>
                <a:gd name="T57" fmla="*/ 919 h 1306"/>
                <a:gd name="T58" fmla="*/ 873 w 1305"/>
                <a:gd name="T59" fmla="*/ 918 h 1306"/>
                <a:gd name="T60" fmla="*/ 503 w 1305"/>
                <a:gd name="T61" fmla="*/ 550 h 1306"/>
                <a:gd name="T62" fmla="*/ 496 w 1305"/>
                <a:gd name="T63" fmla="*/ 540 h 1306"/>
                <a:gd name="T64" fmla="*/ 494 w 1305"/>
                <a:gd name="T65" fmla="*/ 519 h 1306"/>
                <a:gd name="T66" fmla="*/ 503 w 1305"/>
                <a:gd name="T67" fmla="*/ 502 h 1306"/>
                <a:gd name="T68" fmla="*/ 515 w 1305"/>
                <a:gd name="T69" fmla="*/ 494 h 1306"/>
                <a:gd name="T70" fmla="*/ 534 w 1305"/>
                <a:gd name="T71" fmla="*/ 493 h 1306"/>
                <a:gd name="T72" fmla="*/ 552 w 1305"/>
                <a:gd name="T73" fmla="*/ 502 h 1306"/>
                <a:gd name="T74" fmla="*/ 914 w 1305"/>
                <a:gd name="T75" fmla="*/ 866 h 1306"/>
                <a:gd name="T76" fmla="*/ 920 w 1305"/>
                <a:gd name="T77" fmla="*/ 885 h 1306"/>
                <a:gd name="T78" fmla="*/ 914 w 1305"/>
                <a:gd name="T79" fmla="*/ 904 h 1306"/>
                <a:gd name="T80" fmla="*/ 1046 w 1305"/>
                <a:gd name="T81" fmla="*/ 774 h 1306"/>
                <a:gd name="T82" fmla="*/ 1036 w 1305"/>
                <a:gd name="T83" fmla="*/ 781 h 1306"/>
                <a:gd name="T84" fmla="*/ 1017 w 1305"/>
                <a:gd name="T85" fmla="*/ 783 h 1306"/>
                <a:gd name="T86" fmla="*/ 999 w 1305"/>
                <a:gd name="T87" fmla="*/ 774 h 1306"/>
                <a:gd name="T88" fmla="*/ 635 w 1305"/>
                <a:gd name="T89" fmla="*/ 408 h 1306"/>
                <a:gd name="T90" fmla="*/ 629 w 1305"/>
                <a:gd name="T91" fmla="*/ 391 h 1306"/>
                <a:gd name="T92" fmla="*/ 635 w 1305"/>
                <a:gd name="T93" fmla="*/ 371 h 1306"/>
                <a:gd name="T94" fmla="*/ 645 w 1305"/>
                <a:gd name="T95" fmla="*/ 361 h 1306"/>
                <a:gd name="T96" fmla="*/ 664 w 1305"/>
                <a:gd name="T97" fmla="*/ 357 h 1306"/>
                <a:gd name="T98" fmla="*/ 682 w 1305"/>
                <a:gd name="T99" fmla="*/ 361 h 1306"/>
                <a:gd name="T100" fmla="*/ 1046 w 1305"/>
                <a:gd name="T101" fmla="*/ 725 h 1306"/>
                <a:gd name="T102" fmla="*/ 1056 w 1305"/>
                <a:gd name="T103" fmla="*/ 743 h 1306"/>
                <a:gd name="T104" fmla="*/ 1054 w 1305"/>
                <a:gd name="T105" fmla="*/ 762 h 1306"/>
                <a:gd name="T106" fmla="*/ 1046 w 1305"/>
                <a:gd name="T107" fmla="*/ 774 h 1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5" h="1306">
                  <a:moveTo>
                    <a:pt x="1305" y="727"/>
                  </a:moveTo>
                  <a:lnTo>
                    <a:pt x="1305" y="727"/>
                  </a:lnTo>
                  <a:lnTo>
                    <a:pt x="1305" y="716"/>
                  </a:lnTo>
                  <a:lnTo>
                    <a:pt x="1304" y="706"/>
                  </a:lnTo>
                  <a:lnTo>
                    <a:pt x="1301" y="696"/>
                  </a:lnTo>
                  <a:lnTo>
                    <a:pt x="1298" y="685"/>
                  </a:lnTo>
                  <a:lnTo>
                    <a:pt x="1293" y="676"/>
                  </a:lnTo>
                  <a:lnTo>
                    <a:pt x="1287" y="667"/>
                  </a:lnTo>
                  <a:lnTo>
                    <a:pt x="1281" y="659"/>
                  </a:lnTo>
                  <a:lnTo>
                    <a:pt x="1274" y="651"/>
                  </a:lnTo>
                  <a:lnTo>
                    <a:pt x="623" y="0"/>
                  </a:lnTo>
                  <a:lnTo>
                    <a:pt x="0" y="623"/>
                  </a:lnTo>
                  <a:lnTo>
                    <a:pt x="0" y="623"/>
                  </a:lnTo>
                  <a:lnTo>
                    <a:pt x="651" y="1273"/>
                  </a:lnTo>
                  <a:lnTo>
                    <a:pt x="651" y="1273"/>
                  </a:lnTo>
                  <a:lnTo>
                    <a:pt x="660" y="1280"/>
                  </a:lnTo>
                  <a:lnTo>
                    <a:pt x="669" y="1288"/>
                  </a:lnTo>
                  <a:lnTo>
                    <a:pt x="678" y="1292"/>
                  </a:lnTo>
                  <a:lnTo>
                    <a:pt x="687" y="1297"/>
                  </a:lnTo>
                  <a:lnTo>
                    <a:pt x="697" y="1301"/>
                  </a:lnTo>
                  <a:lnTo>
                    <a:pt x="707" y="1303"/>
                  </a:lnTo>
                  <a:lnTo>
                    <a:pt x="718" y="1304"/>
                  </a:lnTo>
                  <a:lnTo>
                    <a:pt x="728" y="1306"/>
                  </a:lnTo>
                  <a:lnTo>
                    <a:pt x="738" y="1304"/>
                  </a:lnTo>
                  <a:lnTo>
                    <a:pt x="749" y="1303"/>
                  </a:lnTo>
                  <a:lnTo>
                    <a:pt x="759" y="1301"/>
                  </a:lnTo>
                  <a:lnTo>
                    <a:pt x="768" y="1297"/>
                  </a:lnTo>
                  <a:lnTo>
                    <a:pt x="778" y="1292"/>
                  </a:lnTo>
                  <a:lnTo>
                    <a:pt x="787" y="1288"/>
                  </a:lnTo>
                  <a:lnTo>
                    <a:pt x="796" y="1280"/>
                  </a:lnTo>
                  <a:lnTo>
                    <a:pt x="803" y="1273"/>
                  </a:lnTo>
                  <a:lnTo>
                    <a:pt x="1274" y="804"/>
                  </a:lnTo>
                  <a:lnTo>
                    <a:pt x="1274" y="804"/>
                  </a:lnTo>
                  <a:lnTo>
                    <a:pt x="1281" y="795"/>
                  </a:lnTo>
                  <a:lnTo>
                    <a:pt x="1287" y="787"/>
                  </a:lnTo>
                  <a:lnTo>
                    <a:pt x="1293" y="777"/>
                  </a:lnTo>
                  <a:lnTo>
                    <a:pt x="1298" y="768"/>
                  </a:lnTo>
                  <a:lnTo>
                    <a:pt x="1301" y="758"/>
                  </a:lnTo>
                  <a:lnTo>
                    <a:pt x="1304" y="747"/>
                  </a:lnTo>
                  <a:lnTo>
                    <a:pt x="1305" y="737"/>
                  </a:lnTo>
                  <a:lnTo>
                    <a:pt x="1305" y="727"/>
                  </a:lnTo>
                  <a:lnTo>
                    <a:pt x="1305" y="727"/>
                  </a:lnTo>
                  <a:close/>
                  <a:moveTo>
                    <a:pt x="774" y="1046"/>
                  </a:moveTo>
                  <a:lnTo>
                    <a:pt x="774" y="1046"/>
                  </a:lnTo>
                  <a:lnTo>
                    <a:pt x="768" y="1051"/>
                  </a:lnTo>
                  <a:lnTo>
                    <a:pt x="762" y="1054"/>
                  </a:lnTo>
                  <a:lnTo>
                    <a:pt x="756" y="1055"/>
                  </a:lnTo>
                  <a:lnTo>
                    <a:pt x="750" y="1055"/>
                  </a:lnTo>
                  <a:lnTo>
                    <a:pt x="743" y="1055"/>
                  </a:lnTo>
                  <a:lnTo>
                    <a:pt x="737" y="1054"/>
                  </a:lnTo>
                  <a:lnTo>
                    <a:pt x="731" y="1051"/>
                  </a:lnTo>
                  <a:lnTo>
                    <a:pt x="725" y="1046"/>
                  </a:lnTo>
                  <a:lnTo>
                    <a:pt x="367" y="687"/>
                  </a:lnTo>
                  <a:lnTo>
                    <a:pt x="367" y="687"/>
                  </a:lnTo>
                  <a:lnTo>
                    <a:pt x="362" y="682"/>
                  </a:lnTo>
                  <a:lnTo>
                    <a:pt x="359" y="676"/>
                  </a:lnTo>
                  <a:lnTo>
                    <a:pt x="358" y="669"/>
                  </a:lnTo>
                  <a:lnTo>
                    <a:pt x="356" y="663"/>
                  </a:lnTo>
                  <a:lnTo>
                    <a:pt x="358" y="656"/>
                  </a:lnTo>
                  <a:lnTo>
                    <a:pt x="359" y="650"/>
                  </a:lnTo>
                  <a:lnTo>
                    <a:pt x="362" y="644"/>
                  </a:lnTo>
                  <a:lnTo>
                    <a:pt x="367" y="638"/>
                  </a:lnTo>
                  <a:lnTo>
                    <a:pt x="367" y="638"/>
                  </a:lnTo>
                  <a:lnTo>
                    <a:pt x="373" y="635"/>
                  </a:lnTo>
                  <a:lnTo>
                    <a:pt x="379" y="630"/>
                  </a:lnTo>
                  <a:lnTo>
                    <a:pt x="385" y="629"/>
                  </a:lnTo>
                  <a:lnTo>
                    <a:pt x="391" y="629"/>
                  </a:lnTo>
                  <a:lnTo>
                    <a:pt x="398" y="629"/>
                  </a:lnTo>
                  <a:lnTo>
                    <a:pt x="404" y="630"/>
                  </a:lnTo>
                  <a:lnTo>
                    <a:pt x="410" y="635"/>
                  </a:lnTo>
                  <a:lnTo>
                    <a:pt x="416" y="638"/>
                  </a:lnTo>
                  <a:lnTo>
                    <a:pt x="774" y="998"/>
                  </a:lnTo>
                  <a:lnTo>
                    <a:pt x="774" y="998"/>
                  </a:lnTo>
                  <a:lnTo>
                    <a:pt x="778" y="1004"/>
                  </a:lnTo>
                  <a:lnTo>
                    <a:pt x="781" y="1009"/>
                  </a:lnTo>
                  <a:lnTo>
                    <a:pt x="783" y="1015"/>
                  </a:lnTo>
                  <a:lnTo>
                    <a:pt x="784" y="1021"/>
                  </a:lnTo>
                  <a:lnTo>
                    <a:pt x="783" y="1029"/>
                  </a:lnTo>
                  <a:lnTo>
                    <a:pt x="781" y="1035"/>
                  </a:lnTo>
                  <a:lnTo>
                    <a:pt x="778" y="1041"/>
                  </a:lnTo>
                  <a:lnTo>
                    <a:pt x="774" y="1046"/>
                  </a:lnTo>
                  <a:lnTo>
                    <a:pt x="774" y="1046"/>
                  </a:lnTo>
                  <a:close/>
                  <a:moveTo>
                    <a:pt x="910" y="910"/>
                  </a:moveTo>
                  <a:lnTo>
                    <a:pt x="910" y="910"/>
                  </a:lnTo>
                  <a:lnTo>
                    <a:pt x="906" y="915"/>
                  </a:lnTo>
                  <a:lnTo>
                    <a:pt x="900" y="918"/>
                  </a:lnTo>
                  <a:lnTo>
                    <a:pt x="892" y="919"/>
                  </a:lnTo>
                  <a:lnTo>
                    <a:pt x="886" y="919"/>
                  </a:lnTo>
                  <a:lnTo>
                    <a:pt x="879" y="919"/>
                  </a:lnTo>
                  <a:lnTo>
                    <a:pt x="873" y="918"/>
                  </a:lnTo>
                  <a:lnTo>
                    <a:pt x="867" y="915"/>
                  </a:lnTo>
                  <a:lnTo>
                    <a:pt x="861" y="910"/>
                  </a:lnTo>
                  <a:lnTo>
                    <a:pt x="503" y="550"/>
                  </a:lnTo>
                  <a:lnTo>
                    <a:pt x="503" y="550"/>
                  </a:lnTo>
                  <a:lnTo>
                    <a:pt x="499" y="546"/>
                  </a:lnTo>
                  <a:lnTo>
                    <a:pt x="496" y="540"/>
                  </a:lnTo>
                  <a:lnTo>
                    <a:pt x="494" y="533"/>
                  </a:lnTo>
                  <a:lnTo>
                    <a:pt x="493" y="527"/>
                  </a:lnTo>
                  <a:lnTo>
                    <a:pt x="494" y="519"/>
                  </a:lnTo>
                  <a:lnTo>
                    <a:pt x="496" y="513"/>
                  </a:lnTo>
                  <a:lnTo>
                    <a:pt x="499" y="508"/>
                  </a:lnTo>
                  <a:lnTo>
                    <a:pt x="503" y="502"/>
                  </a:lnTo>
                  <a:lnTo>
                    <a:pt x="503" y="502"/>
                  </a:lnTo>
                  <a:lnTo>
                    <a:pt x="509" y="499"/>
                  </a:lnTo>
                  <a:lnTo>
                    <a:pt x="515" y="494"/>
                  </a:lnTo>
                  <a:lnTo>
                    <a:pt x="521" y="493"/>
                  </a:lnTo>
                  <a:lnTo>
                    <a:pt x="527" y="493"/>
                  </a:lnTo>
                  <a:lnTo>
                    <a:pt x="534" y="493"/>
                  </a:lnTo>
                  <a:lnTo>
                    <a:pt x="540" y="494"/>
                  </a:lnTo>
                  <a:lnTo>
                    <a:pt x="546" y="499"/>
                  </a:lnTo>
                  <a:lnTo>
                    <a:pt x="552" y="502"/>
                  </a:lnTo>
                  <a:lnTo>
                    <a:pt x="910" y="861"/>
                  </a:lnTo>
                  <a:lnTo>
                    <a:pt x="910" y="861"/>
                  </a:lnTo>
                  <a:lnTo>
                    <a:pt x="914" y="866"/>
                  </a:lnTo>
                  <a:lnTo>
                    <a:pt x="917" y="873"/>
                  </a:lnTo>
                  <a:lnTo>
                    <a:pt x="920" y="879"/>
                  </a:lnTo>
                  <a:lnTo>
                    <a:pt x="920" y="885"/>
                  </a:lnTo>
                  <a:lnTo>
                    <a:pt x="920" y="892"/>
                  </a:lnTo>
                  <a:lnTo>
                    <a:pt x="917" y="898"/>
                  </a:lnTo>
                  <a:lnTo>
                    <a:pt x="914" y="904"/>
                  </a:lnTo>
                  <a:lnTo>
                    <a:pt x="910" y="910"/>
                  </a:lnTo>
                  <a:lnTo>
                    <a:pt x="910" y="910"/>
                  </a:lnTo>
                  <a:close/>
                  <a:moveTo>
                    <a:pt x="1046" y="774"/>
                  </a:moveTo>
                  <a:lnTo>
                    <a:pt x="1046" y="774"/>
                  </a:lnTo>
                  <a:lnTo>
                    <a:pt x="1042" y="778"/>
                  </a:lnTo>
                  <a:lnTo>
                    <a:pt x="1036" y="781"/>
                  </a:lnTo>
                  <a:lnTo>
                    <a:pt x="1028" y="783"/>
                  </a:lnTo>
                  <a:lnTo>
                    <a:pt x="1022" y="783"/>
                  </a:lnTo>
                  <a:lnTo>
                    <a:pt x="1017" y="783"/>
                  </a:lnTo>
                  <a:lnTo>
                    <a:pt x="1009" y="781"/>
                  </a:lnTo>
                  <a:lnTo>
                    <a:pt x="1003" y="778"/>
                  </a:lnTo>
                  <a:lnTo>
                    <a:pt x="999" y="774"/>
                  </a:lnTo>
                  <a:lnTo>
                    <a:pt x="639" y="414"/>
                  </a:lnTo>
                  <a:lnTo>
                    <a:pt x="639" y="414"/>
                  </a:lnTo>
                  <a:lnTo>
                    <a:pt x="635" y="408"/>
                  </a:lnTo>
                  <a:lnTo>
                    <a:pt x="632" y="402"/>
                  </a:lnTo>
                  <a:lnTo>
                    <a:pt x="630" y="397"/>
                  </a:lnTo>
                  <a:lnTo>
                    <a:pt x="629" y="391"/>
                  </a:lnTo>
                  <a:lnTo>
                    <a:pt x="630" y="383"/>
                  </a:lnTo>
                  <a:lnTo>
                    <a:pt x="632" y="377"/>
                  </a:lnTo>
                  <a:lnTo>
                    <a:pt x="635" y="371"/>
                  </a:lnTo>
                  <a:lnTo>
                    <a:pt x="639" y="365"/>
                  </a:lnTo>
                  <a:lnTo>
                    <a:pt x="639" y="365"/>
                  </a:lnTo>
                  <a:lnTo>
                    <a:pt x="645" y="361"/>
                  </a:lnTo>
                  <a:lnTo>
                    <a:pt x="651" y="358"/>
                  </a:lnTo>
                  <a:lnTo>
                    <a:pt x="657" y="357"/>
                  </a:lnTo>
                  <a:lnTo>
                    <a:pt x="664" y="357"/>
                  </a:lnTo>
                  <a:lnTo>
                    <a:pt x="670" y="357"/>
                  </a:lnTo>
                  <a:lnTo>
                    <a:pt x="676" y="358"/>
                  </a:lnTo>
                  <a:lnTo>
                    <a:pt x="682" y="361"/>
                  </a:lnTo>
                  <a:lnTo>
                    <a:pt x="688" y="365"/>
                  </a:lnTo>
                  <a:lnTo>
                    <a:pt x="1046" y="725"/>
                  </a:lnTo>
                  <a:lnTo>
                    <a:pt x="1046" y="725"/>
                  </a:lnTo>
                  <a:lnTo>
                    <a:pt x="1051" y="730"/>
                  </a:lnTo>
                  <a:lnTo>
                    <a:pt x="1054" y="736"/>
                  </a:lnTo>
                  <a:lnTo>
                    <a:pt x="1056" y="743"/>
                  </a:lnTo>
                  <a:lnTo>
                    <a:pt x="1056" y="749"/>
                  </a:lnTo>
                  <a:lnTo>
                    <a:pt x="1056" y="756"/>
                  </a:lnTo>
                  <a:lnTo>
                    <a:pt x="1054" y="762"/>
                  </a:lnTo>
                  <a:lnTo>
                    <a:pt x="1051" y="768"/>
                  </a:lnTo>
                  <a:lnTo>
                    <a:pt x="1046" y="774"/>
                  </a:lnTo>
                  <a:lnTo>
                    <a:pt x="1046" y="7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kern="0">
                <a:solidFill>
                  <a:srgbClr val="333333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27" name="Freeform 6"/>
            <p:cNvSpPr>
              <a:spLocks noEditPoints="1"/>
            </p:cNvSpPr>
            <p:nvPr/>
          </p:nvSpPr>
          <p:spPr bwMode="auto">
            <a:xfrm>
              <a:off x="-4438651" y="2178050"/>
              <a:ext cx="1195388" cy="1196975"/>
            </a:xfrm>
            <a:custGeom>
              <a:avLst/>
              <a:gdLst>
                <a:gd name="T0" fmla="*/ 211 w 753"/>
                <a:gd name="T1" fmla="*/ 135 h 754"/>
                <a:gd name="T2" fmla="*/ 93 w 753"/>
                <a:gd name="T3" fmla="*/ 16 h 754"/>
                <a:gd name="T4" fmla="*/ 75 w 753"/>
                <a:gd name="T5" fmla="*/ 4 h 754"/>
                <a:gd name="T6" fmla="*/ 54 w 753"/>
                <a:gd name="T7" fmla="*/ 0 h 754"/>
                <a:gd name="T8" fmla="*/ 34 w 753"/>
                <a:gd name="T9" fmla="*/ 4 h 754"/>
                <a:gd name="T10" fmla="*/ 16 w 753"/>
                <a:gd name="T11" fmla="*/ 16 h 754"/>
                <a:gd name="T12" fmla="*/ 9 w 753"/>
                <a:gd name="T13" fmla="*/ 25 h 754"/>
                <a:gd name="T14" fmla="*/ 1 w 753"/>
                <a:gd name="T15" fmla="*/ 44 h 754"/>
                <a:gd name="T16" fmla="*/ 1 w 753"/>
                <a:gd name="T17" fmla="*/ 65 h 754"/>
                <a:gd name="T18" fmla="*/ 9 w 753"/>
                <a:gd name="T19" fmla="*/ 86 h 754"/>
                <a:gd name="T20" fmla="*/ 133 w 753"/>
                <a:gd name="T21" fmla="*/ 212 h 754"/>
                <a:gd name="T22" fmla="*/ 753 w 753"/>
                <a:gd name="T23" fmla="*/ 135 h 754"/>
                <a:gd name="T24" fmla="*/ 376 w 753"/>
                <a:gd name="T25" fmla="*/ 252 h 754"/>
                <a:gd name="T26" fmla="*/ 387 w 753"/>
                <a:gd name="T27" fmla="*/ 265 h 754"/>
                <a:gd name="T28" fmla="*/ 396 w 753"/>
                <a:gd name="T29" fmla="*/ 281 h 754"/>
                <a:gd name="T30" fmla="*/ 402 w 753"/>
                <a:gd name="T31" fmla="*/ 314 h 754"/>
                <a:gd name="T32" fmla="*/ 396 w 753"/>
                <a:gd name="T33" fmla="*/ 348 h 754"/>
                <a:gd name="T34" fmla="*/ 381 w 753"/>
                <a:gd name="T35" fmla="*/ 370 h 754"/>
                <a:gd name="T36" fmla="*/ 376 w 753"/>
                <a:gd name="T37" fmla="*/ 378 h 754"/>
                <a:gd name="T38" fmla="*/ 362 w 753"/>
                <a:gd name="T39" fmla="*/ 389 h 754"/>
                <a:gd name="T40" fmla="*/ 330 w 753"/>
                <a:gd name="T41" fmla="*/ 401 h 754"/>
                <a:gd name="T42" fmla="*/ 296 w 753"/>
                <a:gd name="T43" fmla="*/ 401 h 754"/>
                <a:gd name="T44" fmla="*/ 265 w 753"/>
                <a:gd name="T45" fmla="*/ 389 h 754"/>
                <a:gd name="T46" fmla="*/ 250 w 753"/>
                <a:gd name="T47" fmla="*/ 378 h 754"/>
                <a:gd name="T48" fmla="*/ 242 w 753"/>
                <a:gd name="T49" fmla="*/ 369 h 754"/>
                <a:gd name="T50" fmla="*/ 232 w 753"/>
                <a:gd name="T51" fmla="*/ 351 h 754"/>
                <a:gd name="T52" fmla="*/ 226 w 753"/>
                <a:gd name="T53" fmla="*/ 332 h 754"/>
                <a:gd name="T54" fmla="*/ 225 w 753"/>
                <a:gd name="T55" fmla="*/ 311 h 754"/>
                <a:gd name="T56" fmla="*/ 226 w 753"/>
                <a:gd name="T57" fmla="*/ 302 h 754"/>
                <a:gd name="T58" fmla="*/ 242 w 753"/>
                <a:gd name="T59" fmla="*/ 309 h 754"/>
                <a:gd name="T60" fmla="*/ 262 w 753"/>
                <a:gd name="T61" fmla="*/ 311 h 754"/>
                <a:gd name="T62" fmla="*/ 279 w 753"/>
                <a:gd name="T63" fmla="*/ 306 h 754"/>
                <a:gd name="T64" fmla="*/ 296 w 753"/>
                <a:gd name="T65" fmla="*/ 296 h 754"/>
                <a:gd name="T66" fmla="*/ 302 w 753"/>
                <a:gd name="T67" fmla="*/ 289 h 754"/>
                <a:gd name="T68" fmla="*/ 309 w 753"/>
                <a:gd name="T69" fmla="*/ 271 h 754"/>
                <a:gd name="T70" fmla="*/ 310 w 753"/>
                <a:gd name="T71" fmla="*/ 253 h 754"/>
                <a:gd name="T72" fmla="*/ 305 w 753"/>
                <a:gd name="T73" fmla="*/ 235 h 754"/>
                <a:gd name="T74" fmla="*/ 300 w 753"/>
                <a:gd name="T75" fmla="*/ 227 h 754"/>
                <a:gd name="T76" fmla="*/ 321 w 753"/>
                <a:gd name="T77" fmla="*/ 225 h 754"/>
                <a:gd name="T78" fmla="*/ 340 w 753"/>
                <a:gd name="T79" fmla="*/ 230 h 754"/>
                <a:gd name="T80" fmla="*/ 359 w 753"/>
                <a:gd name="T81" fmla="*/ 238 h 754"/>
                <a:gd name="T82" fmla="*/ 376 w 753"/>
                <a:gd name="T83" fmla="*/ 252 h 7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53" h="754">
                  <a:moveTo>
                    <a:pt x="753" y="135"/>
                  </a:moveTo>
                  <a:lnTo>
                    <a:pt x="211" y="135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84" y="9"/>
                  </a:lnTo>
                  <a:lnTo>
                    <a:pt x="75" y="4"/>
                  </a:lnTo>
                  <a:lnTo>
                    <a:pt x="65" y="2"/>
                  </a:lnTo>
                  <a:lnTo>
                    <a:pt x="54" y="0"/>
                  </a:lnTo>
                  <a:lnTo>
                    <a:pt x="44" y="2"/>
                  </a:lnTo>
                  <a:lnTo>
                    <a:pt x="34" y="4"/>
                  </a:lnTo>
                  <a:lnTo>
                    <a:pt x="25" y="9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9" y="25"/>
                  </a:lnTo>
                  <a:lnTo>
                    <a:pt x="4" y="34"/>
                  </a:lnTo>
                  <a:lnTo>
                    <a:pt x="1" y="44"/>
                  </a:lnTo>
                  <a:lnTo>
                    <a:pt x="0" y="55"/>
                  </a:lnTo>
                  <a:lnTo>
                    <a:pt x="1" y="65"/>
                  </a:lnTo>
                  <a:lnTo>
                    <a:pt x="4" y="76"/>
                  </a:lnTo>
                  <a:lnTo>
                    <a:pt x="9" y="86"/>
                  </a:lnTo>
                  <a:lnTo>
                    <a:pt x="16" y="95"/>
                  </a:lnTo>
                  <a:lnTo>
                    <a:pt x="133" y="212"/>
                  </a:lnTo>
                  <a:lnTo>
                    <a:pt x="133" y="754"/>
                  </a:lnTo>
                  <a:lnTo>
                    <a:pt x="753" y="135"/>
                  </a:lnTo>
                  <a:close/>
                  <a:moveTo>
                    <a:pt x="376" y="252"/>
                  </a:moveTo>
                  <a:lnTo>
                    <a:pt x="376" y="252"/>
                  </a:lnTo>
                  <a:lnTo>
                    <a:pt x="381" y="258"/>
                  </a:lnTo>
                  <a:lnTo>
                    <a:pt x="387" y="265"/>
                  </a:lnTo>
                  <a:lnTo>
                    <a:pt x="392" y="272"/>
                  </a:lnTo>
                  <a:lnTo>
                    <a:pt x="396" y="281"/>
                  </a:lnTo>
                  <a:lnTo>
                    <a:pt x="401" y="298"/>
                  </a:lnTo>
                  <a:lnTo>
                    <a:pt x="402" y="314"/>
                  </a:lnTo>
                  <a:lnTo>
                    <a:pt x="401" y="332"/>
                  </a:lnTo>
                  <a:lnTo>
                    <a:pt x="396" y="348"/>
                  </a:lnTo>
                  <a:lnTo>
                    <a:pt x="387" y="363"/>
                  </a:lnTo>
                  <a:lnTo>
                    <a:pt x="381" y="370"/>
                  </a:lnTo>
                  <a:lnTo>
                    <a:pt x="376" y="378"/>
                  </a:lnTo>
                  <a:lnTo>
                    <a:pt x="376" y="378"/>
                  </a:lnTo>
                  <a:lnTo>
                    <a:pt x="370" y="383"/>
                  </a:lnTo>
                  <a:lnTo>
                    <a:pt x="362" y="389"/>
                  </a:lnTo>
                  <a:lnTo>
                    <a:pt x="346" y="397"/>
                  </a:lnTo>
                  <a:lnTo>
                    <a:pt x="330" y="401"/>
                  </a:lnTo>
                  <a:lnTo>
                    <a:pt x="313" y="403"/>
                  </a:lnTo>
                  <a:lnTo>
                    <a:pt x="296" y="401"/>
                  </a:lnTo>
                  <a:lnTo>
                    <a:pt x="279" y="397"/>
                  </a:lnTo>
                  <a:lnTo>
                    <a:pt x="265" y="389"/>
                  </a:lnTo>
                  <a:lnTo>
                    <a:pt x="257" y="383"/>
                  </a:lnTo>
                  <a:lnTo>
                    <a:pt x="250" y="378"/>
                  </a:lnTo>
                  <a:lnTo>
                    <a:pt x="250" y="378"/>
                  </a:lnTo>
                  <a:lnTo>
                    <a:pt x="242" y="369"/>
                  </a:lnTo>
                  <a:lnTo>
                    <a:pt x="236" y="360"/>
                  </a:lnTo>
                  <a:lnTo>
                    <a:pt x="232" y="351"/>
                  </a:lnTo>
                  <a:lnTo>
                    <a:pt x="229" y="342"/>
                  </a:lnTo>
                  <a:lnTo>
                    <a:pt x="226" y="332"/>
                  </a:lnTo>
                  <a:lnTo>
                    <a:pt x="225" y="321"/>
                  </a:lnTo>
                  <a:lnTo>
                    <a:pt x="225" y="311"/>
                  </a:lnTo>
                  <a:lnTo>
                    <a:pt x="226" y="302"/>
                  </a:lnTo>
                  <a:lnTo>
                    <a:pt x="226" y="302"/>
                  </a:lnTo>
                  <a:lnTo>
                    <a:pt x="233" y="306"/>
                  </a:lnTo>
                  <a:lnTo>
                    <a:pt x="242" y="309"/>
                  </a:lnTo>
                  <a:lnTo>
                    <a:pt x="251" y="311"/>
                  </a:lnTo>
                  <a:lnTo>
                    <a:pt x="262" y="311"/>
                  </a:lnTo>
                  <a:lnTo>
                    <a:pt x="270" y="311"/>
                  </a:lnTo>
                  <a:lnTo>
                    <a:pt x="279" y="306"/>
                  </a:lnTo>
                  <a:lnTo>
                    <a:pt x="288" y="302"/>
                  </a:lnTo>
                  <a:lnTo>
                    <a:pt x="296" y="296"/>
                  </a:lnTo>
                  <a:lnTo>
                    <a:pt x="296" y="296"/>
                  </a:lnTo>
                  <a:lnTo>
                    <a:pt x="302" y="289"/>
                  </a:lnTo>
                  <a:lnTo>
                    <a:pt x="306" y="280"/>
                  </a:lnTo>
                  <a:lnTo>
                    <a:pt x="309" y="271"/>
                  </a:lnTo>
                  <a:lnTo>
                    <a:pt x="310" y="262"/>
                  </a:lnTo>
                  <a:lnTo>
                    <a:pt x="310" y="253"/>
                  </a:lnTo>
                  <a:lnTo>
                    <a:pt x="309" y="244"/>
                  </a:lnTo>
                  <a:lnTo>
                    <a:pt x="305" y="235"/>
                  </a:lnTo>
                  <a:lnTo>
                    <a:pt x="300" y="227"/>
                  </a:lnTo>
                  <a:lnTo>
                    <a:pt x="300" y="227"/>
                  </a:lnTo>
                  <a:lnTo>
                    <a:pt x="310" y="225"/>
                  </a:lnTo>
                  <a:lnTo>
                    <a:pt x="321" y="225"/>
                  </a:lnTo>
                  <a:lnTo>
                    <a:pt x="331" y="227"/>
                  </a:lnTo>
                  <a:lnTo>
                    <a:pt x="340" y="230"/>
                  </a:lnTo>
                  <a:lnTo>
                    <a:pt x="350" y="234"/>
                  </a:lnTo>
                  <a:lnTo>
                    <a:pt x="359" y="238"/>
                  </a:lnTo>
                  <a:lnTo>
                    <a:pt x="368" y="244"/>
                  </a:lnTo>
                  <a:lnTo>
                    <a:pt x="376" y="252"/>
                  </a:lnTo>
                  <a:lnTo>
                    <a:pt x="376" y="2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kern="0">
                <a:solidFill>
                  <a:srgbClr val="333333"/>
                </a:solidFill>
                <a:latin typeface="+mn-lt"/>
                <a:ea typeface=""/>
                <a:cs typeface=""/>
              </a:endParaRP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2928772" y="1158831"/>
            <a:ext cx="9311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2"/>
                </a:solidFill>
                <a:latin typeface="+mn-lt"/>
                <a:ea typeface=""/>
                <a:cs typeface=""/>
              </a:rPr>
              <a:t>BRAND</a:t>
            </a:r>
          </a:p>
        </p:txBody>
      </p:sp>
      <p:sp>
        <p:nvSpPr>
          <p:cNvPr id="29" name="Freeform 22"/>
          <p:cNvSpPr>
            <a:spLocks noEditPoints="1"/>
          </p:cNvSpPr>
          <p:nvPr/>
        </p:nvSpPr>
        <p:spPr bwMode="auto">
          <a:xfrm>
            <a:off x="5319469" y="4069880"/>
            <a:ext cx="398560" cy="379188"/>
          </a:xfrm>
          <a:custGeom>
            <a:avLst/>
            <a:gdLst>
              <a:gd name="T0" fmla="*/ 28 w 399"/>
              <a:gd name="T1" fmla="*/ 1 h 362"/>
              <a:gd name="T2" fmla="*/ 33 w 399"/>
              <a:gd name="T3" fmla="*/ 69 h 362"/>
              <a:gd name="T4" fmla="*/ 21 w 399"/>
              <a:gd name="T5" fmla="*/ 15 h 362"/>
              <a:gd name="T6" fmla="*/ 6 w 399"/>
              <a:gd name="T7" fmla="*/ 13 h 362"/>
              <a:gd name="T8" fmla="*/ 83 w 399"/>
              <a:gd name="T9" fmla="*/ 70 h 362"/>
              <a:gd name="T10" fmla="*/ 93 w 399"/>
              <a:gd name="T11" fmla="*/ 35 h 362"/>
              <a:gd name="T12" fmla="*/ 128 w 399"/>
              <a:gd name="T13" fmla="*/ 20 h 362"/>
              <a:gd name="T14" fmla="*/ 137 w 399"/>
              <a:gd name="T15" fmla="*/ 55 h 362"/>
              <a:gd name="T16" fmla="*/ 144 w 399"/>
              <a:gd name="T17" fmla="*/ 1 h 362"/>
              <a:gd name="T18" fmla="*/ 123 w 399"/>
              <a:gd name="T19" fmla="*/ 18 h 362"/>
              <a:gd name="T20" fmla="*/ 195 w 399"/>
              <a:gd name="T21" fmla="*/ 15 h 362"/>
              <a:gd name="T22" fmla="*/ 211 w 399"/>
              <a:gd name="T23" fmla="*/ 5 h 362"/>
              <a:gd name="T24" fmla="*/ 183 w 399"/>
              <a:gd name="T25" fmla="*/ 8 h 362"/>
              <a:gd name="T26" fmla="*/ 267 w 399"/>
              <a:gd name="T27" fmla="*/ 25 h 362"/>
              <a:gd name="T28" fmla="*/ 249 w 399"/>
              <a:gd name="T29" fmla="*/ 21 h 362"/>
              <a:gd name="T30" fmla="*/ 399 w 399"/>
              <a:gd name="T31" fmla="*/ 35 h 362"/>
              <a:gd name="T32" fmla="*/ 374 w 399"/>
              <a:gd name="T33" fmla="*/ 58 h 362"/>
              <a:gd name="T34" fmla="*/ 7 w 399"/>
              <a:gd name="T35" fmla="*/ 143 h 362"/>
              <a:gd name="T36" fmla="*/ 21 w 399"/>
              <a:gd name="T37" fmla="*/ 145 h 362"/>
              <a:gd name="T38" fmla="*/ 37 w 399"/>
              <a:gd name="T39" fmla="*/ 191 h 362"/>
              <a:gd name="T40" fmla="*/ 20 w 399"/>
              <a:gd name="T41" fmla="*/ 128 h 362"/>
              <a:gd name="T42" fmla="*/ 83 w 399"/>
              <a:gd name="T43" fmla="*/ 196 h 362"/>
              <a:gd name="T44" fmla="*/ 74 w 399"/>
              <a:gd name="T45" fmla="*/ 161 h 362"/>
              <a:gd name="T46" fmla="*/ 94 w 399"/>
              <a:gd name="T47" fmla="*/ 128 h 362"/>
              <a:gd name="T48" fmla="*/ 165 w 399"/>
              <a:gd name="T49" fmla="*/ 178 h 362"/>
              <a:gd name="T50" fmla="*/ 207 w 399"/>
              <a:gd name="T51" fmla="*/ 127 h 362"/>
              <a:gd name="T52" fmla="*/ 180 w 399"/>
              <a:gd name="T53" fmla="*/ 139 h 362"/>
              <a:gd name="T54" fmla="*/ 195 w 399"/>
              <a:gd name="T55" fmla="*/ 141 h 362"/>
              <a:gd name="T56" fmla="*/ 207 w 399"/>
              <a:gd name="T57" fmla="*/ 195 h 362"/>
              <a:gd name="T58" fmla="*/ 283 w 399"/>
              <a:gd name="T59" fmla="*/ 160 h 362"/>
              <a:gd name="T60" fmla="*/ 283 w 399"/>
              <a:gd name="T61" fmla="*/ 160 h 362"/>
              <a:gd name="T62" fmla="*/ 258 w 399"/>
              <a:gd name="T63" fmla="*/ 184 h 362"/>
              <a:gd name="T64" fmla="*/ 366 w 399"/>
              <a:gd name="T65" fmla="*/ 144 h 362"/>
              <a:gd name="T66" fmla="*/ 366 w 399"/>
              <a:gd name="T67" fmla="*/ 176 h 362"/>
              <a:gd name="T68" fmla="*/ 374 w 399"/>
              <a:gd name="T69" fmla="*/ 125 h 362"/>
              <a:gd name="T70" fmla="*/ 26 w 399"/>
              <a:gd name="T71" fmla="*/ 251 h 362"/>
              <a:gd name="T72" fmla="*/ 16 w 399"/>
              <a:gd name="T73" fmla="*/ 286 h 362"/>
              <a:gd name="T74" fmla="*/ 141 w 399"/>
              <a:gd name="T75" fmla="*/ 320 h 362"/>
              <a:gd name="T76" fmla="*/ 137 w 399"/>
              <a:gd name="T77" fmla="*/ 311 h 362"/>
              <a:gd name="T78" fmla="*/ 174 w 399"/>
              <a:gd name="T79" fmla="*/ 285 h 362"/>
              <a:gd name="T80" fmla="*/ 209 w 399"/>
              <a:gd name="T81" fmla="*/ 295 h 362"/>
              <a:gd name="T82" fmla="*/ 265 w 399"/>
              <a:gd name="T83" fmla="*/ 320 h 362"/>
              <a:gd name="T84" fmla="*/ 253 w 399"/>
              <a:gd name="T85" fmla="*/ 316 h 362"/>
              <a:gd name="T86" fmla="*/ 311 w 399"/>
              <a:gd name="T87" fmla="*/ 316 h 362"/>
              <a:gd name="T88" fmla="*/ 327 w 399"/>
              <a:gd name="T89" fmla="*/ 256 h 362"/>
              <a:gd name="T90" fmla="*/ 373 w 399"/>
              <a:gd name="T91" fmla="*/ 321 h 362"/>
              <a:gd name="T92" fmla="*/ 383 w 399"/>
              <a:gd name="T93" fmla="*/ 286 h 362"/>
              <a:gd name="T94" fmla="*/ 383 w 399"/>
              <a:gd name="T95" fmla="*/ 286 h 362"/>
              <a:gd name="T96" fmla="*/ 71 w 399"/>
              <a:gd name="T97" fmla="*/ 354 h 362"/>
              <a:gd name="T98" fmla="*/ 125 w 399"/>
              <a:gd name="T99" fmla="*/ 223 h 362"/>
              <a:gd name="T100" fmla="*/ 315 w 399"/>
              <a:gd name="T101" fmla="*/ 245 h 362"/>
              <a:gd name="T102" fmla="*/ 170 w 399"/>
              <a:gd name="T103" fmla="*/ 100 h 362"/>
              <a:gd name="T104" fmla="*/ 312 w 399"/>
              <a:gd name="T105" fmla="*/ 158 h 362"/>
              <a:gd name="T106" fmla="*/ 311 w 399"/>
              <a:gd name="T107" fmla="*/ 15 h 362"/>
              <a:gd name="T108" fmla="*/ 327 w 399"/>
              <a:gd name="T109" fmla="*/ 61 h 362"/>
              <a:gd name="T110" fmla="*/ 310 w 399"/>
              <a:gd name="T111" fmla="*/ 3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9" h="362">
                <a:moveTo>
                  <a:pt x="6" y="13"/>
                </a:moveTo>
                <a:cubicBezTo>
                  <a:pt x="6" y="11"/>
                  <a:pt x="7" y="9"/>
                  <a:pt x="9" y="8"/>
                </a:cubicBezTo>
                <a:cubicBezTo>
                  <a:pt x="20" y="3"/>
                  <a:pt x="20" y="3"/>
                  <a:pt x="20" y="3"/>
                </a:cubicBezTo>
                <a:cubicBezTo>
                  <a:pt x="22" y="2"/>
                  <a:pt x="25" y="1"/>
                  <a:pt x="28" y="1"/>
                </a:cubicBezTo>
                <a:cubicBezTo>
                  <a:pt x="33" y="1"/>
                  <a:pt x="33" y="1"/>
                  <a:pt x="33" y="1"/>
                </a:cubicBezTo>
                <a:cubicBezTo>
                  <a:pt x="35" y="1"/>
                  <a:pt x="37" y="3"/>
                  <a:pt x="37" y="5"/>
                </a:cubicBezTo>
                <a:cubicBezTo>
                  <a:pt x="37" y="65"/>
                  <a:pt x="37" y="65"/>
                  <a:pt x="37" y="65"/>
                </a:cubicBezTo>
                <a:cubicBezTo>
                  <a:pt x="37" y="67"/>
                  <a:pt x="35" y="69"/>
                  <a:pt x="33" y="69"/>
                </a:cubicBezTo>
                <a:cubicBezTo>
                  <a:pt x="25" y="69"/>
                  <a:pt x="25" y="69"/>
                  <a:pt x="25" y="69"/>
                </a:cubicBezTo>
                <a:cubicBezTo>
                  <a:pt x="23" y="69"/>
                  <a:pt x="21" y="67"/>
                  <a:pt x="21" y="65"/>
                </a:cubicBezTo>
                <a:cubicBezTo>
                  <a:pt x="21" y="19"/>
                  <a:pt x="21" y="19"/>
                  <a:pt x="21" y="19"/>
                </a:cubicBezTo>
                <a:cubicBezTo>
                  <a:pt x="21" y="17"/>
                  <a:pt x="21" y="15"/>
                  <a:pt x="21" y="15"/>
                </a:cubicBezTo>
                <a:cubicBezTo>
                  <a:pt x="21" y="15"/>
                  <a:pt x="19" y="16"/>
                  <a:pt x="18" y="17"/>
                </a:cubicBezTo>
                <a:cubicBezTo>
                  <a:pt x="12" y="20"/>
                  <a:pt x="12" y="20"/>
                  <a:pt x="12" y="20"/>
                </a:cubicBezTo>
                <a:cubicBezTo>
                  <a:pt x="10" y="21"/>
                  <a:pt x="8" y="20"/>
                  <a:pt x="7" y="18"/>
                </a:cubicBezTo>
                <a:lnTo>
                  <a:pt x="6" y="13"/>
                </a:lnTo>
                <a:close/>
                <a:moveTo>
                  <a:pt x="58" y="35"/>
                </a:moveTo>
                <a:cubicBezTo>
                  <a:pt x="58" y="16"/>
                  <a:pt x="66" y="0"/>
                  <a:pt x="84" y="0"/>
                </a:cubicBezTo>
                <a:cubicBezTo>
                  <a:pt x="102" y="0"/>
                  <a:pt x="109" y="16"/>
                  <a:pt x="109" y="35"/>
                </a:cubicBezTo>
                <a:cubicBezTo>
                  <a:pt x="109" y="56"/>
                  <a:pt x="101" y="70"/>
                  <a:pt x="83" y="70"/>
                </a:cubicBezTo>
                <a:cubicBezTo>
                  <a:pt x="66" y="70"/>
                  <a:pt x="58" y="55"/>
                  <a:pt x="58" y="35"/>
                </a:cubicBezTo>
                <a:close/>
                <a:moveTo>
                  <a:pt x="74" y="35"/>
                </a:moveTo>
                <a:cubicBezTo>
                  <a:pt x="74" y="51"/>
                  <a:pt x="78" y="58"/>
                  <a:pt x="84" y="58"/>
                </a:cubicBezTo>
                <a:cubicBezTo>
                  <a:pt x="90" y="58"/>
                  <a:pt x="93" y="51"/>
                  <a:pt x="93" y="35"/>
                </a:cubicBezTo>
                <a:cubicBezTo>
                  <a:pt x="93" y="20"/>
                  <a:pt x="90" y="12"/>
                  <a:pt x="84" y="12"/>
                </a:cubicBezTo>
                <a:cubicBezTo>
                  <a:pt x="78" y="12"/>
                  <a:pt x="74" y="20"/>
                  <a:pt x="74" y="35"/>
                </a:cubicBezTo>
                <a:close/>
                <a:moveTo>
                  <a:pt x="123" y="18"/>
                </a:moveTo>
                <a:cubicBezTo>
                  <a:pt x="124" y="20"/>
                  <a:pt x="126" y="21"/>
                  <a:pt x="128" y="20"/>
                </a:cubicBezTo>
                <a:cubicBezTo>
                  <a:pt x="134" y="17"/>
                  <a:pt x="134" y="17"/>
                  <a:pt x="134" y="17"/>
                </a:cubicBezTo>
                <a:cubicBezTo>
                  <a:pt x="135" y="16"/>
                  <a:pt x="137" y="15"/>
                  <a:pt x="137" y="15"/>
                </a:cubicBezTo>
                <a:cubicBezTo>
                  <a:pt x="137" y="15"/>
                  <a:pt x="137" y="17"/>
                  <a:pt x="137" y="19"/>
                </a:cubicBezTo>
                <a:cubicBezTo>
                  <a:pt x="137" y="55"/>
                  <a:pt x="137" y="55"/>
                  <a:pt x="137" y="55"/>
                </a:cubicBezTo>
                <a:cubicBezTo>
                  <a:pt x="142" y="50"/>
                  <a:pt x="147" y="46"/>
                  <a:pt x="153" y="43"/>
                </a:cubicBezTo>
                <a:cubicBezTo>
                  <a:pt x="153" y="5"/>
                  <a:pt x="153" y="5"/>
                  <a:pt x="153" y="5"/>
                </a:cubicBezTo>
                <a:cubicBezTo>
                  <a:pt x="153" y="3"/>
                  <a:pt x="151" y="1"/>
                  <a:pt x="149" y="1"/>
                </a:cubicBezTo>
                <a:cubicBezTo>
                  <a:pt x="144" y="1"/>
                  <a:pt x="144" y="1"/>
                  <a:pt x="144" y="1"/>
                </a:cubicBezTo>
                <a:cubicBezTo>
                  <a:pt x="141" y="1"/>
                  <a:pt x="138" y="2"/>
                  <a:pt x="136" y="3"/>
                </a:cubicBezTo>
                <a:cubicBezTo>
                  <a:pt x="125" y="8"/>
                  <a:pt x="125" y="8"/>
                  <a:pt x="125" y="8"/>
                </a:cubicBezTo>
                <a:cubicBezTo>
                  <a:pt x="123" y="9"/>
                  <a:pt x="122" y="11"/>
                  <a:pt x="122" y="13"/>
                </a:cubicBezTo>
                <a:lnTo>
                  <a:pt x="123" y="18"/>
                </a:lnTo>
                <a:close/>
                <a:moveTo>
                  <a:pt x="181" y="18"/>
                </a:moveTo>
                <a:cubicBezTo>
                  <a:pt x="182" y="20"/>
                  <a:pt x="184" y="21"/>
                  <a:pt x="186" y="20"/>
                </a:cubicBezTo>
                <a:cubicBezTo>
                  <a:pt x="192" y="17"/>
                  <a:pt x="192" y="17"/>
                  <a:pt x="192" y="17"/>
                </a:cubicBezTo>
                <a:cubicBezTo>
                  <a:pt x="194" y="16"/>
                  <a:pt x="195" y="15"/>
                  <a:pt x="195" y="15"/>
                </a:cubicBezTo>
                <a:cubicBezTo>
                  <a:pt x="195" y="15"/>
                  <a:pt x="195" y="17"/>
                  <a:pt x="195" y="19"/>
                </a:cubicBezTo>
                <a:cubicBezTo>
                  <a:pt x="195" y="24"/>
                  <a:pt x="195" y="24"/>
                  <a:pt x="195" y="24"/>
                </a:cubicBezTo>
                <a:cubicBezTo>
                  <a:pt x="200" y="23"/>
                  <a:pt x="206" y="22"/>
                  <a:pt x="211" y="21"/>
                </a:cubicBezTo>
                <a:cubicBezTo>
                  <a:pt x="211" y="5"/>
                  <a:pt x="211" y="5"/>
                  <a:pt x="211" y="5"/>
                </a:cubicBezTo>
                <a:cubicBezTo>
                  <a:pt x="211" y="3"/>
                  <a:pt x="209" y="1"/>
                  <a:pt x="207" y="1"/>
                </a:cubicBezTo>
                <a:cubicBezTo>
                  <a:pt x="202" y="1"/>
                  <a:pt x="202" y="1"/>
                  <a:pt x="202" y="1"/>
                </a:cubicBezTo>
                <a:cubicBezTo>
                  <a:pt x="199" y="1"/>
                  <a:pt x="196" y="2"/>
                  <a:pt x="194" y="3"/>
                </a:cubicBezTo>
                <a:cubicBezTo>
                  <a:pt x="183" y="8"/>
                  <a:pt x="183" y="8"/>
                  <a:pt x="183" y="8"/>
                </a:cubicBezTo>
                <a:cubicBezTo>
                  <a:pt x="181" y="9"/>
                  <a:pt x="180" y="11"/>
                  <a:pt x="180" y="13"/>
                </a:cubicBezTo>
                <a:lnTo>
                  <a:pt x="181" y="18"/>
                </a:lnTo>
                <a:close/>
                <a:moveTo>
                  <a:pt x="258" y="12"/>
                </a:moveTo>
                <a:cubicBezTo>
                  <a:pt x="263" y="12"/>
                  <a:pt x="266" y="17"/>
                  <a:pt x="267" y="25"/>
                </a:cubicBezTo>
                <a:cubicBezTo>
                  <a:pt x="272" y="27"/>
                  <a:pt x="278" y="29"/>
                  <a:pt x="283" y="31"/>
                </a:cubicBezTo>
                <a:cubicBezTo>
                  <a:pt x="282" y="14"/>
                  <a:pt x="275" y="0"/>
                  <a:pt x="258" y="0"/>
                </a:cubicBezTo>
                <a:cubicBezTo>
                  <a:pt x="245" y="0"/>
                  <a:pt x="237" y="8"/>
                  <a:pt x="234" y="20"/>
                </a:cubicBezTo>
                <a:cubicBezTo>
                  <a:pt x="239" y="20"/>
                  <a:pt x="244" y="21"/>
                  <a:pt x="249" y="21"/>
                </a:cubicBezTo>
                <a:cubicBezTo>
                  <a:pt x="251" y="15"/>
                  <a:pt x="254" y="12"/>
                  <a:pt x="258" y="12"/>
                </a:cubicBezTo>
                <a:close/>
                <a:moveTo>
                  <a:pt x="348" y="35"/>
                </a:moveTo>
                <a:cubicBezTo>
                  <a:pt x="348" y="16"/>
                  <a:pt x="356" y="0"/>
                  <a:pt x="374" y="0"/>
                </a:cubicBezTo>
                <a:cubicBezTo>
                  <a:pt x="392" y="0"/>
                  <a:pt x="399" y="16"/>
                  <a:pt x="399" y="35"/>
                </a:cubicBezTo>
                <a:cubicBezTo>
                  <a:pt x="399" y="56"/>
                  <a:pt x="391" y="70"/>
                  <a:pt x="373" y="70"/>
                </a:cubicBezTo>
                <a:cubicBezTo>
                  <a:pt x="356" y="70"/>
                  <a:pt x="348" y="55"/>
                  <a:pt x="348" y="35"/>
                </a:cubicBezTo>
                <a:close/>
                <a:moveTo>
                  <a:pt x="364" y="35"/>
                </a:moveTo>
                <a:cubicBezTo>
                  <a:pt x="364" y="51"/>
                  <a:pt x="368" y="58"/>
                  <a:pt x="374" y="58"/>
                </a:cubicBezTo>
                <a:cubicBezTo>
                  <a:pt x="380" y="58"/>
                  <a:pt x="383" y="51"/>
                  <a:pt x="383" y="35"/>
                </a:cubicBezTo>
                <a:cubicBezTo>
                  <a:pt x="383" y="20"/>
                  <a:pt x="380" y="12"/>
                  <a:pt x="374" y="12"/>
                </a:cubicBezTo>
                <a:cubicBezTo>
                  <a:pt x="368" y="12"/>
                  <a:pt x="364" y="20"/>
                  <a:pt x="364" y="35"/>
                </a:cubicBezTo>
                <a:close/>
                <a:moveTo>
                  <a:pt x="7" y="143"/>
                </a:moveTo>
                <a:cubicBezTo>
                  <a:pt x="8" y="145"/>
                  <a:pt x="10" y="146"/>
                  <a:pt x="12" y="145"/>
                </a:cubicBezTo>
                <a:cubicBezTo>
                  <a:pt x="18" y="142"/>
                  <a:pt x="18" y="142"/>
                  <a:pt x="18" y="142"/>
                </a:cubicBezTo>
                <a:cubicBezTo>
                  <a:pt x="19" y="142"/>
                  <a:pt x="21" y="141"/>
                  <a:pt x="21" y="141"/>
                </a:cubicBezTo>
                <a:cubicBezTo>
                  <a:pt x="21" y="141"/>
                  <a:pt x="21" y="143"/>
                  <a:pt x="21" y="145"/>
                </a:cubicBezTo>
                <a:cubicBezTo>
                  <a:pt x="21" y="191"/>
                  <a:pt x="21" y="191"/>
                  <a:pt x="21" y="191"/>
                </a:cubicBezTo>
                <a:cubicBezTo>
                  <a:pt x="21" y="193"/>
                  <a:pt x="23" y="195"/>
                  <a:pt x="25" y="195"/>
                </a:cubicBezTo>
                <a:cubicBezTo>
                  <a:pt x="33" y="195"/>
                  <a:pt x="33" y="195"/>
                  <a:pt x="33" y="195"/>
                </a:cubicBezTo>
                <a:cubicBezTo>
                  <a:pt x="35" y="195"/>
                  <a:pt x="37" y="193"/>
                  <a:pt x="37" y="191"/>
                </a:cubicBezTo>
                <a:cubicBezTo>
                  <a:pt x="37" y="131"/>
                  <a:pt x="37" y="131"/>
                  <a:pt x="37" y="131"/>
                </a:cubicBezTo>
                <a:cubicBezTo>
                  <a:pt x="37" y="128"/>
                  <a:pt x="35" y="127"/>
                  <a:pt x="33" y="127"/>
                </a:cubicBezTo>
                <a:cubicBezTo>
                  <a:pt x="28" y="127"/>
                  <a:pt x="28" y="127"/>
                  <a:pt x="28" y="127"/>
                </a:cubicBezTo>
                <a:cubicBezTo>
                  <a:pt x="25" y="127"/>
                  <a:pt x="22" y="127"/>
                  <a:pt x="20" y="128"/>
                </a:cubicBezTo>
                <a:cubicBezTo>
                  <a:pt x="9" y="133"/>
                  <a:pt x="9" y="133"/>
                  <a:pt x="9" y="133"/>
                </a:cubicBezTo>
                <a:cubicBezTo>
                  <a:pt x="7" y="134"/>
                  <a:pt x="6" y="137"/>
                  <a:pt x="6" y="139"/>
                </a:cubicBezTo>
                <a:lnTo>
                  <a:pt x="7" y="143"/>
                </a:lnTo>
                <a:close/>
                <a:moveTo>
                  <a:pt x="83" y="196"/>
                </a:moveTo>
                <a:cubicBezTo>
                  <a:pt x="88" y="196"/>
                  <a:pt x="92" y="195"/>
                  <a:pt x="95" y="193"/>
                </a:cubicBezTo>
                <a:cubicBezTo>
                  <a:pt x="94" y="187"/>
                  <a:pt x="92" y="181"/>
                  <a:pt x="92" y="175"/>
                </a:cubicBezTo>
                <a:cubicBezTo>
                  <a:pt x="90" y="181"/>
                  <a:pt x="88" y="184"/>
                  <a:pt x="84" y="184"/>
                </a:cubicBezTo>
                <a:cubicBezTo>
                  <a:pt x="78" y="184"/>
                  <a:pt x="74" y="176"/>
                  <a:pt x="74" y="161"/>
                </a:cubicBezTo>
                <a:cubicBezTo>
                  <a:pt x="74" y="145"/>
                  <a:pt x="78" y="138"/>
                  <a:pt x="84" y="138"/>
                </a:cubicBezTo>
                <a:cubicBezTo>
                  <a:pt x="87" y="138"/>
                  <a:pt x="90" y="140"/>
                  <a:pt x="91" y="144"/>
                </a:cubicBezTo>
                <a:cubicBezTo>
                  <a:pt x="91" y="144"/>
                  <a:pt x="91" y="144"/>
                  <a:pt x="91" y="143"/>
                </a:cubicBezTo>
                <a:cubicBezTo>
                  <a:pt x="92" y="138"/>
                  <a:pt x="93" y="133"/>
                  <a:pt x="94" y="128"/>
                </a:cubicBezTo>
                <a:cubicBezTo>
                  <a:pt x="91" y="126"/>
                  <a:pt x="88" y="125"/>
                  <a:pt x="84" y="125"/>
                </a:cubicBezTo>
                <a:cubicBezTo>
                  <a:pt x="66" y="125"/>
                  <a:pt x="58" y="141"/>
                  <a:pt x="58" y="161"/>
                </a:cubicBezTo>
                <a:cubicBezTo>
                  <a:pt x="58" y="180"/>
                  <a:pt x="66" y="196"/>
                  <a:pt x="83" y="196"/>
                </a:cubicBezTo>
                <a:close/>
                <a:moveTo>
                  <a:pt x="165" y="178"/>
                </a:moveTo>
                <a:cubicBezTo>
                  <a:pt x="166" y="173"/>
                  <a:pt x="167" y="167"/>
                  <a:pt x="167" y="160"/>
                </a:cubicBezTo>
                <a:cubicBezTo>
                  <a:pt x="167" y="153"/>
                  <a:pt x="166" y="147"/>
                  <a:pt x="164" y="141"/>
                </a:cubicBezTo>
                <a:cubicBezTo>
                  <a:pt x="161" y="153"/>
                  <a:pt x="161" y="166"/>
                  <a:pt x="165" y="178"/>
                </a:cubicBezTo>
                <a:close/>
                <a:moveTo>
                  <a:pt x="207" y="127"/>
                </a:moveTo>
                <a:cubicBezTo>
                  <a:pt x="202" y="127"/>
                  <a:pt x="202" y="127"/>
                  <a:pt x="202" y="127"/>
                </a:cubicBezTo>
                <a:cubicBezTo>
                  <a:pt x="199" y="127"/>
                  <a:pt x="196" y="127"/>
                  <a:pt x="194" y="128"/>
                </a:cubicBezTo>
                <a:cubicBezTo>
                  <a:pt x="183" y="133"/>
                  <a:pt x="183" y="133"/>
                  <a:pt x="183" y="133"/>
                </a:cubicBezTo>
                <a:cubicBezTo>
                  <a:pt x="181" y="134"/>
                  <a:pt x="180" y="137"/>
                  <a:pt x="180" y="139"/>
                </a:cubicBezTo>
                <a:cubicBezTo>
                  <a:pt x="181" y="143"/>
                  <a:pt x="181" y="143"/>
                  <a:pt x="181" y="143"/>
                </a:cubicBezTo>
                <a:cubicBezTo>
                  <a:pt x="182" y="145"/>
                  <a:pt x="184" y="146"/>
                  <a:pt x="186" y="145"/>
                </a:cubicBezTo>
                <a:cubicBezTo>
                  <a:pt x="192" y="142"/>
                  <a:pt x="192" y="142"/>
                  <a:pt x="192" y="142"/>
                </a:cubicBezTo>
                <a:cubicBezTo>
                  <a:pt x="194" y="142"/>
                  <a:pt x="195" y="141"/>
                  <a:pt x="195" y="141"/>
                </a:cubicBezTo>
                <a:cubicBezTo>
                  <a:pt x="195" y="141"/>
                  <a:pt x="195" y="143"/>
                  <a:pt x="195" y="145"/>
                </a:cubicBezTo>
                <a:cubicBezTo>
                  <a:pt x="195" y="191"/>
                  <a:pt x="195" y="191"/>
                  <a:pt x="195" y="191"/>
                </a:cubicBezTo>
                <a:cubicBezTo>
                  <a:pt x="195" y="193"/>
                  <a:pt x="197" y="195"/>
                  <a:pt x="199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9" y="195"/>
                  <a:pt x="211" y="193"/>
                  <a:pt x="211" y="191"/>
                </a:cubicBezTo>
                <a:cubicBezTo>
                  <a:pt x="211" y="131"/>
                  <a:pt x="211" y="131"/>
                  <a:pt x="211" y="131"/>
                </a:cubicBezTo>
                <a:cubicBezTo>
                  <a:pt x="211" y="128"/>
                  <a:pt x="209" y="127"/>
                  <a:pt x="207" y="127"/>
                </a:cubicBezTo>
                <a:close/>
                <a:moveTo>
                  <a:pt x="283" y="160"/>
                </a:moveTo>
                <a:cubicBezTo>
                  <a:pt x="283" y="181"/>
                  <a:pt x="275" y="196"/>
                  <a:pt x="257" y="196"/>
                </a:cubicBezTo>
                <a:cubicBezTo>
                  <a:pt x="240" y="196"/>
                  <a:pt x="232" y="180"/>
                  <a:pt x="232" y="161"/>
                </a:cubicBezTo>
                <a:cubicBezTo>
                  <a:pt x="232" y="141"/>
                  <a:pt x="240" y="125"/>
                  <a:pt x="258" y="125"/>
                </a:cubicBezTo>
                <a:cubicBezTo>
                  <a:pt x="276" y="125"/>
                  <a:pt x="283" y="142"/>
                  <a:pt x="283" y="160"/>
                </a:cubicBezTo>
                <a:close/>
                <a:moveTo>
                  <a:pt x="267" y="160"/>
                </a:moveTo>
                <a:cubicBezTo>
                  <a:pt x="267" y="145"/>
                  <a:pt x="264" y="138"/>
                  <a:pt x="258" y="138"/>
                </a:cubicBezTo>
                <a:cubicBezTo>
                  <a:pt x="252" y="138"/>
                  <a:pt x="248" y="145"/>
                  <a:pt x="248" y="161"/>
                </a:cubicBezTo>
                <a:cubicBezTo>
                  <a:pt x="248" y="176"/>
                  <a:pt x="252" y="184"/>
                  <a:pt x="258" y="184"/>
                </a:cubicBezTo>
                <a:cubicBezTo>
                  <a:pt x="264" y="184"/>
                  <a:pt x="267" y="176"/>
                  <a:pt x="267" y="160"/>
                </a:cubicBezTo>
                <a:close/>
                <a:moveTo>
                  <a:pt x="374" y="125"/>
                </a:moveTo>
                <a:cubicBezTo>
                  <a:pt x="370" y="125"/>
                  <a:pt x="367" y="126"/>
                  <a:pt x="364" y="128"/>
                </a:cubicBezTo>
                <a:cubicBezTo>
                  <a:pt x="365" y="133"/>
                  <a:pt x="366" y="139"/>
                  <a:pt x="366" y="144"/>
                </a:cubicBezTo>
                <a:cubicBezTo>
                  <a:pt x="368" y="140"/>
                  <a:pt x="371" y="138"/>
                  <a:pt x="374" y="138"/>
                </a:cubicBezTo>
                <a:cubicBezTo>
                  <a:pt x="380" y="138"/>
                  <a:pt x="383" y="145"/>
                  <a:pt x="383" y="160"/>
                </a:cubicBezTo>
                <a:cubicBezTo>
                  <a:pt x="383" y="176"/>
                  <a:pt x="380" y="184"/>
                  <a:pt x="374" y="184"/>
                </a:cubicBezTo>
                <a:cubicBezTo>
                  <a:pt x="370" y="184"/>
                  <a:pt x="368" y="181"/>
                  <a:pt x="366" y="176"/>
                </a:cubicBezTo>
                <a:cubicBezTo>
                  <a:pt x="365" y="182"/>
                  <a:pt x="364" y="188"/>
                  <a:pt x="363" y="193"/>
                </a:cubicBezTo>
                <a:cubicBezTo>
                  <a:pt x="366" y="195"/>
                  <a:pt x="369" y="196"/>
                  <a:pt x="373" y="196"/>
                </a:cubicBezTo>
                <a:cubicBezTo>
                  <a:pt x="391" y="196"/>
                  <a:pt x="399" y="181"/>
                  <a:pt x="399" y="160"/>
                </a:cubicBezTo>
                <a:cubicBezTo>
                  <a:pt x="399" y="142"/>
                  <a:pt x="392" y="125"/>
                  <a:pt x="374" y="125"/>
                </a:cubicBezTo>
                <a:close/>
                <a:moveTo>
                  <a:pt x="35" y="286"/>
                </a:moveTo>
                <a:cubicBezTo>
                  <a:pt x="35" y="288"/>
                  <a:pt x="35" y="289"/>
                  <a:pt x="35" y="291"/>
                </a:cubicBezTo>
                <a:cubicBezTo>
                  <a:pt x="50" y="275"/>
                  <a:pt x="50" y="275"/>
                  <a:pt x="50" y="275"/>
                </a:cubicBezTo>
                <a:cubicBezTo>
                  <a:pt x="48" y="261"/>
                  <a:pt x="41" y="251"/>
                  <a:pt x="26" y="251"/>
                </a:cubicBezTo>
                <a:cubicBezTo>
                  <a:pt x="8" y="251"/>
                  <a:pt x="0" y="266"/>
                  <a:pt x="0" y="286"/>
                </a:cubicBezTo>
                <a:cubicBezTo>
                  <a:pt x="0" y="300"/>
                  <a:pt x="4" y="312"/>
                  <a:pt x="13" y="318"/>
                </a:cubicBezTo>
                <a:cubicBezTo>
                  <a:pt x="14" y="313"/>
                  <a:pt x="17" y="309"/>
                  <a:pt x="20" y="306"/>
                </a:cubicBezTo>
                <a:cubicBezTo>
                  <a:pt x="17" y="302"/>
                  <a:pt x="16" y="296"/>
                  <a:pt x="16" y="286"/>
                </a:cubicBezTo>
                <a:cubicBezTo>
                  <a:pt x="16" y="270"/>
                  <a:pt x="20" y="263"/>
                  <a:pt x="26" y="263"/>
                </a:cubicBezTo>
                <a:cubicBezTo>
                  <a:pt x="32" y="263"/>
                  <a:pt x="35" y="271"/>
                  <a:pt x="35" y="286"/>
                </a:cubicBezTo>
                <a:close/>
                <a:moveTo>
                  <a:pt x="137" y="316"/>
                </a:moveTo>
                <a:cubicBezTo>
                  <a:pt x="137" y="318"/>
                  <a:pt x="139" y="320"/>
                  <a:pt x="141" y="320"/>
                </a:cubicBezTo>
                <a:cubicBezTo>
                  <a:pt x="149" y="320"/>
                  <a:pt x="149" y="320"/>
                  <a:pt x="149" y="320"/>
                </a:cubicBezTo>
                <a:cubicBezTo>
                  <a:pt x="151" y="320"/>
                  <a:pt x="153" y="318"/>
                  <a:pt x="153" y="316"/>
                </a:cubicBezTo>
                <a:cubicBezTo>
                  <a:pt x="153" y="296"/>
                  <a:pt x="153" y="296"/>
                  <a:pt x="153" y="296"/>
                </a:cubicBezTo>
                <a:cubicBezTo>
                  <a:pt x="137" y="311"/>
                  <a:pt x="137" y="311"/>
                  <a:pt x="137" y="311"/>
                </a:cubicBezTo>
                <a:lnTo>
                  <a:pt x="137" y="316"/>
                </a:lnTo>
                <a:close/>
                <a:moveTo>
                  <a:pt x="200" y="309"/>
                </a:moveTo>
                <a:cubicBezTo>
                  <a:pt x="194" y="309"/>
                  <a:pt x="191" y="303"/>
                  <a:pt x="190" y="291"/>
                </a:cubicBezTo>
                <a:cubicBezTo>
                  <a:pt x="185" y="289"/>
                  <a:pt x="179" y="287"/>
                  <a:pt x="174" y="285"/>
                </a:cubicBezTo>
                <a:cubicBezTo>
                  <a:pt x="174" y="285"/>
                  <a:pt x="174" y="286"/>
                  <a:pt x="174" y="286"/>
                </a:cubicBezTo>
                <a:cubicBezTo>
                  <a:pt x="174" y="305"/>
                  <a:pt x="182" y="321"/>
                  <a:pt x="199" y="321"/>
                </a:cubicBezTo>
                <a:cubicBezTo>
                  <a:pt x="214" y="321"/>
                  <a:pt x="222" y="311"/>
                  <a:pt x="224" y="296"/>
                </a:cubicBezTo>
                <a:cubicBezTo>
                  <a:pt x="219" y="296"/>
                  <a:pt x="214" y="296"/>
                  <a:pt x="209" y="295"/>
                </a:cubicBezTo>
                <a:cubicBezTo>
                  <a:pt x="208" y="304"/>
                  <a:pt x="205" y="309"/>
                  <a:pt x="200" y="309"/>
                </a:cubicBezTo>
                <a:close/>
                <a:moveTo>
                  <a:pt x="253" y="316"/>
                </a:moveTo>
                <a:cubicBezTo>
                  <a:pt x="253" y="318"/>
                  <a:pt x="255" y="320"/>
                  <a:pt x="257" y="320"/>
                </a:cubicBezTo>
                <a:cubicBezTo>
                  <a:pt x="265" y="320"/>
                  <a:pt x="265" y="320"/>
                  <a:pt x="265" y="320"/>
                </a:cubicBezTo>
                <a:cubicBezTo>
                  <a:pt x="267" y="320"/>
                  <a:pt x="269" y="318"/>
                  <a:pt x="269" y="316"/>
                </a:cubicBezTo>
                <a:cubicBezTo>
                  <a:pt x="269" y="291"/>
                  <a:pt x="269" y="291"/>
                  <a:pt x="269" y="291"/>
                </a:cubicBezTo>
                <a:cubicBezTo>
                  <a:pt x="264" y="292"/>
                  <a:pt x="259" y="293"/>
                  <a:pt x="253" y="294"/>
                </a:cubicBezTo>
                <a:lnTo>
                  <a:pt x="253" y="316"/>
                </a:lnTo>
                <a:close/>
                <a:moveTo>
                  <a:pt x="327" y="256"/>
                </a:moveTo>
                <a:cubicBezTo>
                  <a:pt x="322" y="261"/>
                  <a:pt x="317" y="265"/>
                  <a:pt x="311" y="269"/>
                </a:cubicBezTo>
                <a:cubicBezTo>
                  <a:pt x="311" y="269"/>
                  <a:pt x="311" y="270"/>
                  <a:pt x="311" y="270"/>
                </a:cubicBezTo>
                <a:cubicBezTo>
                  <a:pt x="311" y="316"/>
                  <a:pt x="311" y="316"/>
                  <a:pt x="311" y="316"/>
                </a:cubicBezTo>
                <a:cubicBezTo>
                  <a:pt x="311" y="318"/>
                  <a:pt x="313" y="320"/>
                  <a:pt x="315" y="320"/>
                </a:cubicBezTo>
                <a:cubicBezTo>
                  <a:pt x="323" y="320"/>
                  <a:pt x="323" y="320"/>
                  <a:pt x="323" y="320"/>
                </a:cubicBezTo>
                <a:cubicBezTo>
                  <a:pt x="325" y="320"/>
                  <a:pt x="327" y="318"/>
                  <a:pt x="327" y="316"/>
                </a:cubicBezTo>
                <a:cubicBezTo>
                  <a:pt x="327" y="256"/>
                  <a:pt x="327" y="256"/>
                  <a:pt x="327" y="256"/>
                </a:cubicBezTo>
                <a:cubicBezTo>
                  <a:pt x="327" y="256"/>
                  <a:pt x="327" y="256"/>
                  <a:pt x="327" y="256"/>
                </a:cubicBezTo>
                <a:cubicBezTo>
                  <a:pt x="327" y="256"/>
                  <a:pt x="327" y="256"/>
                  <a:pt x="327" y="256"/>
                </a:cubicBezTo>
                <a:close/>
                <a:moveTo>
                  <a:pt x="399" y="286"/>
                </a:moveTo>
                <a:cubicBezTo>
                  <a:pt x="399" y="307"/>
                  <a:pt x="391" y="321"/>
                  <a:pt x="373" y="321"/>
                </a:cubicBezTo>
                <a:cubicBezTo>
                  <a:pt x="356" y="321"/>
                  <a:pt x="348" y="305"/>
                  <a:pt x="348" y="286"/>
                </a:cubicBezTo>
                <a:cubicBezTo>
                  <a:pt x="348" y="266"/>
                  <a:pt x="356" y="251"/>
                  <a:pt x="374" y="251"/>
                </a:cubicBezTo>
                <a:cubicBezTo>
                  <a:pt x="392" y="251"/>
                  <a:pt x="399" y="267"/>
                  <a:pt x="399" y="286"/>
                </a:cubicBezTo>
                <a:close/>
                <a:moveTo>
                  <a:pt x="383" y="286"/>
                </a:moveTo>
                <a:cubicBezTo>
                  <a:pt x="383" y="271"/>
                  <a:pt x="380" y="263"/>
                  <a:pt x="374" y="263"/>
                </a:cubicBezTo>
                <a:cubicBezTo>
                  <a:pt x="368" y="263"/>
                  <a:pt x="364" y="270"/>
                  <a:pt x="364" y="286"/>
                </a:cubicBezTo>
                <a:cubicBezTo>
                  <a:pt x="364" y="302"/>
                  <a:pt x="368" y="309"/>
                  <a:pt x="374" y="309"/>
                </a:cubicBezTo>
                <a:cubicBezTo>
                  <a:pt x="380" y="309"/>
                  <a:pt x="383" y="301"/>
                  <a:pt x="383" y="286"/>
                </a:cubicBezTo>
                <a:close/>
                <a:moveTo>
                  <a:pt x="315" y="245"/>
                </a:moveTo>
                <a:cubicBezTo>
                  <a:pt x="291" y="268"/>
                  <a:pt x="260" y="280"/>
                  <a:pt x="229" y="280"/>
                </a:cubicBezTo>
                <a:cubicBezTo>
                  <a:pt x="206" y="280"/>
                  <a:pt x="184" y="274"/>
                  <a:pt x="164" y="262"/>
                </a:cubicBezTo>
                <a:cubicBezTo>
                  <a:pt x="71" y="354"/>
                  <a:pt x="71" y="354"/>
                  <a:pt x="71" y="354"/>
                </a:cubicBezTo>
                <a:cubicBezTo>
                  <a:pt x="64" y="362"/>
                  <a:pt x="51" y="362"/>
                  <a:pt x="43" y="354"/>
                </a:cubicBezTo>
                <a:cubicBezTo>
                  <a:pt x="33" y="344"/>
                  <a:pt x="33" y="344"/>
                  <a:pt x="33" y="344"/>
                </a:cubicBezTo>
                <a:cubicBezTo>
                  <a:pt x="25" y="336"/>
                  <a:pt x="25" y="323"/>
                  <a:pt x="33" y="316"/>
                </a:cubicBezTo>
                <a:cubicBezTo>
                  <a:pt x="125" y="223"/>
                  <a:pt x="125" y="223"/>
                  <a:pt x="125" y="223"/>
                </a:cubicBezTo>
                <a:cubicBezTo>
                  <a:pt x="96" y="176"/>
                  <a:pt x="101" y="113"/>
                  <a:pt x="142" y="72"/>
                </a:cubicBezTo>
                <a:cubicBezTo>
                  <a:pt x="166" y="48"/>
                  <a:pt x="198" y="36"/>
                  <a:pt x="229" y="36"/>
                </a:cubicBezTo>
                <a:cubicBezTo>
                  <a:pt x="260" y="36"/>
                  <a:pt x="291" y="48"/>
                  <a:pt x="315" y="72"/>
                </a:cubicBezTo>
                <a:cubicBezTo>
                  <a:pt x="363" y="119"/>
                  <a:pt x="363" y="197"/>
                  <a:pt x="315" y="245"/>
                </a:cubicBezTo>
                <a:close/>
                <a:moveTo>
                  <a:pt x="312" y="158"/>
                </a:moveTo>
                <a:cubicBezTo>
                  <a:pt x="312" y="136"/>
                  <a:pt x="303" y="115"/>
                  <a:pt x="287" y="100"/>
                </a:cubicBezTo>
                <a:cubicBezTo>
                  <a:pt x="272" y="84"/>
                  <a:pt x="251" y="75"/>
                  <a:pt x="229" y="75"/>
                </a:cubicBezTo>
                <a:cubicBezTo>
                  <a:pt x="207" y="75"/>
                  <a:pt x="186" y="84"/>
                  <a:pt x="170" y="100"/>
                </a:cubicBezTo>
                <a:cubicBezTo>
                  <a:pt x="138" y="132"/>
                  <a:pt x="138" y="184"/>
                  <a:pt x="170" y="217"/>
                </a:cubicBezTo>
                <a:cubicBezTo>
                  <a:pt x="186" y="232"/>
                  <a:pt x="207" y="241"/>
                  <a:pt x="229" y="241"/>
                </a:cubicBezTo>
                <a:cubicBezTo>
                  <a:pt x="251" y="241"/>
                  <a:pt x="272" y="232"/>
                  <a:pt x="287" y="217"/>
                </a:cubicBezTo>
                <a:cubicBezTo>
                  <a:pt x="303" y="201"/>
                  <a:pt x="312" y="180"/>
                  <a:pt x="312" y="158"/>
                </a:cubicBezTo>
                <a:close/>
                <a:moveTo>
                  <a:pt x="297" y="18"/>
                </a:moveTo>
                <a:cubicBezTo>
                  <a:pt x="298" y="20"/>
                  <a:pt x="300" y="21"/>
                  <a:pt x="302" y="20"/>
                </a:cubicBezTo>
                <a:cubicBezTo>
                  <a:pt x="308" y="17"/>
                  <a:pt x="308" y="17"/>
                  <a:pt x="308" y="17"/>
                </a:cubicBezTo>
                <a:cubicBezTo>
                  <a:pt x="310" y="16"/>
                  <a:pt x="311" y="15"/>
                  <a:pt x="311" y="15"/>
                </a:cubicBezTo>
                <a:cubicBezTo>
                  <a:pt x="311" y="15"/>
                  <a:pt x="311" y="17"/>
                  <a:pt x="311" y="19"/>
                </a:cubicBezTo>
                <a:cubicBezTo>
                  <a:pt x="311" y="47"/>
                  <a:pt x="311" y="47"/>
                  <a:pt x="311" y="47"/>
                </a:cubicBezTo>
                <a:cubicBezTo>
                  <a:pt x="317" y="51"/>
                  <a:pt x="322" y="56"/>
                  <a:pt x="327" y="60"/>
                </a:cubicBezTo>
                <a:cubicBezTo>
                  <a:pt x="327" y="60"/>
                  <a:pt x="327" y="60"/>
                  <a:pt x="327" y="61"/>
                </a:cubicBezTo>
                <a:cubicBezTo>
                  <a:pt x="327" y="5"/>
                  <a:pt x="327" y="5"/>
                  <a:pt x="327" y="5"/>
                </a:cubicBezTo>
                <a:cubicBezTo>
                  <a:pt x="327" y="3"/>
                  <a:pt x="325" y="1"/>
                  <a:pt x="323" y="1"/>
                </a:cubicBezTo>
                <a:cubicBezTo>
                  <a:pt x="318" y="1"/>
                  <a:pt x="318" y="1"/>
                  <a:pt x="318" y="1"/>
                </a:cubicBezTo>
                <a:cubicBezTo>
                  <a:pt x="315" y="1"/>
                  <a:pt x="312" y="2"/>
                  <a:pt x="310" y="3"/>
                </a:cubicBezTo>
                <a:cubicBezTo>
                  <a:pt x="299" y="8"/>
                  <a:pt x="299" y="8"/>
                  <a:pt x="299" y="8"/>
                </a:cubicBezTo>
                <a:cubicBezTo>
                  <a:pt x="297" y="9"/>
                  <a:pt x="296" y="11"/>
                  <a:pt x="296" y="13"/>
                </a:cubicBezTo>
                <a:lnTo>
                  <a:pt x="297" y="18"/>
                </a:lnTo>
                <a:close/>
              </a:path>
            </a:pathLst>
          </a:cu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lIns="51431" tIns="25715" rIns="51431" bIns="25715" anchor="ctr"/>
          <a:lstStyle/>
          <a:p>
            <a:pPr algn="ctr" defTabSz="507806">
              <a:defRPr/>
            </a:pPr>
            <a:endParaRPr lang="en-US" kern="0" dirty="0" smtClean="0">
              <a:solidFill>
                <a:schemeClr val="accent6"/>
              </a:solidFill>
              <a:latin typeface="+mn-lt"/>
              <a:ea typeface=""/>
              <a:cs typeface="CiscoSansTT Ligh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960027" y="4485828"/>
            <a:ext cx="11174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chemeClr val="bg2"/>
                </a:solidFill>
                <a:latin typeface="+mn-lt"/>
                <a:ea typeface=""/>
                <a:cs typeface=""/>
              </a:rPr>
              <a:t>CUSTOMER DATA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130401" y="4485828"/>
            <a:ext cx="1217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chemeClr val="bg2"/>
                </a:solidFill>
                <a:latin typeface="+mn-lt"/>
                <a:ea typeface=""/>
                <a:cs typeface=""/>
              </a:rPr>
              <a:t>PRODUCTION</a:t>
            </a:r>
          </a:p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chemeClr val="bg2"/>
                </a:solidFill>
                <a:latin typeface="+mn-lt"/>
                <a:ea typeface=""/>
                <a:cs typeface=""/>
              </a:rPr>
              <a:t>NETWORK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716766" y="2766000"/>
            <a:ext cx="1212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SERVICE AVAILABILITY 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768782" y="2766000"/>
            <a:ext cx="12170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PRODUCTION</a:t>
            </a:r>
          </a:p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NETWORK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2162849" y="2380714"/>
            <a:ext cx="319841" cy="375636"/>
            <a:chOff x="4585714" y="753841"/>
            <a:chExt cx="327025" cy="384175"/>
          </a:xfrm>
          <a:solidFill>
            <a:schemeClr val="bg2"/>
          </a:solidFill>
          <a:effectLst/>
        </p:grpSpPr>
        <p:sp>
          <p:nvSpPr>
            <p:cNvPr id="35" name="Freeform 34"/>
            <p:cNvSpPr>
              <a:spLocks/>
            </p:cNvSpPr>
            <p:nvPr/>
          </p:nvSpPr>
          <p:spPr bwMode="auto">
            <a:xfrm flipH="1">
              <a:off x="4585714" y="753841"/>
              <a:ext cx="327025" cy="384175"/>
            </a:xfrm>
            <a:custGeom>
              <a:avLst/>
              <a:gdLst>
                <a:gd name="T0" fmla="*/ 121 w 206"/>
                <a:gd name="T1" fmla="*/ 20 h 242"/>
                <a:gd name="T2" fmla="*/ 124 w 206"/>
                <a:gd name="T3" fmla="*/ 15 h 242"/>
                <a:gd name="T4" fmla="*/ 124 w 206"/>
                <a:gd name="T5" fmla="*/ 7 h 242"/>
                <a:gd name="T6" fmla="*/ 121 w 206"/>
                <a:gd name="T7" fmla="*/ 4 h 242"/>
                <a:gd name="T8" fmla="*/ 112 w 206"/>
                <a:gd name="T9" fmla="*/ 0 h 242"/>
                <a:gd name="T10" fmla="*/ 104 w 206"/>
                <a:gd name="T11" fmla="*/ 4 h 242"/>
                <a:gd name="T12" fmla="*/ 67 w 206"/>
                <a:gd name="T13" fmla="*/ 41 h 242"/>
                <a:gd name="T14" fmla="*/ 63 w 206"/>
                <a:gd name="T15" fmla="*/ 49 h 242"/>
                <a:gd name="T16" fmla="*/ 67 w 206"/>
                <a:gd name="T17" fmla="*/ 58 h 242"/>
                <a:gd name="T18" fmla="*/ 104 w 206"/>
                <a:gd name="T19" fmla="*/ 95 h 242"/>
                <a:gd name="T20" fmla="*/ 112 w 206"/>
                <a:gd name="T21" fmla="*/ 98 h 242"/>
                <a:gd name="T22" fmla="*/ 121 w 206"/>
                <a:gd name="T23" fmla="*/ 95 h 242"/>
                <a:gd name="T24" fmla="*/ 124 w 206"/>
                <a:gd name="T25" fmla="*/ 90 h 242"/>
                <a:gd name="T26" fmla="*/ 124 w 206"/>
                <a:gd name="T27" fmla="*/ 82 h 242"/>
                <a:gd name="T28" fmla="*/ 103 w 206"/>
                <a:gd name="T29" fmla="*/ 59 h 242"/>
                <a:gd name="T30" fmla="*/ 103 w 206"/>
                <a:gd name="T31" fmla="*/ 59 h 242"/>
                <a:gd name="T32" fmla="*/ 134 w 206"/>
                <a:gd name="T33" fmla="*/ 66 h 242"/>
                <a:gd name="T34" fmla="*/ 160 w 206"/>
                <a:gd name="T35" fmla="*/ 84 h 242"/>
                <a:gd name="T36" fmla="*/ 176 w 206"/>
                <a:gd name="T37" fmla="*/ 108 h 242"/>
                <a:gd name="T38" fmla="*/ 183 w 206"/>
                <a:gd name="T39" fmla="*/ 139 h 242"/>
                <a:gd name="T40" fmla="*/ 181 w 206"/>
                <a:gd name="T41" fmla="*/ 156 h 242"/>
                <a:gd name="T42" fmla="*/ 170 w 206"/>
                <a:gd name="T43" fmla="*/ 185 h 242"/>
                <a:gd name="T44" fmla="*/ 148 w 206"/>
                <a:gd name="T45" fmla="*/ 206 h 242"/>
                <a:gd name="T46" fmla="*/ 119 w 206"/>
                <a:gd name="T47" fmla="*/ 218 h 242"/>
                <a:gd name="T48" fmla="*/ 103 w 206"/>
                <a:gd name="T49" fmla="*/ 219 h 242"/>
                <a:gd name="T50" fmla="*/ 72 w 206"/>
                <a:gd name="T51" fmla="*/ 213 h 242"/>
                <a:gd name="T52" fmla="*/ 45 w 206"/>
                <a:gd name="T53" fmla="*/ 197 h 242"/>
                <a:gd name="T54" fmla="*/ 29 w 206"/>
                <a:gd name="T55" fmla="*/ 170 h 242"/>
                <a:gd name="T56" fmla="*/ 23 w 206"/>
                <a:gd name="T57" fmla="*/ 139 h 242"/>
                <a:gd name="T58" fmla="*/ 23 w 206"/>
                <a:gd name="T59" fmla="*/ 136 h 242"/>
                <a:gd name="T60" fmla="*/ 16 w 206"/>
                <a:gd name="T61" fmla="*/ 129 h 242"/>
                <a:gd name="T62" fmla="*/ 11 w 206"/>
                <a:gd name="T63" fmla="*/ 128 h 242"/>
                <a:gd name="T64" fmla="*/ 3 w 206"/>
                <a:gd name="T65" fmla="*/ 131 h 242"/>
                <a:gd name="T66" fmla="*/ 0 w 206"/>
                <a:gd name="T67" fmla="*/ 139 h 242"/>
                <a:gd name="T68" fmla="*/ 1 w 206"/>
                <a:gd name="T69" fmla="*/ 151 h 242"/>
                <a:gd name="T70" fmla="*/ 5 w 206"/>
                <a:gd name="T71" fmla="*/ 170 h 242"/>
                <a:gd name="T72" fmla="*/ 18 w 206"/>
                <a:gd name="T73" fmla="*/ 197 h 242"/>
                <a:gd name="T74" fmla="*/ 45 w 206"/>
                <a:gd name="T75" fmla="*/ 224 h 242"/>
                <a:gd name="T76" fmla="*/ 72 w 206"/>
                <a:gd name="T77" fmla="*/ 237 h 242"/>
                <a:gd name="T78" fmla="*/ 93 w 206"/>
                <a:gd name="T79" fmla="*/ 242 h 242"/>
                <a:gd name="T80" fmla="*/ 103 w 206"/>
                <a:gd name="T81" fmla="*/ 242 h 242"/>
                <a:gd name="T82" fmla="*/ 124 w 206"/>
                <a:gd name="T83" fmla="*/ 241 h 242"/>
                <a:gd name="T84" fmla="*/ 144 w 206"/>
                <a:gd name="T85" fmla="*/ 234 h 242"/>
                <a:gd name="T86" fmla="*/ 176 w 206"/>
                <a:gd name="T87" fmla="*/ 213 h 242"/>
                <a:gd name="T88" fmla="*/ 197 w 206"/>
                <a:gd name="T89" fmla="*/ 180 h 242"/>
                <a:gd name="T90" fmla="*/ 204 w 206"/>
                <a:gd name="T91" fmla="*/ 161 h 242"/>
                <a:gd name="T92" fmla="*/ 206 w 206"/>
                <a:gd name="T93" fmla="*/ 139 h 242"/>
                <a:gd name="T94" fmla="*/ 206 w 206"/>
                <a:gd name="T95" fmla="*/ 129 h 242"/>
                <a:gd name="T96" fmla="*/ 201 w 206"/>
                <a:gd name="T97" fmla="*/ 110 h 242"/>
                <a:gd name="T98" fmla="*/ 188 w 206"/>
                <a:gd name="T99" fmla="*/ 82 h 242"/>
                <a:gd name="T100" fmla="*/ 161 w 206"/>
                <a:gd name="T101" fmla="*/ 54 h 242"/>
                <a:gd name="T102" fmla="*/ 134 w 206"/>
                <a:gd name="T103" fmla="*/ 41 h 242"/>
                <a:gd name="T104" fmla="*/ 114 w 206"/>
                <a:gd name="T105" fmla="*/ 3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6" h="242">
                  <a:moveTo>
                    <a:pt x="104" y="36"/>
                  </a:moveTo>
                  <a:lnTo>
                    <a:pt x="121" y="20"/>
                  </a:lnTo>
                  <a:lnTo>
                    <a:pt x="121" y="20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4" y="7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17" y="0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4" y="4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5" y="44"/>
                  </a:lnTo>
                  <a:lnTo>
                    <a:pt x="63" y="49"/>
                  </a:lnTo>
                  <a:lnTo>
                    <a:pt x="65" y="53"/>
                  </a:lnTo>
                  <a:lnTo>
                    <a:pt x="67" y="58"/>
                  </a:lnTo>
                  <a:lnTo>
                    <a:pt x="104" y="95"/>
                  </a:lnTo>
                  <a:lnTo>
                    <a:pt x="104" y="95"/>
                  </a:lnTo>
                  <a:lnTo>
                    <a:pt x="109" y="97"/>
                  </a:lnTo>
                  <a:lnTo>
                    <a:pt x="112" y="98"/>
                  </a:lnTo>
                  <a:lnTo>
                    <a:pt x="117" y="97"/>
                  </a:lnTo>
                  <a:lnTo>
                    <a:pt x="121" y="95"/>
                  </a:lnTo>
                  <a:lnTo>
                    <a:pt x="121" y="95"/>
                  </a:lnTo>
                  <a:lnTo>
                    <a:pt x="124" y="90"/>
                  </a:lnTo>
                  <a:lnTo>
                    <a:pt x="124" y="87"/>
                  </a:lnTo>
                  <a:lnTo>
                    <a:pt x="124" y="82"/>
                  </a:lnTo>
                  <a:lnTo>
                    <a:pt x="121" y="7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19" y="61"/>
                  </a:lnTo>
                  <a:lnTo>
                    <a:pt x="134" y="66"/>
                  </a:lnTo>
                  <a:lnTo>
                    <a:pt x="148" y="74"/>
                  </a:lnTo>
                  <a:lnTo>
                    <a:pt x="160" y="84"/>
                  </a:lnTo>
                  <a:lnTo>
                    <a:pt x="170" y="95"/>
                  </a:lnTo>
                  <a:lnTo>
                    <a:pt x="176" y="108"/>
                  </a:lnTo>
                  <a:lnTo>
                    <a:pt x="181" y="123"/>
                  </a:lnTo>
                  <a:lnTo>
                    <a:pt x="183" y="139"/>
                  </a:lnTo>
                  <a:lnTo>
                    <a:pt x="183" y="139"/>
                  </a:lnTo>
                  <a:lnTo>
                    <a:pt x="181" y="156"/>
                  </a:lnTo>
                  <a:lnTo>
                    <a:pt x="176" y="170"/>
                  </a:lnTo>
                  <a:lnTo>
                    <a:pt x="170" y="185"/>
                  </a:lnTo>
                  <a:lnTo>
                    <a:pt x="160" y="197"/>
                  </a:lnTo>
                  <a:lnTo>
                    <a:pt x="148" y="206"/>
                  </a:lnTo>
                  <a:lnTo>
                    <a:pt x="134" y="213"/>
                  </a:lnTo>
                  <a:lnTo>
                    <a:pt x="119" y="218"/>
                  </a:lnTo>
                  <a:lnTo>
                    <a:pt x="103" y="219"/>
                  </a:lnTo>
                  <a:lnTo>
                    <a:pt x="103" y="219"/>
                  </a:lnTo>
                  <a:lnTo>
                    <a:pt x="86" y="218"/>
                  </a:lnTo>
                  <a:lnTo>
                    <a:pt x="72" y="213"/>
                  </a:lnTo>
                  <a:lnTo>
                    <a:pt x="58" y="206"/>
                  </a:lnTo>
                  <a:lnTo>
                    <a:pt x="45" y="197"/>
                  </a:lnTo>
                  <a:lnTo>
                    <a:pt x="36" y="185"/>
                  </a:lnTo>
                  <a:lnTo>
                    <a:pt x="29" y="170"/>
                  </a:lnTo>
                  <a:lnTo>
                    <a:pt x="24" y="156"/>
                  </a:lnTo>
                  <a:lnTo>
                    <a:pt x="23" y="139"/>
                  </a:lnTo>
                  <a:lnTo>
                    <a:pt x="23" y="139"/>
                  </a:lnTo>
                  <a:lnTo>
                    <a:pt x="23" y="136"/>
                  </a:lnTo>
                  <a:lnTo>
                    <a:pt x="19" y="131"/>
                  </a:lnTo>
                  <a:lnTo>
                    <a:pt x="16" y="129"/>
                  </a:lnTo>
                  <a:lnTo>
                    <a:pt x="11" y="128"/>
                  </a:lnTo>
                  <a:lnTo>
                    <a:pt x="11" y="128"/>
                  </a:lnTo>
                  <a:lnTo>
                    <a:pt x="6" y="129"/>
                  </a:lnTo>
                  <a:lnTo>
                    <a:pt x="3" y="131"/>
                  </a:lnTo>
                  <a:lnTo>
                    <a:pt x="1" y="13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1" y="151"/>
                  </a:lnTo>
                  <a:lnTo>
                    <a:pt x="1" y="161"/>
                  </a:lnTo>
                  <a:lnTo>
                    <a:pt x="5" y="170"/>
                  </a:lnTo>
                  <a:lnTo>
                    <a:pt x="8" y="180"/>
                  </a:lnTo>
                  <a:lnTo>
                    <a:pt x="18" y="197"/>
                  </a:lnTo>
                  <a:lnTo>
                    <a:pt x="31" y="213"/>
                  </a:lnTo>
                  <a:lnTo>
                    <a:pt x="45" y="224"/>
                  </a:lnTo>
                  <a:lnTo>
                    <a:pt x="63" y="234"/>
                  </a:lnTo>
                  <a:lnTo>
                    <a:pt x="72" y="237"/>
                  </a:lnTo>
                  <a:lnTo>
                    <a:pt x="81" y="241"/>
                  </a:lnTo>
                  <a:lnTo>
                    <a:pt x="93" y="242"/>
                  </a:lnTo>
                  <a:lnTo>
                    <a:pt x="103" y="242"/>
                  </a:lnTo>
                  <a:lnTo>
                    <a:pt x="103" y="242"/>
                  </a:lnTo>
                  <a:lnTo>
                    <a:pt x="114" y="242"/>
                  </a:lnTo>
                  <a:lnTo>
                    <a:pt x="124" y="241"/>
                  </a:lnTo>
                  <a:lnTo>
                    <a:pt x="134" y="237"/>
                  </a:lnTo>
                  <a:lnTo>
                    <a:pt x="144" y="234"/>
                  </a:lnTo>
                  <a:lnTo>
                    <a:pt x="160" y="224"/>
                  </a:lnTo>
                  <a:lnTo>
                    <a:pt x="176" y="213"/>
                  </a:lnTo>
                  <a:lnTo>
                    <a:pt x="188" y="197"/>
                  </a:lnTo>
                  <a:lnTo>
                    <a:pt x="197" y="180"/>
                  </a:lnTo>
                  <a:lnTo>
                    <a:pt x="201" y="170"/>
                  </a:lnTo>
                  <a:lnTo>
                    <a:pt x="204" y="161"/>
                  </a:lnTo>
                  <a:lnTo>
                    <a:pt x="206" y="151"/>
                  </a:lnTo>
                  <a:lnTo>
                    <a:pt x="206" y="139"/>
                  </a:lnTo>
                  <a:lnTo>
                    <a:pt x="206" y="139"/>
                  </a:lnTo>
                  <a:lnTo>
                    <a:pt x="206" y="129"/>
                  </a:lnTo>
                  <a:lnTo>
                    <a:pt x="204" y="120"/>
                  </a:lnTo>
                  <a:lnTo>
                    <a:pt x="201" y="110"/>
                  </a:lnTo>
                  <a:lnTo>
                    <a:pt x="197" y="100"/>
                  </a:lnTo>
                  <a:lnTo>
                    <a:pt x="188" y="82"/>
                  </a:lnTo>
                  <a:lnTo>
                    <a:pt x="176" y="67"/>
                  </a:lnTo>
                  <a:lnTo>
                    <a:pt x="161" y="54"/>
                  </a:lnTo>
                  <a:lnTo>
                    <a:pt x="144" y="44"/>
                  </a:lnTo>
                  <a:lnTo>
                    <a:pt x="134" y="41"/>
                  </a:lnTo>
                  <a:lnTo>
                    <a:pt x="124" y="40"/>
                  </a:lnTo>
                  <a:lnTo>
                    <a:pt x="114" y="38"/>
                  </a:lnTo>
                  <a:lnTo>
                    <a:pt x="104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1"/>
                </a:solidFill>
                <a:latin typeface="+mn-lt"/>
                <a:ea typeface=""/>
                <a:cs typeface="CiscoSansTT Light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4694265" y="910717"/>
              <a:ext cx="147638" cy="125412"/>
            </a:xfrm>
            <a:custGeom>
              <a:avLst/>
              <a:gdLst>
                <a:gd name="T0" fmla="*/ 74 w 93"/>
                <a:gd name="T1" fmla="*/ 4 h 79"/>
                <a:gd name="T2" fmla="*/ 39 w 93"/>
                <a:gd name="T3" fmla="*/ 53 h 79"/>
                <a:gd name="T4" fmla="*/ 18 w 93"/>
                <a:gd name="T5" fmla="*/ 30 h 79"/>
                <a:gd name="T6" fmla="*/ 18 w 93"/>
                <a:gd name="T7" fmla="*/ 30 h 79"/>
                <a:gd name="T8" fmla="*/ 15 w 93"/>
                <a:gd name="T9" fmla="*/ 28 h 79"/>
                <a:gd name="T10" fmla="*/ 10 w 93"/>
                <a:gd name="T11" fmla="*/ 27 h 79"/>
                <a:gd name="T12" fmla="*/ 7 w 93"/>
                <a:gd name="T13" fmla="*/ 28 h 79"/>
                <a:gd name="T14" fmla="*/ 3 w 93"/>
                <a:gd name="T15" fmla="*/ 30 h 79"/>
                <a:gd name="T16" fmla="*/ 3 w 93"/>
                <a:gd name="T17" fmla="*/ 30 h 79"/>
                <a:gd name="T18" fmla="*/ 0 w 93"/>
                <a:gd name="T19" fmla="*/ 33 h 79"/>
                <a:gd name="T20" fmla="*/ 0 w 93"/>
                <a:gd name="T21" fmla="*/ 38 h 79"/>
                <a:gd name="T22" fmla="*/ 0 w 93"/>
                <a:gd name="T23" fmla="*/ 41 h 79"/>
                <a:gd name="T24" fmla="*/ 3 w 93"/>
                <a:gd name="T25" fmla="*/ 46 h 79"/>
                <a:gd name="T26" fmla="*/ 34 w 93"/>
                <a:gd name="T27" fmla="*/ 77 h 79"/>
                <a:gd name="T28" fmla="*/ 34 w 93"/>
                <a:gd name="T29" fmla="*/ 77 h 79"/>
                <a:gd name="T30" fmla="*/ 34 w 93"/>
                <a:gd name="T31" fmla="*/ 77 h 79"/>
                <a:gd name="T32" fmla="*/ 34 w 93"/>
                <a:gd name="T33" fmla="*/ 77 h 79"/>
                <a:gd name="T34" fmla="*/ 36 w 93"/>
                <a:gd name="T35" fmla="*/ 77 h 79"/>
                <a:gd name="T36" fmla="*/ 36 w 93"/>
                <a:gd name="T37" fmla="*/ 77 h 79"/>
                <a:gd name="T38" fmla="*/ 36 w 93"/>
                <a:gd name="T39" fmla="*/ 79 h 79"/>
                <a:gd name="T40" fmla="*/ 36 w 93"/>
                <a:gd name="T41" fmla="*/ 79 h 79"/>
                <a:gd name="T42" fmla="*/ 39 w 93"/>
                <a:gd name="T43" fmla="*/ 79 h 79"/>
                <a:gd name="T44" fmla="*/ 39 w 93"/>
                <a:gd name="T45" fmla="*/ 79 h 79"/>
                <a:gd name="T46" fmla="*/ 41 w 93"/>
                <a:gd name="T47" fmla="*/ 79 h 79"/>
                <a:gd name="T48" fmla="*/ 41 w 93"/>
                <a:gd name="T49" fmla="*/ 79 h 79"/>
                <a:gd name="T50" fmla="*/ 43 w 93"/>
                <a:gd name="T51" fmla="*/ 79 h 79"/>
                <a:gd name="T52" fmla="*/ 43 w 93"/>
                <a:gd name="T53" fmla="*/ 79 h 79"/>
                <a:gd name="T54" fmla="*/ 44 w 93"/>
                <a:gd name="T55" fmla="*/ 79 h 79"/>
                <a:gd name="T56" fmla="*/ 44 w 93"/>
                <a:gd name="T57" fmla="*/ 79 h 79"/>
                <a:gd name="T58" fmla="*/ 46 w 93"/>
                <a:gd name="T59" fmla="*/ 79 h 79"/>
                <a:gd name="T60" fmla="*/ 46 w 93"/>
                <a:gd name="T61" fmla="*/ 79 h 79"/>
                <a:gd name="T62" fmla="*/ 48 w 93"/>
                <a:gd name="T63" fmla="*/ 77 h 79"/>
                <a:gd name="T64" fmla="*/ 48 w 93"/>
                <a:gd name="T65" fmla="*/ 77 h 79"/>
                <a:gd name="T66" fmla="*/ 49 w 93"/>
                <a:gd name="T67" fmla="*/ 77 h 79"/>
                <a:gd name="T68" fmla="*/ 49 w 93"/>
                <a:gd name="T69" fmla="*/ 77 h 79"/>
                <a:gd name="T70" fmla="*/ 49 w 93"/>
                <a:gd name="T71" fmla="*/ 76 h 79"/>
                <a:gd name="T72" fmla="*/ 49 w 93"/>
                <a:gd name="T73" fmla="*/ 76 h 79"/>
                <a:gd name="T74" fmla="*/ 51 w 93"/>
                <a:gd name="T75" fmla="*/ 76 h 79"/>
                <a:gd name="T76" fmla="*/ 92 w 93"/>
                <a:gd name="T77" fmla="*/ 17 h 79"/>
                <a:gd name="T78" fmla="*/ 92 w 93"/>
                <a:gd name="T79" fmla="*/ 17 h 79"/>
                <a:gd name="T80" fmla="*/ 93 w 93"/>
                <a:gd name="T81" fmla="*/ 12 h 79"/>
                <a:gd name="T82" fmla="*/ 93 w 93"/>
                <a:gd name="T83" fmla="*/ 9 h 79"/>
                <a:gd name="T84" fmla="*/ 92 w 93"/>
                <a:gd name="T85" fmla="*/ 4 h 79"/>
                <a:gd name="T86" fmla="*/ 88 w 93"/>
                <a:gd name="T87" fmla="*/ 2 h 79"/>
                <a:gd name="T88" fmla="*/ 88 w 93"/>
                <a:gd name="T89" fmla="*/ 2 h 79"/>
                <a:gd name="T90" fmla="*/ 85 w 93"/>
                <a:gd name="T91" fmla="*/ 0 h 79"/>
                <a:gd name="T92" fmla="*/ 80 w 93"/>
                <a:gd name="T93" fmla="*/ 0 h 79"/>
                <a:gd name="T94" fmla="*/ 77 w 93"/>
                <a:gd name="T95" fmla="*/ 0 h 79"/>
                <a:gd name="T96" fmla="*/ 74 w 93"/>
                <a:gd name="T97" fmla="*/ 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3" h="79">
                  <a:moveTo>
                    <a:pt x="74" y="4"/>
                  </a:moveTo>
                  <a:lnTo>
                    <a:pt x="39" y="53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5" y="28"/>
                  </a:lnTo>
                  <a:lnTo>
                    <a:pt x="10" y="27"/>
                  </a:lnTo>
                  <a:lnTo>
                    <a:pt x="7" y="28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0" y="33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3" y="46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4" y="79"/>
                  </a:lnTo>
                  <a:lnTo>
                    <a:pt x="44" y="79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51" y="76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3" y="12"/>
                  </a:lnTo>
                  <a:lnTo>
                    <a:pt x="93" y="9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5" y="0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1"/>
                </a:solidFill>
                <a:latin typeface="+mn-lt"/>
                <a:ea typeface=""/>
                <a:cs typeface="CiscoSansTT Light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3197597" y="4086266"/>
            <a:ext cx="359429" cy="346417"/>
            <a:chOff x="162021" y="2184488"/>
            <a:chExt cx="423252" cy="381519"/>
          </a:xfrm>
          <a:solidFill>
            <a:schemeClr val="bg2"/>
          </a:solidFill>
        </p:grpSpPr>
        <p:sp>
          <p:nvSpPr>
            <p:cNvPr id="38" name="Rounded Rectangle 37"/>
            <p:cNvSpPr/>
            <p:nvPr/>
          </p:nvSpPr>
          <p:spPr>
            <a:xfrm>
              <a:off x="177941" y="2353371"/>
              <a:ext cx="407332" cy="212636"/>
            </a:xfrm>
            <a:prstGeom prst="roundRect">
              <a:avLst>
                <a:gd name="adj" fmla="val 2652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1" kern="0" dirty="0">
                <a:solidFill>
                  <a:srgbClr val="FFFFFF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39" name="Freeform 38"/>
            <p:cNvSpPr/>
            <p:nvPr/>
          </p:nvSpPr>
          <p:spPr>
            <a:xfrm>
              <a:off x="177941" y="2290819"/>
              <a:ext cx="407332" cy="60892"/>
            </a:xfrm>
            <a:custGeom>
              <a:avLst/>
              <a:gdLst>
                <a:gd name="connsiteX0" fmla="*/ 362924 w 444163"/>
                <a:gd name="connsiteY0" fmla="*/ 3018 h 66380"/>
                <a:gd name="connsiteX1" fmla="*/ 303776 w 444163"/>
                <a:gd name="connsiteY1" fmla="*/ 63363 h 66380"/>
                <a:gd name="connsiteX2" fmla="*/ 376282 w 444163"/>
                <a:gd name="connsiteY2" fmla="*/ 63363 h 66380"/>
                <a:gd name="connsiteX3" fmla="*/ 435430 w 444163"/>
                <a:gd name="connsiteY3" fmla="*/ 3018 h 66380"/>
                <a:gd name="connsiteX4" fmla="*/ 217675 w 444163"/>
                <a:gd name="connsiteY4" fmla="*/ 3018 h 66380"/>
                <a:gd name="connsiteX5" fmla="*/ 158527 w 444163"/>
                <a:gd name="connsiteY5" fmla="*/ 63363 h 66380"/>
                <a:gd name="connsiteX6" fmla="*/ 231033 w 444163"/>
                <a:gd name="connsiteY6" fmla="*/ 63363 h 66380"/>
                <a:gd name="connsiteX7" fmla="*/ 290181 w 444163"/>
                <a:gd name="connsiteY7" fmla="*/ 3018 h 66380"/>
                <a:gd name="connsiteX8" fmla="*/ 72542 w 444163"/>
                <a:gd name="connsiteY8" fmla="*/ 3018 h 66380"/>
                <a:gd name="connsiteX9" fmla="*/ 13394 w 444163"/>
                <a:gd name="connsiteY9" fmla="*/ 63363 h 66380"/>
                <a:gd name="connsiteX10" fmla="*/ 85900 w 444163"/>
                <a:gd name="connsiteY10" fmla="*/ 63363 h 66380"/>
                <a:gd name="connsiteX11" fmla="*/ 145048 w 444163"/>
                <a:gd name="connsiteY11" fmla="*/ 3018 h 66380"/>
                <a:gd name="connsiteX12" fmla="*/ 11064 w 444163"/>
                <a:gd name="connsiteY12" fmla="*/ 0 h 66380"/>
                <a:gd name="connsiteX13" fmla="*/ 433099 w 444163"/>
                <a:gd name="connsiteY13" fmla="*/ 0 h 66380"/>
                <a:gd name="connsiteX14" fmla="*/ 444163 w 444163"/>
                <a:gd name="connsiteY14" fmla="*/ 11064 h 66380"/>
                <a:gd name="connsiteX15" fmla="*/ 444163 w 444163"/>
                <a:gd name="connsiteY15" fmla="*/ 55316 h 66380"/>
                <a:gd name="connsiteX16" fmla="*/ 433099 w 444163"/>
                <a:gd name="connsiteY16" fmla="*/ 66380 h 66380"/>
                <a:gd name="connsiteX17" fmla="*/ 11064 w 444163"/>
                <a:gd name="connsiteY17" fmla="*/ 66380 h 66380"/>
                <a:gd name="connsiteX18" fmla="*/ 0 w 444163"/>
                <a:gd name="connsiteY18" fmla="*/ 55316 h 66380"/>
                <a:gd name="connsiteX19" fmla="*/ 0 w 444163"/>
                <a:gd name="connsiteY19" fmla="*/ 11064 h 66380"/>
                <a:gd name="connsiteX20" fmla="*/ 11064 w 444163"/>
                <a:gd name="connsiteY20" fmla="*/ 0 h 6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4163" h="66380">
                  <a:moveTo>
                    <a:pt x="362924" y="3018"/>
                  </a:moveTo>
                  <a:lnTo>
                    <a:pt x="303776" y="63363"/>
                  </a:lnTo>
                  <a:lnTo>
                    <a:pt x="376282" y="63363"/>
                  </a:lnTo>
                  <a:lnTo>
                    <a:pt x="435430" y="3018"/>
                  </a:lnTo>
                  <a:close/>
                  <a:moveTo>
                    <a:pt x="217675" y="3018"/>
                  </a:moveTo>
                  <a:lnTo>
                    <a:pt x="158527" y="63363"/>
                  </a:lnTo>
                  <a:lnTo>
                    <a:pt x="231033" y="63363"/>
                  </a:lnTo>
                  <a:lnTo>
                    <a:pt x="290181" y="3018"/>
                  </a:lnTo>
                  <a:close/>
                  <a:moveTo>
                    <a:pt x="72542" y="3018"/>
                  </a:moveTo>
                  <a:lnTo>
                    <a:pt x="13394" y="63363"/>
                  </a:lnTo>
                  <a:lnTo>
                    <a:pt x="85900" y="63363"/>
                  </a:lnTo>
                  <a:lnTo>
                    <a:pt x="145048" y="3018"/>
                  </a:lnTo>
                  <a:close/>
                  <a:moveTo>
                    <a:pt x="11064" y="0"/>
                  </a:moveTo>
                  <a:lnTo>
                    <a:pt x="433099" y="0"/>
                  </a:lnTo>
                  <a:cubicBezTo>
                    <a:pt x="439209" y="0"/>
                    <a:pt x="444163" y="4954"/>
                    <a:pt x="444163" y="11064"/>
                  </a:cubicBezTo>
                  <a:lnTo>
                    <a:pt x="444163" y="55316"/>
                  </a:lnTo>
                  <a:cubicBezTo>
                    <a:pt x="444163" y="61426"/>
                    <a:pt x="439209" y="66380"/>
                    <a:pt x="433099" y="66380"/>
                  </a:cubicBezTo>
                  <a:lnTo>
                    <a:pt x="11064" y="66380"/>
                  </a:lnTo>
                  <a:cubicBezTo>
                    <a:pt x="4954" y="66380"/>
                    <a:pt x="0" y="61426"/>
                    <a:pt x="0" y="55316"/>
                  </a:cubicBezTo>
                  <a:lnTo>
                    <a:pt x="0" y="11064"/>
                  </a:lnTo>
                  <a:cubicBezTo>
                    <a:pt x="0" y="4954"/>
                    <a:pt x="4954" y="0"/>
                    <a:pt x="1106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>
                <a:solidFill>
                  <a:srgbClr val="FFFFFF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40" name="Freeform 39"/>
            <p:cNvSpPr/>
            <p:nvPr/>
          </p:nvSpPr>
          <p:spPr>
            <a:xfrm rot="20729993">
              <a:off x="162021" y="2184488"/>
              <a:ext cx="414118" cy="60892"/>
            </a:xfrm>
            <a:custGeom>
              <a:avLst/>
              <a:gdLst>
                <a:gd name="connsiteX0" fmla="*/ 147463 w 451563"/>
                <a:gd name="connsiteY0" fmla="*/ 3018 h 66380"/>
                <a:gd name="connsiteX1" fmla="*/ 72764 w 451563"/>
                <a:gd name="connsiteY1" fmla="*/ 3018 h 66380"/>
                <a:gd name="connsiteX2" fmla="*/ 13617 w 451563"/>
                <a:gd name="connsiteY2" fmla="*/ 63363 h 66380"/>
                <a:gd name="connsiteX3" fmla="*/ 88316 w 451563"/>
                <a:gd name="connsiteY3" fmla="*/ 63363 h 66380"/>
                <a:gd name="connsiteX4" fmla="*/ 295015 w 451563"/>
                <a:gd name="connsiteY4" fmla="*/ 3019 h 66380"/>
                <a:gd name="connsiteX5" fmla="*/ 220316 w 451563"/>
                <a:gd name="connsiteY5" fmla="*/ 3019 h 66380"/>
                <a:gd name="connsiteX6" fmla="*/ 161168 w 451563"/>
                <a:gd name="connsiteY6" fmla="*/ 63363 h 66380"/>
                <a:gd name="connsiteX7" fmla="*/ 235867 w 451563"/>
                <a:gd name="connsiteY7" fmla="*/ 63363 h 66380"/>
                <a:gd name="connsiteX8" fmla="*/ 442684 w 451563"/>
                <a:gd name="connsiteY8" fmla="*/ 3018 h 66380"/>
                <a:gd name="connsiteX9" fmla="*/ 367985 w 451563"/>
                <a:gd name="connsiteY9" fmla="*/ 3018 h 66380"/>
                <a:gd name="connsiteX10" fmla="*/ 308837 w 451563"/>
                <a:gd name="connsiteY10" fmla="*/ 63363 h 66380"/>
                <a:gd name="connsiteX11" fmla="*/ 383536 w 451563"/>
                <a:gd name="connsiteY11" fmla="*/ 63363 h 66380"/>
                <a:gd name="connsiteX12" fmla="*/ 440499 w 451563"/>
                <a:gd name="connsiteY12" fmla="*/ 0 h 66380"/>
                <a:gd name="connsiteX13" fmla="*/ 451563 w 451563"/>
                <a:gd name="connsiteY13" fmla="*/ 11064 h 66380"/>
                <a:gd name="connsiteX14" fmla="*/ 451563 w 451563"/>
                <a:gd name="connsiteY14" fmla="*/ 55316 h 66380"/>
                <a:gd name="connsiteX15" fmla="*/ 440499 w 451563"/>
                <a:gd name="connsiteY15" fmla="*/ 66380 h 66380"/>
                <a:gd name="connsiteX16" fmla="*/ 11064 w 451563"/>
                <a:gd name="connsiteY16" fmla="*/ 66380 h 66380"/>
                <a:gd name="connsiteX17" fmla="*/ 0 w 451563"/>
                <a:gd name="connsiteY17" fmla="*/ 55316 h 66380"/>
                <a:gd name="connsiteX18" fmla="*/ 0 w 451563"/>
                <a:gd name="connsiteY18" fmla="*/ 11064 h 66380"/>
                <a:gd name="connsiteX19" fmla="*/ 11064 w 451563"/>
                <a:gd name="connsiteY19" fmla="*/ 0 h 6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563" h="66380">
                  <a:moveTo>
                    <a:pt x="147463" y="3018"/>
                  </a:moveTo>
                  <a:lnTo>
                    <a:pt x="72764" y="3018"/>
                  </a:lnTo>
                  <a:lnTo>
                    <a:pt x="13617" y="63363"/>
                  </a:lnTo>
                  <a:lnTo>
                    <a:pt x="88316" y="63363"/>
                  </a:lnTo>
                  <a:close/>
                  <a:moveTo>
                    <a:pt x="295015" y="3019"/>
                  </a:moveTo>
                  <a:lnTo>
                    <a:pt x="220316" y="3019"/>
                  </a:lnTo>
                  <a:lnTo>
                    <a:pt x="161168" y="63363"/>
                  </a:lnTo>
                  <a:lnTo>
                    <a:pt x="235867" y="63363"/>
                  </a:lnTo>
                  <a:close/>
                  <a:moveTo>
                    <a:pt x="442684" y="3018"/>
                  </a:moveTo>
                  <a:lnTo>
                    <a:pt x="367985" y="3018"/>
                  </a:lnTo>
                  <a:lnTo>
                    <a:pt x="308837" y="63363"/>
                  </a:lnTo>
                  <a:lnTo>
                    <a:pt x="383536" y="63363"/>
                  </a:lnTo>
                  <a:close/>
                  <a:moveTo>
                    <a:pt x="440499" y="0"/>
                  </a:moveTo>
                  <a:cubicBezTo>
                    <a:pt x="446609" y="0"/>
                    <a:pt x="451563" y="4954"/>
                    <a:pt x="451563" y="11064"/>
                  </a:cubicBezTo>
                  <a:lnTo>
                    <a:pt x="451563" y="55316"/>
                  </a:lnTo>
                  <a:cubicBezTo>
                    <a:pt x="451563" y="61426"/>
                    <a:pt x="446609" y="66380"/>
                    <a:pt x="440499" y="66380"/>
                  </a:cubicBezTo>
                  <a:lnTo>
                    <a:pt x="11064" y="66380"/>
                  </a:lnTo>
                  <a:cubicBezTo>
                    <a:pt x="4954" y="66380"/>
                    <a:pt x="0" y="61426"/>
                    <a:pt x="0" y="55316"/>
                  </a:cubicBezTo>
                  <a:lnTo>
                    <a:pt x="0" y="11064"/>
                  </a:lnTo>
                  <a:cubicBezTo>
                    <a:pt x="0" y="4954"/>
                    <a:pt x="4954" y="0"/>
                    <a:pt x="1106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>
                <a:solidFill>
                  <a:srgbClr val="FFFFFF"/>
                </a:solidFill>
                <a:latin typeface="+mn-lt"/>
                <a:ea typeface=""/>
                <a:cs typeface="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2896974" y="4555078"/>
            <a:ext cx="9606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CONTENT</a:t>
            </a:r>
          </a:p>
        </p:txBody>
      </p:sp>
      <p:sp>
        <p:nvSpPr>
          <p:cNvPr id="42" name="Freeform 48"/>
          <p:cNvSpPr>
            <a:spLocks/>
          </p:cNvSpPr>
          <p:nvPr/>
        </p:nvSpPr>
        <p:spPr bwMode="auto">
          <a:xfrm>
            <a:off x="3098999" y="2385398"/>
            <a:ext cx="556625" cy="366268"/>
          </a:xfrm>
          <a:custGeom>
            <a:avLst/>
            <a:gdLst>
              <a:gd name="T0" fmla="*/ 361 w 432"/>
              <a:gd name="T1" fmla="*/ 121 h 268"/>
              <a:gd name="T2" fmla="*/ 364 w 432"/>
              <a:gd name="T3" fmla="*/ 96 h 268"/>
              <a:gd name="T4" fmla="*/ 268 w 432"/>
              <a:gd name="T5" fmla="*/ 0 h 268"/>
              <a:gd name="T6" fmla="*/ 175 w 432"/>
              <a:gd name="T7" fmla="*/ 71 h 268"/>
              <a:gd name="T8" fmla="*/ 138 w 432"/>
              <a:gd name="T9" fmla="*/ 62 h 268"/>
              <a:gd name="T10" fmla="*/ 54 w 432"/>
              <a:gd name="T11" fmla="*/ 146 h 268"/>
              <a:gd name="T12" fmla="*/ 55 w 432"/>
              <a:gd name="T13" fmla="*/ 156 h 268"/>
              <a:gd name="T14" fmla="*/ 54 w 432"/>
              <a:gd name="T15" fmla="*/ 156 h 268"/>
              <a:gd name="T16" fmla="*/ 0 w 432"/>
              <a:gd name="T17" fmla="*/ 212 h 268"/>
              <a:gd name="T18" fmla="*/ 54 w 432"/>
              <a:gd name="T19" fmla="*/ 268 h 268"/>
              <a:gd name="T20" fmla="*/ 360 w 432"/>
              <a:gd name="T21" fmla="*/ 268 h 268"/>
              <a:gd name="T22" fmla="*/ 432 w 432"/>
              <a:gd name="T23" fmla="*/ 194 h 268"/>
              <a:gd name="T24" fmla="*/ 361 w 432"/>
              <a:gd name="T25" fmla="*/ 12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2" h="268">
                <a:moveTo>
                  <a:pt x="361" y="121"/>
                </a:moveTo>
                <a:cubicBezTo>
                  <a:pt x="363" y="113"/>
                  <a:pt x="364" y="104"/>
                  <a:pt x="364" y="96"/>
                </a:cubicBezTo>
                <a:cubicBezTo>
                  <a:pt x="364" y="43"/>
                  <a:pt x="321" y="0"/>
                  <a:pt x="268" y="0"/>
                </a:cubicBezTo>
                <a:cubicBezTo>
                  <a:pt x="224" y="0"/>
                  <a:pt x="186" y="30"/>
                  <a:pt x="175" y="71"/>
                </a:cubicBezTo>
                <a:cubicBezTo>
                  <a:pt x="164" y="65"/>
                  <a:pt x="151" y="62"/>
                  <a:pt x="138" y="62"/>
                </a:cubicBezTo>
                <a:cubicBezTo>
                  <a:pt x="92" y="62"/>
                  <a:pt x="54" y="100"/>
                  <a:pt x="54" y="146"/>
                </a:cubicBezTo>
                <a:cubicBezTo>
                  <a:pt x="54" y="149"/>
                  <a:pt x="54" y="153"/>
                  <a:pt x="55" y="156"/>
                </a:cubicBezTo>
                <a:cubicBezTo>
                  <a:pt x="54" y="156"/>
                  <a:pt x="54" y="156"/>
                  <a:pt x="54" y="156"/>
                </a:cubicBezTo>
                <a:cubicBezTo>
                  <a:pt x="24" y="156"/>
                  <a:pt x="0" y="182"/>
                  <a:pt x="0" y="212"/>
                </a:cubicBezTo>
                <a:cubicBezTo>
                  <a:pt x="0" y="242"/>
                  <a:pt x="24" y="268"/>
                  <a:pt x="54" y="268"/>
                </a:cubicBezTo>
                <a:cubicBezTo>
                  <a:pt x="360" y="268"/>
                  <a:pt x="360" y="268"/>
                  <a:pt x="360" y="268"/>
                </a:cubicBezTo>
                <a:cubicBezTo>
                  <a:pt x="400" y="268"/>
                  <a:pt x="432" y="234"/>
                  <a:pt x="432" y="194"/>
                </a:cubicBezTo>
                <a:cubicBezTo>
                  <a:pt x="432" y="155"/>
                  <a:pt x="400" y="121"/>
                  <a:pt x="361" y="121"/>
                </a:cubicBezTo>
                <a:close/>
              </a:path>
            </a:pathLst>
          </a:cu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lIns="68547" tIns="34274" rIns="68547" bIns="34274" rtlCol="0" anchor="ctr"/>
          <a:lstStyle/>
          <a:p>
            <a:pPr algn="ctr" defTabSz="51336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kern="0" dirty="0">
              <a:solidFill>
                <a:schemeClr val="accent1"/>
              </a:solidFill>
              <a:latin typeface="+mn-lt"/>
              <a:ea typeface=""/>
              <a:cs typeface="CiscoSansTT Light"/>
            </a:endParaRPr>
          </a:p>
          <a:p>
            <a:pPr algn="ctr" defTabSz="5133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chemeClr val="accent1"/>
                </a:solidFill>
                <a:latin typeface="+mn-lt"/>
                <a:ea typeface=""/>
                <a:cs typeface="CiscoSansTT Light"/>
              </a:rPr>
              <a:t>WAN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2910534" y="2320249"/>
            <a:ext cx="246923" cy="134852"/>
            <a:chOff x="4949825" y="4089400"/>
            <a:chExt cx="3389313" cy="1590675"/>
          </a:xfrm>
          <a:solidFill>
            <a:schemeClr val="bg2"/>
          </a:solidFill>
          <a:effectLst/>
        </p:grpSpPr>
        <p:sp>
          <p:nvSpPr>
            <p:cNvPr id="44" name="Freeform 32"/>
            <p:cNvSpPr>
              <a:spLocks/>
            </p:cNvSpPr>
            <p:nvPr/>
          </p:nvSpPr>
          <p:spPr bwMode="auto">
            <a:xfrm>
              <a:off x="4949825" y="4829175"/>
              <a:ext cx="3389313" cy="850900"/>
            </a:xfrm>
            <a:custGeom>
              <a:avLst/>
              <a:gdLst>
                <a:gd name="T0" fmla="*/ 1 w 904"/>
                <a:gd name="T1" fmla="*/ 2 h 227"/>
                <a:gd name="T2" fmla="*/ 1 w 904"/>
                <a:gd name="T3" fmla="*/ 2 h 227"/>
                <a:gd name="T4" fmla="*/ 0 w 904"/>
                <a:gd name="T5" fmla="*/ 3 h 227"/>
                <a:gd name="T6" fmla="*/ 0 w 904"/>
                <a:gd name="T7" fmla="*/ 3 h 227"/>
                <a:gd name="T8" fmla="*/ 0 w 904"/>
                <a:gd name="T9" fmla="*/ 4 h 227"/>
                <a:gd name="T10" fmla="*/ 0 w 904"/>
                <a:gd name="T11" fmla="*/ 211 h 227"/>
                <a:gd name="T12" fmla="*/ 23 w 904"/>
                <a:gd name="T13" fmla="*/ 227 h 227"/>
                <a:gd name="T14" fmla="*/ 881 w 904"/>
                <a:gd name="T15" fmla="*/ 227 h 227"/>
                <a:gd name="T16" fmla="*/ 904 w 904"/>
                <a:gd name="T17" fmla="*/ 211 h 227"/>
                <a:gd name="T18" fmla="*/ 904 w 904"/>
                <a:gd name="T19" fmla="*/ 4 h 227"/>
                <a:gd name="T20" fmla="*/ 903 w 904"/>
                <a:gd name="T21" fmla="*/ 3 h 227"/>
                <a:gd name="T22" fmla="*/ 903 w 904"/>
                <a:gd name="T23" fmla="*/ 3 h 227"/>
                <a:gd name="T24" fmla="*/ 902 w 904"/>
                <a:gd name="T25" fmla="*/ 0 h 227"/>
                <a:gd name="T26" fmla="*/ 2 w 904"/>
                <a:gd name="T27" fmla="*/ 0 h 227"/>
                <a:gd name="T28" fmla="*/ 1 w 904"/>
                <a:gd name="T29" fmla="*/ 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4" h="227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189"/>
                    <a:pt x="0" y="211"/>
                    <a:pt x="0" y="211"/>
                  </a:cubicBezTo>
                  <a:cubicBezTo>
                    <a:pt x="0" y="217"/>
                    <a:pt x="3" y="227"/>
                    <a:pt x="23" y="227"/>
                  </a:cubicBezTo>
                  <a:cubicBezTo>
                    <a:pt x="881" y="227"/>
                    <a:pt x="881" y="227"/>
                    <a:pt x="881" y="227"/>
                  </a:cubicBezTo>
                  <a:cubicBezTo>
                    <a:pt x="899" y="227"/>
                    <a:pt x="904" y="219"/>
                    <a:pt x="904" y="211"/>
                  </a:cubicBezTo>
                  <a:cubicBezTo>
                    <a:pt x="904" y="4"/>
                    <a:pt x="904" y="4"/>
                    <a:pt x="904" y="4"/>
                  </a:cubicBezTo>
                  <a:cubicBezTo>
                    <a:pt x="904" y="4"/>
                    <a:pt x="903" y="4"/>
                    <a:pt x="903" y="3"/>
                  </a:cubicBezTo>
                  <a:cubicBezTo>
                    <a:pt x="903" y="3"/>
                    <a:pt x="903" y="3"/>
                    <a:pt x="903" y="3"/>
                  </a:cubicBezTo>
                  <a:cubicBezTo>
                    <a:pt x="903" y="3"/>
                    <a:pt x="903" y="2"/>
                    <a:pt x="90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1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45" name="Freeform 33"/>
            <p:cNvSpPr>
              <a:spLocks noEditPoints="1"/>
            </p:cNvSpPr>
            <p:nvPr/>
          </p:nvSpPr>
          <p:spPr bwMode="auto">
            <a:xfrm>
              <a:off x="4956175" y="4089400"/>
              <a:ext cx="3375025" cy="682625"/>
            </a:xfrm>
            <a:custGeom>
              <a:avLst/>
              <a:gdLst>
                <a:gd name="T0" fmla="*/ 792 w 900"/>
                <a:gd name="T1" fmla="*/ 0 h 182"/>
                <a:gd name="T2" fmla="*/ 84 w 900"/>
                <a:gd name="T3" fmla="*/ 9 h 182"/>
                <a:gd name="T4" fmla="*/ 900 w 900"/>
                <a:gd name="T5" fmla="*/ 182 h 182"/>
                <a:gd name="T6" fmla="*/ 425 w 900"/>
                <a:gd name="T7" fmla="*/ 38 h 182"/>
                <a:gd name="T8" fmla="*/ 737 w 900"/>
                <a:gd name="T9" fmla="*/ 34 h 182"/>
                <a:gd name="T10" fmla="*/ 710 w 900"/>
                <a:gd name="T11" fmla="*/ 20 h 182"/>
                <a:gd name="T12" fmla="*/ 723 w 900"/>
                <a:gd name="T13" fmla="*/ 19 h 182"/>
                <a:gd name="T14" fmla="*/ 767 w 900"/>
                <a:gd name="T15" fmla="*/ 36 h 182"/>
                <a:gd name="T16" fmla="*/ 771 w 900"/>
                <a:gd name="T17" fmla="*/ 39 h 182"/>
                <a:gd name="T18" fmla="*/ 769 w 900"/>
                <a:gd name="T19" fmla="*/ 43 h 182"/>
                <a:gd name="T20" fmla="*/ 729 w 900"/>
                <a:gd name="T21" fmla="*/ 60 h 182"/>
                <a:gd name="T22" fmla="*/ 724 w 900"/>
                <a:gd name="T23" fmla="*/ 53 h 182"/>
                <a:gd name="T24" fmla="*/ 434 w 900"/>
                <a:gd name="T25" fmla="*/ 43 h 182"/>
                <a:gd name="T26" fmla="*/ 425 w 900"/>
                <a:gd name="T27" fmla="*/ 38 h 182"/>
                <a:gd name="T28" fmla="*/ 112 w 900"/>
                <a:gd name="T29" fmla="*/ 67 h 182"/>
                <a:gd name="T30" fmla="*/ 118 w 900"/>
                <a:gd name="T31" fmla="*/ 63 h 182"/>
                <a:gd name="T32" fmla="*/ 176 w 900"/>
                <a:gd name="T33" fmla="*/ 46 h 182"/>
                <a:gd name="T34" fmla="*/ 174 w 900"/>
                <a:gd name="T35" fmla="*/ 53 h 182"/>
                <a:gd name="T36" fmla="*/ 465 w 900"/>
                <a:gd name="T37" fmla="*/ 63 h 182"/>
                <a:gd name="T38" fmla="*/ 475 w 900"/>
                <a:gd name="T39" fmla="*/ 68 h 182"/>
                <a:gd name="T40" fmla="*/ 144 w 900"/>
                <a:gd name="T41" fmla="*/ 73 h 182"/>
                <a:gd name="T42" fmla="*/ 158 w 900"/>
                <a:gd name="T43" fmla="*/ 90 h 182"/>
                <a:gd name="T44" fmla="*/ 143 w 900"/>
                <a:gd name="T45" fmla="*/ 91 h 182"/>
                <a:gd name="T46" fmla="*/ 113 w 900"/>
                <a:gd name="T47" fmla="*/ 72 h 182"/>
                <a:gd name="T48" fmla="*/ 467 w 900"/>
                <a:gd name="T49" fmla="*/ 140 h 182"/>
                <a:gd name="T50" fmla="*/ 130 w 900"/>
                <a:gd name="T51" fmla="*/ 153 h 182"/>
                <a:gd name="T52" fmla="*/ 125 w 900"/>
                <a:gd name="T53" fmla="*/ 162 h 182"/>
                <a:gd name="T54" fmla="*/ 79 w 900"/>
                <a:gd name="T55" fmla="*/ 139 h 182"/>
                <a:gd name="T56" fmla="*/ 77 w 900"/>
                <a:gd name="T57" fmla="*/ 134 h 182"/>
                <a:gd name="T58" fmla="*/ 82 w 900"/>
                <a:gd name="T59" fmla="*/ 129 h 182"/>
                <a:gd name="T60" fmla="*/ 135 w 900"/>
                <a:gd name="T61" fmla="*/ 107 h 182"/>
                <a:gd name="T62" fmla="*/ 150 w 900"/>
                <a:gd name="T63" fmla="*/ 108 h 182"/>
                <a:gd name="T64" fmla="*/ 117 w 900"/>
                <a:gd name="T65" fmla="*/ 128 h 182"/>
                <a:gd name="T66" fmla="*/ 477 w 900"/>
                <a:gd name="T67" fmla="*/ 133 h 182"/>
                <a:gd name="T68" fmla="*/ 467 w 900"/>
                <a:gd name="T69" fmla="*/ 140 h 182"/>
                <a:gd name="T70" fmla="*/ 801 w 900"/>
                <a:gd name="T71" fmla="*/ 103 h 182"/>
                <a:gd name="T72" fmla="*/ 757 w 900"/>
                <a:gd name="T73" fmla="*/ 124 h 182"/>
                <a:gd name="T74" fmla="*/ 752 w 900"/>
                <a:gd name="T75" fmla="*/ 116 h 182"/>
                <a:gd name="T76" fmla="*/ 432 w 900"/>
                <a:gd name="T77" fmla="*/ 104 h 182"/>
                <a:gd name="T78" fmla="*/ 423 w 900"/>
                <a:gd name="T79" fmla="*/ 98 h 182"/>
                <a:gd name="T80" fmla="*/ 765 w 900"/>
                <a:gd name="T81" fmla="*/ 93 h 182"/>
                <a:gd name="T82" fmla="*/ 734 w 900"/>
                <a:gd name="T83" fmla="*/ 76 h 182"/>
                <a:gd name="T84" fmla="*/ 749 w 900"/>
                <a:gd name="T85" fmla="*/ 75 h 182"/>
                <a:gd name="T86" fmla="*/ 798 w 900"/>
                <a:gd name="T87" fmla="*/ 95 h 182"/>
                <a:gd name="T88" fmla="*/ 803 w 900"/>
                <a:gd name="T89" fmla="*/ 9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0" h="182">
                  <a:moveTo>
                    <a:pt x="816" y="9"/>
                  </a:moveTo>
                  <a:cubicBezTo>
                    <a:pt x="812" y="0"/>
                    <a:pt x="810" y="0"/>
                    <a:pt x="792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91" y="0"/>
                    <a:pt x="88" y="0"/>
                    <a:pt x="84" y="9"/>
                  </a:cubicBezTo>
                  <a:cubicBezTo>
                    <a:pt x="66" y="46"/>
                    <a:pt x="8" y="166"/>
                    <a:pt x="0" y="182"/>
                  </a:cubicBezTo>
                  <a:cubicBezTo>
                    <a:pt x="900" y="182"/>
                    <a:pt x="900" y="182"/>
                    <a:pt x="900" y="182"/>
                  </a:cubicBezTo>
                  <a:cubicBezTo>
                    <a:pt x="891" y="164"/>
                    <a:pt x="839" y="55"/>
                    <a:pt x="816" y="9"/>
                  </a:cubicBezTo>
                  <a:close/>
                  <a:moveTo>
                    <a:pt x="425" y="38"/>
                  </a:moveTo>
                  <a:cubicBezTo>
                    <a:pt x="425" y="36"/>
                    <a:pt x="429" y="34"/>
                    <a:pt x="434" y="34"/>
                  </a:cubicBezTo>
                  <a:cubicBezTo>
                    <a:pt x="737" y="34"/>
                    <a:pt x="737" y="34"/>
                    <a:pt x="737" y="34"/>
                  </a:cubicBezTo>
                  <a:cubicBezTo>
                    <a:pt x="712" y="25"/>
                    <a:pt x="712" y="25"/>
                    <a:pt x="712" y="25"/>
                  </a:cubicBezTo>
                  <a:cubicBezTo>
                    <a:pt x="708" y="24"/>
                    <a:pt x="707" y="21"/>
                    <a:pt x="710" y="20"/>
                  </a:cubicBezTo>
                  <a:cubicBezTo>
                    <a:pt x="711" y="19"/>
                    <a:pt x="711" y="19"/>
                    <a:pt x="711" y="19"/>
                  </a:cubicBezTo>
                  <a:cubicBezTo>
                    <a:pt x="713" y="18"/>
                    <a:pt x="719" y="18"/>
                    <a:pt x="723" y="19"/>
                  </a:cubicBezTo>
                  <a:cubicBezTo>
                    <a:pt x="765" y="35"/>
                    <a:pt x="765" y="35"/>
                    <a:pt x="765" y="35"/>
                  </a:cubicBezTo>
                  <a:cubicBezTo>
                    <a:pt x="766" y="35"/>
                    <a:pt x="766" y="35"/>
                    <a:pt x="767" y="36"/>
                  </a:cubicBezTo>
                  <a:cubicBezTo>
                    <a:pt x="769" y="36"/>
                    <a:pt x="770" y="37"/>
                    <a:pt x="771" y="38"/>
                  </a:cubicBezTo>
                  <a:cubicBezTo>
                    <a:pt x="771" y="39"/>
                    <a:pt x="771" y="39"/>
                    <a:pt x="771" y="39"/>
                  </a:cubicBezTo>
                  <a:cubicBezTo>
                    <a:pt x="772" y="41"/>
                    <a:pt x="771" y="42"/>
                    <a:pt x="770" y="42"/>
                  </a:cubicBezTo>
                  <a:cubicBezTo>
                    <a:pt x="769" y="42"/>
                    <a:pt x="769" y="43"/>
                    <a:pt x="769" y="43"/>
                  </a:cubicBezTo>
                  <a:cubicBezTo>
                    <a:pt x="741" y="60"/>
                    <a:pt x="741" y="60"/>
                    <a:pt x="741" y="60"/>
                  </a:cubicBezTo>
                  <a:cubicBezTo>
                    <a:pt x="739" y="61"/>
                    <a:pt x="733" y="61"/>
                    <a:pt x="729" y="60"/>
                  </a:cubicBezTo>
                  <a:cubicBezTo>
                    <a:pt x="727" y="59"/>
                    <a:pt x="727" y="59"/>
                    <a:pt x="727" y="59"/>
                  </a:cubicBezTo>
                  <a:cubicBezTo>
                    <a:pt x="723" y="57"/>
                    <a:pt x="722" y="55"/>
                    <a:pt x="724" y="53"/>
                  </a:cubicBezTo>
                  <a:cubicBezTo>
                    <a:pt x="741" y="43"/>
                    <a:pt x="741" y="43"/>
                    <a:pt x="741" y="43"/>
                  </a:cubicBezTo>
                  <a:cubicBezTo>
                    <a:pt x="434" y="43"/>
                    <a:pt x="434" y="43"/>
                    <a:pt x="434" y="43"/>
                  </a:cubicBezTo>
                  <a:cubicBezTo>
                    <a:pt x="429" y="43"/>
                    <a:pt x="425" y="41"/>
                    <a:pt x="425" y="39"/>
                  </a:cubicBezTo>
                  <a:lnTo>
                    <a:pt x="425" y="38"/>
                  </a:lnTo>
                  <a:close/>
                  <a:moveTo>
                    <a:pt x="112" y="68"/>
                  </a:moveTo>
                  <a:cubicBezTo>
                    <a:pt x="112" y="67"/>
                    <a:pt x="112" y="67"/>
                    <a:pt x="112" y="67"/>
                  </a:cubicBezTo>
                  <a:cubicBezTo>
                    <a:pt x="113" y="66"/>
                    <a:pt x="115" y="65"/>
                    <a:pt x="116" y="64"/>
                  </a:cubicBezTo>
                  <a:cubicBezTo>
                    <a:pt x="117" y="64"/>
                    <a:pt x="118" y="64"/>
                    <a:pt x="118" y="63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7" y="44"/>
                    <a:pt x="173" y="44"/>
                    <a:pt x="176" y="46"/>
                  </a:cubicBezTo>
                  <a:cubicBezTo>
                    <a:pt x="177" y="47"/>
                    <a:pt x="177" y="47"/>
                    <a:pt x="177" y="47"/>
                  </a:cubicBezTo>
                  <a:cubicBezTo>
                    <a:pt x="180" y="48"/>
                    <a:pt x="178" y="51"/>
                    <a:pt x="174" y="53"/>
                  </a:cubicBezTo>
                  <a:cubicBezTo>
                    <a:pt x="148" y="63"/>
                    <a:pt x="148" y="63"/>
                    <a:pt x="148" y="63"/>
                  </a:cubicBezTo>
                  <a:cubicBezTo>
                    <a:pt x="465" y="63"/>
                    <a:pt x="465" y="63"/>
                    <a:pt x="465" y="63"/>
                  </a:cubicBezTo>
                  <a:cubicBezTo>
                    <a:pt x="470" y="63"/>
                    <a:pt x="474" y="65"/>
                    <a:pt x="475" y="67"/>
                  </a:cubicBezTo>
                  <a:cubicBezTo>
                    <a:pt x="475" y="68"/>
                    <a:pt x="475" y="68"/>
                    <a:pt x="475" y="68"/>
                  </a:cubicBezTo>
                  <a:cubicBezTo>
                    <a:pt x="475" y="71"/>
                    <a:pt x="471" y="73"/>
                    <a:pt x="465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61" y="83"/>
                    <a:pt x="161" y="83"/>
                    <a:pt x="161" y="83"/>
                  </a:cubicBezTo>
                  <a:cubicBezTo>
                    <a:pt x="164" y="85"/>
                    <a:pt x="162" y="88"/>
                    <a:pt x="158" y="90"/>
                  </a:cubicBezTo>
                  <a:cubicBezTo>
                    <a:pt x="156" y="91"/>
                    <a:pt x="156" y="91"/>
                    <a:pt x="156" y="91"/>
                  </a:cubicBezTo>
                  <a:cubicBezTo>
                    <a:pt x="151" y="92"/>
                    <a:pt x="145" y="92"/>
                    <a:pt x="143" y="91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3" y="72"/>
                  </a:cubicBezTo>
                  <a:cubicBezTo>
                    <a:pt x="112" y="71"/>
                    <a:pt x="111" y="69"/>
                    <a:pt x="112" y="68"/>
                  </a:cubicBezTo>
                  <a:close/>
                  <a:moveTo>
                    <a:pt x="467" y="140"/>
                  </a:moveTo>
                  <a:cubicBezTo>
                    <a:pt x="112" y="140"/>
                    <a:pt x="112" y="140"/>
                    <a:pt x="112" y="140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3" y="155"/>
                    <a:pt x="132" y="159"/>
                    <a:pt x="126" y="161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19" y="164"/>
                    <a:pt x="113" y="164"/>
                    <a:pt x="110" y="162"/>
                  </a:cubicBezTo>
                  <a:cubicBezTo>
                    <a:pt x="79" y="139"/>
                    <a:pt x="79" y="139"/>
                    <a:pt x="79" y="139"/>
                  </a:cubicBezTo>
                  <a:cubicBezTo>
                    <a:pt x="79" y="139"/>
                    <a:pt x="79" y="139"/>
                    <a:pt x="79" y="138"/>
                  </a:cubicBezTo>
                  <a:cubicBezTo>
                    <a:pt x="77" y="137"/>
                    <a:pt x="76" y="136"/>
                    <a:pt x="77" y="13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78" y="132"/>
                    <a:pt x="80" y="130"/>
                    <a:pt x="82" y="129"/>
                  </a:cubicBezTo>
                  <a:cubicBezTo>
                    <a:pt x="83" y="129"/>
                    <a:pt x="84" y="129"/>
                    <a:pt x="84" y="128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9" y="105"/>
                    <a:pt x="146" y="105"/>
                    <a:pt x="149" y="107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3" y="110"/>
                    <a:pt x="151" y="113"/>
                    <a:pt x="146" y="115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467" y="128"/>
                    <a:pt x="467" y="128"/>
                    <a:pt x="467" y="128"/>
                  </a:cubicBezTo>
                  <a:cubicBezTo>
                    <a:pt x="472" y="128"/>
                    <a:pt x="477" y="130"/>
                    <a:pt x="477" y="133"/>
                  </a:cubicBezTo>
                  <a:cubicBezTo>
                    <a:pt x="477" y="134"/>
                    <a:pt x="477" y="134"/>
                    <a:pt x="477" y="134"/>
                  </a:cubicBezTo>
                  <a:cubicBezTo>
                    <a:pt x="477" y="137"/>
                    <a:pt x="473" y="140"/>
                    <a:pt x="467" y="140"/>
                  </a:cubicBezTo>
                  <a:close/>
                  <a:moveTo>
                    <a:pt x="801" y="103"/>
                  </a:moveTo>
                  <a:cubicBezTo>
                    <a:pt x="801" y="103"/>
                    <a:pt x="801" y="103"/>
                    <a:pt x="801" y="103"/>
                  </a:cubicBezTo>
                  <a:cubicBezTo>
                    <a:pt x="771" y="124"/>
                    <a:pt x="771" y="124"/>
                    <a:pt x="771" y="124"/>
                  </a:cubicBezTo>
                  <a:cubicBezTo>
                    <a:pt x="768" y="126"/>
                    <a:pt x="762" y="126"/>
                    <a:pt x="757" y="124"/>
                  </a:cubicBezTo>
                  <a:cubicBezTo>
                    <a:pt x="755" y="123"/>
                    <a:pt x="755" y="123"/>
                    <a:pt x="755" y="123"/>
                  </a:cubicBezTo>
                  <a:cubicBezTo>
                    <a:pt x="751" y="121"/>
                    <a:pt x="749" y="118"/>
                    <a:pt x="752" y="116"/>
                  </a:cubicBezTo>
                  <a:cubicBezTo>
                    <a:pt x="770" y="104"/>
                    <a:pt x="770" y="104"/>
                    <a:pt x="770" y="104"/>
                  </a:cubicBezTo>
                  <a:cubicBezTo>
                    <a:pt x="432" y="104"/>
                    <a:pt x="432" y="104"/>
                    <a:pt x="432" y="104"/>
                  </a:cubicBezTo>
                  <a:cubicBezTo>
                    <a:pt x="427" y="104"/>
                    <a:pt x="422" y="102"/>
                    <a:pt x="423" y="99"/>
                  </a:cubicBezTo>
                  <a:cubicBezTo>
                    <a:pt x="423" y="98"/>
                    <a:pt x="423" y="98"/>
                    <a:pt x="423" y="98"/>
                  </a:cubicBezTo>
                  <a:cubicBezTo>
                    <a:pt x="423" y="96"/>
                    <a:pt x="427" y="93"/>
                    <a:pt x="432" y="93"/>
                  </a:cubicBezTo>
                  <a:cubicBezTo>
                    <a:pt x="765" y="93"/>
                    <a:pt x="765" y="93"/>
                    <a:pt x="765" y="93"/>
                  </a:cubicBezTo>
                  <a:cubicBezTo>
                    <a:pt x="737" y="82"/>
                    <a:pt x="737" y="82"/>
                    <a:pt x="737" y="82"/>
                  </a:cubicBezTo>
                  <a:cubicBezTo>
                    <a:pt x="733" y="80"/>
                    <a:pt x="731" y="77"/>
                    <a:pt x="734" y="76"/>
                  </a:cubicBezTo>
                  <a:cubicBezTo>
                    <a:pt x="735" y="75"/>
                    <a:pt x="735" y="75"/>
                    <a:pt x="735" y="75"/>
                  </a:cubicBezTo>
                  <a:cubicBezTo>
                    <a:pt x="738" y="73"/>
                    <a:pt x="744" y="73"/>
                    <a:pt x="749" y="75"/>
                  </a:cubicBezTo>
                  <a:cubicBezTo>
                    <a:pt x="796" y="94"/>
                    <a:pt x="796" y="94"/>
                    <a:pt x="796" y="94"/>
                  </a:cubicBezTo>
                  <a:cubicBezTo>
                    <a:pt x="797" y="94"/>
                    <a:pt x="797" y="95"/>
                    <a:pt x="798" y="95"/>
                  </a:cubicBezTo>
                  <a:cubicBezTo>
                    <a:pt x="800" y="96"/>
                    <a:pt x="802" y="97"/>
                    <a:pt x="802" y="98"/>
                  </a:cubicBezTo>
                  <a:cubicBezTo>
                    <a:pt x="803" y="99"/>
                    <a:pt x="803" y="99"/>
                    <a:pt x="803" y="99"/>
                  </a:cubicBezTo>
                  <a:cubicBezTo>
                    <a:pt x="804" y="101"/>
                    <a:pt x="803" y="102"/>
                    <a:pt x="801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1"/>
                </a:solidFill>
                <a:latin typeface="+mn-lt"/>
                <a:ea typeface=""/>
                <a:cs typeface="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3590182" y="2328249"/>
            <a:ext cx="235817" cy="150577"/>
            <a:chOff x="7264473" y="1744663"/>
            <a:chExt cx="2967038" cy="1651001"/>
          </a:xfrm>
          <a:solidFill>
            <a:schemeClr val="bg2"/>
          </a:solidFill>
          <a:effectLst/>
        </p:grpSpPr>
        <p:sp>
          <p:nvSpPr>
            <p:cNvPr id="47" name="Freeform 7"/>
            <p:cNvSpPr>
              <a:spLocks/>
            </p:cNvSpPr>
            <p:nvPr/>
          </p:nvSpPr>
          <p:spPr bwMode="auto">
            <a:xfrm>
              <a:off x="7264473" y="2273301"/>
              <a:ext cx="2967038" cy="1122363"/>
            </a:xfrm>
            <a:custGeom>
              <a:avLst/>
              <a:gdLst>
                <a:gd name="T0" fmla="*/ 396 w 791"/>
                <a:gd name="T1" fmla="*/ 93 h 299"/>
                <a:gd name="T2" fmla="*/ 0 w 791"/>
                <a:gd name="T3" fmla="*/ 0 h 299"/>
                <a:gd name="T4" fmla="*/ 0 w 791"/>
                <a:gd name="T5" fmla="*/ 178 h 299"/>
                <a:gd name="T6" fmla="*/ 0 w 791"/>
                <a:gd name="T7" fmla="*/ 180 h 299"/>
                <a:gd name="T8" fmla="*/ 116 w 791"/>
                <a:gd name="T9" fmla="*/ 264 h 299"/>
                <a:gd name="T10" fmla="*/ 116 w 791"/>
                <a:gd name="T11" fmla="*/ 264 h 299"/>
                <a:gd name="T12" fmla="*/ 327 w 791"/>
                <a:gd name="T13" fmla="*/ 297 h 299"/>
                <a:gd name="T14" fmla="*/ 329 w 791"/>
                <a:gd name="T15" fmla="*/ 297 h 299"/>
                <a:gd name="T16" fmla="*/ 394 w 791"/>
                <a:gd name="T17" fmla="*/ 299 h 299"/>
                <a:gd name="T18" fmla="*/ 640 w 791"/>
                <a:gd name="T19" fmla="*/ 273 h 299"/>
                <a:gd name="T20" fmla="*/ 644 w 791"/>
                <a:gd name="T21" fmla="*/ 272 h 299"/>
                <a:gd name="T22" fmla="*/ 791 w 791"/>
                <a:gd name="T23" fmla="*/ 180 h 299"/>
                <a:gd name="T24" fmla="*/ 791 w 791"/>
                <a:gd name="T25" fmla="*/ 180 h 299"/>
                <a:gd name="T26" fmla="*/ 791 w 791"/>
                <a:gd name="T27" fmla="*/ 0 h 299"/>
                <a:gd name="T28" fmla="*/ 396 w 791"/>
                <a:gd name="T29" fmla="*/ 9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1" h="299">
                  <a:moveTo>
                    <a:pt x="396" y="93"/>
                  </a:moveTo>
                  <a:cubicBezTo>
                    <a:pt x="222" y="93"/>
                    <a:pt x="46" y="61"/>
                    <a:pt x="0" y="0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0" y="179"/>
                    <a:pt x="0" y="180"/>
                    <a:pt x="0" y="180"/>
                  </a:cubicBezTo>
                  <a:cubicBezTo>
                    <a:pt x="0" y="213"/>
                    <a:pt x="44" y="242"/>
                    <a:pt x="116" y="264"/>
                  </a:cubicBezTo>
                  <a:cubicBezTo>
                    <a:pt x="116" y="264"/>
                    <a:pt x="116" y="264"/>
                    <a:pt x="116" y="264"/>
                  </a:cubicBezTo>
                  <a:cubicBezTo>
                    <a:pt x="172" y="281"/>
                    <a:pt x="245" y="293"/>
                    <a:pt x="327" y="297"/>
                  </a:cubicBezTo>
                  <a:cubicBezTo>
                    <a:pt x="329" y="297"/>
                    <a:pt x="329" y="297"/>
                    <a:pt x="329" y="297"/>
                  </a:cubicBezTo>
                  <a:cubicBezTo>
                    <a:pt x="350" y="298"/>
                    <a:pt x="372" y="299"/>
                    <a:pt x="394" y="299"/>
                  </a:cubicBezTo>
                  <a:cubicBezTo>
                    <a:pt x="487" y="299"/>
                    <a:pt x="572" y="289"/>
                    <a:pt x="640" y="273"/>
                  </a:cubicBezTo>
                  <a:cubicBezTo>
                    <a:pt x="644" y="272"/>
                    <a:pt x="644" y="272"/>
                    <a:pt x="644" y="272"/>
                  </a:cubicBezTo>
                  <a:cubicBezTo>
                    <a:pt x="734" y="250"/>
                    <a:pt x="791" y="217"/>
                    <a:pt x="791" y="180"/>
                  </a:cubicBezTo>
                  <a:cubicBezTo>
                    <a:pt x="791" y="180"/>
                    <a:pt x="791" y="180"/>
                    <a:pt x="791" y="180"/>
                  </a:cubicBezTo>
                  <a:cubicBezTo>
                    <a:pt x="791" y="0"/>
                    <a:pt x="791" y="0"/>
                    <a:pt x="791" y="0"/>
                  </a:cubicBezTo>
                  <a:cubicBezTo>
                    <a:pt x="745" y="61"/>
                    <a:pt x="569" y="93"/>
                    <a:pt x="396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1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48" name="Freeform 8"/>
            <p:cNvSpPr>
              <a:spLocks noEditPoints="1"/>
            </p:cNvSpPr>
            <p:nvPr/>
          </p:nvSpPr>
          <p:spPr bwMode="auto">
            <a:xfrm>
              <a:off x="7286698" y="1744663"/>
              <a:ext cx="2925763" cy="809625"/>
            </a:xfrm>
            <a:custGeom>
              <a:avLst/>
              <a:gdLst>
                <a:gd name="T0" fmla="*/ 0 w 780"/>
                <a:gd name="T1" fmla="*/ 108 h 216"/>
                <a:gd name="T2" fmla="*/ 780 w 780"/>
                <a:gd name="T3" fmla="*/ 108 h 216"/>
                <a:gd name="T4" fmla="*/ 278 w 780"/>
                <a:gd name="T5" fmla="*/ 38 h 216"/>
                <a:gd name="T6" fmla="*/ 371 w 780"/>
                <a:gd name="T7" fmla="*/ 11 h 216"/>
                <a:gd name="T8" fmla="*/ 390 w 780"/>
                <a:gd name="T9" fmla="*/ 10 h 216"/>
                <a:gd name="T10" fmla="*/ 409 w 780"/>
                <a:gd name="T11" fmla="*/ 12 h 216"/>
                <a:gd name="T12" fmla="*/ 498 w 780"/>
                <a:gd name="T13" fmla="*/ 47 h 216"/>
                <a:gd name="T14" fmla="*/ 463 w 780"/>
                <a:gd name="T15" fmla="*/ 48 h 216"/>
                <a:gd name="T16" fmla="*/ 412 w 780"/>
                <a:gd name="T17" fmla="*/ 85 h 216"/>
                <a:gd name="T18" fmla="*/ 386 w 780"/>
                <a:gd name="T19" fmla="*/ 91 h 216"/>
                <a:gd name="T20" fmla="*/ 364 w 780"/>
                <a:gd name="T21" fmla="*/ 33 h 216"/>
                <a:gd name="T22" fmla="*/ 281 w 780"/>
                <a:gd name="T23" fmla="*/ 48 h 216"/>
                <a:gd name="T24" fmla="*/ 278 w 780"/>
                <a:gd name="T25" fmla="*/ 38 h 216"/>
                <a:gd name="T26" fmla="*/ 212 w 780"/>
                <a:gd name="T27" fmla="*/ 135 h 216"/>
                <a:gd name="T28" fmla="*/ 263 w 780"/>
                <a:gd name="T29" fmla="*/ 111 h 216"/>
                <a:gd name="T30" fmla="*/ 65 w 780"/>
                <a:gd name="T31" fmla="*/ 105 h 216"/>
                <a:gd name="T32" fmla="*/ 87 w 780"/>
                <a:gd name="T33" fmla="*/ 97 h 216"/>
                <a:gd name="T34" fmla="*/ 212 w 780"/>
                <a:gd name="T35" fmla="*/ 82 h 216"/>
                <a:gd name="T36" fmla="*/ 215 w 780"/>
                <a:gd name="T37" fmla="*/ 72 h 216"/>
                <a:gd name="T38" fmla="*/ 335 w 780"/>
                <a:gd name="T39" fmla="*/ 98 h 216"/>
                <a:gd name="T40" fmla="*/ 344 w 780"/>
                <a:gd name="T41" fmla="*/ 104 h 216"/>
                <a:gd name="T42" fmla="*/ 336 w 780"/>
                <a:gd name="T43" fmla="*/ 110 h 216"/>
                <a:gd name="T44" fmla="*/ 246 w 780"/>
                <a:gd name="T45" fmla="*/ 136 h 216"/>
                <a:gd name="T46" fmla="*/ 498 w 780"/>
                <a:gd name="T47" fmla="*/ 170 h 216"/>
                <a:gd name="T48" fmla="*/ 407 w 780"/>
                <a:gd name="T49" fmla="*/ 196 h 216"/>
                <a:gd name="T50" fmla="*/ 386 w 780"/>
                <a:gd name="T51" fmla="*/ 199 h 216"/>
                <a:gd name="T52" fmla="*/ 366 w 780"/>
                <a:gd name="T53" fmla="*/ 196 h 216"/>
                <a:gd name="T54" fmla="*/ 278 w 780"/>
                <a:gd name="T55" fmla="*/ 161 h 216"/>
                <a:gd name="T56" fmla="*/ 312 w 780"/>
                <a:gd name="T57" fmla="*/ 160 h 216"/>
                <a:gd name="T58" fmla="*/ 364 w 780"/>
                <a:gd name="T59" fmla="*/ 123 h 216"/>
                <a:gd name="T60" fmla="*/ 390 w 780"/>
                <a:gd name="T61" fmla="*/ 117 h 216"/>
                <a:gd name="T62" fmla="*/ 412 w 780"/>
                <a:gd name="T63" fmla="*/ 175 h 216"/>
                <a:gd name="T64" fmla="*/ 494 w 780"/>
                <a:gd name="T65" fmla="*/ 160 h 216"/>
                <a:gd name="T66" fmla="*/ 498 w 780"/>
                <a:gd name="T67" fmla="*/ 170 h 216"/>
                <a:gd name="T68" fmla="*/ 689 w 780"/>
                <a:gd name="T69" fmla="*/ 111 h 216"/>
                <a:gd name="T70" fmla="*/ 563 w 780"/>
                <a:gd name="T71" fmla="*/ 126 h 216"/>
                <a:gd name="T72" fmla="*/ 560 w 780"/>
                <a:gd name="T73" fmla="*/ 136 h 216"/>
                <a:gd name="T74" fmla="*/ 441 w 780"/>
                <a:gd name="T75" fmla="*/ 110 h 216"/>
                <a:gd name="T76" fmla="*/ 431 w 780"/>
                <a:gd name="T77" fmla="*/ 105 h 216"/>
                <a:gd name="T78" fmla="*/ 437 w 780"/>
                <a:gd name="T79" fmla="*/ 99 h 216"/>
                <a:gd name="T80" fmla="*/ 529 w 780"/>
                <a:gd name="T81" fmla="*/ 72 h 216"/>
                <a:gd name="T82" fmla="*/ 563 w 780"/>
                <a:gd name="T83" fmla="*/ 73 h 216"/>
                <a:gd name="T84" fmla="*/ 511 w 780"/>
                <a:gd name="T85" fmla="*/ 97 h 216"/>
                <a:gd name="T86" fmla="*/ 711 w 780"/>
                <a:gd name="T87" fmla="*/ 10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80" h="216">
                  <a:moveTo>
                    <a:pt x="390" y="0"/>
                  </a:moveTo>
                  <a:cubicBezTo>
                    <a:pt x="174" y="0"/>
                    <a:pt x="0" y="48"/>
                    <a:pt x="0" y="108"/>
                  </a:cubicBezTo>
                  <a:cubicBezTo>
                    <a:pt x="0" y="168"/>
                    <a:pt x="174" y="216"/>
                    <a:pt x="390" y="216"/>
                  </a:cubicBezTo>
                  <a:cubicBezTo>
                    <a:pt x="605" y="216"/>
                    <a:pt x="780" y="168"/>
                    <a:pt x="780" y="108"/>
                  </a:cubicBezTo>
                  <a:cubicBezTo>
                    <a:pt x="780" y="48"/>
                    <a:pt x="605" y="0"/>
                    <a:pt x="390" y="0"/>
                  </a:cubicBezTo>
                  <a:close/>
                  <a:moveTo>
                    <a:pt x="278" y="38"/>
                  </a:moveTo>
                  <a:cubicBezTo>
                    <a:pt x="366" y="12"/>
                    <a:pt x="366" y="12"/>
                    <a:pt x="366" y="12"/>
                  </a:cubicBezTo>
                  <a:cubicBezTo>
                    <a:pt x="368" y="12"/>
                    <a:pt x="369" y="12"/>
                    <a:pt x="371" y="11"/>
                  </a:cubicBezTo>
                  <a:cubicBezTo>
                    <a:pt x="375" y="10"/>
                    <a:pt x="380" y="10"/>
                    <a:pt x="386" y="10"/>
                  </a:cubicBezTo>
                  <a:cubicBezTo>
                    <a:pt x="390" y="10"/>
                    <a:pt x="390" y="10"/>
                    <a:pt x="390" y="10"/>
                  </a:cubicBezTo>
                  <a:cubicBezTo>
                    <a:pt x="397" y="10"/>
                    <a:pt x="403" y="11"/>
                    <a:pt x="407" y="12"/>
                  </a:cubicBezTo>
                  <a:cubicBezTo>
                    <a:pt x="408" y="12"/>
                    <a:pt x="408" y="12"/>
                    <a:pt x="409" y="12"/>
                  </a:cubicBezTo>
                  <a:cubicBezTo>
                    <a:pt x="498" y="38"/>
                    <a:pt x="498" y="38"/>
                    <a:pt x="498" y="38"/>
                  </a:cubicBezTo>
                  <a:cubicBezTo>
                    <a:pt x="506" y="41"/>
                    <a:pt x="506" y="45"/>
                    <a:pt x="498" y="47"/>
                  </a:cubicBezTo>
                  <a:cubicBezTo>
                    <a:pt x="494" y="48"/>
                    <a:pt x="494" y="48"/>
                    <a:pt x="494" y="48"/>
                  </a:cubicBezTo>
                  <a:cubicBezTo>
                    <a:pt x="486" y="51"/>
                    <a:pt x="472" y="51"/>
                    <a:pt x="463" y="48"/>
                  </a:cubicBezTo>
                  <a:cubicBezTo>
                    <a:pt x="412" y="33"/>
                    <a:pt x="412" y="33"/>
                    <a:pt x="412" y="33"/>
                  </a:cubicBezTo>
                  <a:cubicBezTo>
                    <a:pt x="412" y="85"/>
                    <a:pt x="412" y="85"/>
                    <a:pt x="412" y="85"/>
                  </a:cubicBezTo>
                  <a:cubicBezTo>
                    <a:pt x="412" y="89"/>
                    <a:pt x="402" y="91"/>
                    <a:pt x="390" y="91"/>
                  </a:cubicBezTo>
                  <a:cubicBezTo>
                    <a:pt x="386" y="91"/>
                    <a:pt x="386" y="91"/>
                    <a:pt x="386" y="91"/>
                  </a:cubicBezTo>
                  <a:cubicBezTo>
                    <a:pt x="374" y="91"/>
                    <a:pt x="364" y="89"/>
                    <a:pt x="364" y="85"/>
                  </a:cubicBezTo>
                  <a:cubicBezTo>
                    <a:pt x="364" y="33"/>
                    <a:pt x="364" y="33"/>
                    <a:pt x="364" y="33"/>
                  </a:cubicBezTo>
                  <a:cubicBezTo>
                    <a:pt x="312" y="48"/>
                    <a:pt x="312" y="48"/>
                    <a:pt x="312" y="48"/>
                  </a:cubicBezTo>
                  <a:cubicBezTo>
                    <a:pt x="303" y="51"/>
                    <a:pt x="289" y="51"/>
                    <a:pt x="281" y="48"/>
                  </a:cubicBezTo>
                  <a:cubicBezTo>
                    <a:pt x="278" y="47"/>
                    <a:pt x="278" y="47"/>
                    <a:pt x="278" y="47"/>
                  </a:cubicBezTo>
                  <a:cubicBezTo>
                    <a:pt x="269" y="45"/>
                    <a:pt x="269" y="41"/>
                    <a:pt x="278" y="38"/>
                  </a:cubicBezTo>
                  <a:close/>
                  <a:moveTo>
                    <a:pt x="215" y="136"/>
                  </a:moveTo>
                  <a:cubicBezTo>
                    <a:pt x="212" y="135"/>
                    <a:pt x="212" y="135"/>
                    <a:pt x="212" y="135"/>
                  </a:cubicBezTo>
                  <a:cubicBezTo>
                    <a:pt x="203" y="133"/>
                    <a:pt x="203" y="129"/>
                    <a:pt x="212" y="126"/>
                  </a:cubicBezTo>
                  <a:cubicBezTo>
                    <a:pt x="263" y="111"/>
                    <a:pt x="263" y="111"/>
                    <a:pt x="263" y="111"/>
                  </a:cubicBezTo>
                  <a:cubicBezTo>
                    <a:pt x="87" y="111"/>
                    <a:pt x="87" y="111"/>
                    <a:pt x="87" y="111"/>
                  </a:cubicBezTo>
                  <a:cubicBezTo>
                    <a:pt x="74" y="111"/>
                    <a:pt x="65" y="108"/>
                    <a:pt x="65" y="105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5" y="100"/>
                    <a:pt x="74" y="97"/>
                    <a:pt x="87" y="97"/>
                  </a:cubicBezTo>
                  <a:cubicBezTo>
                    <a:pt x="264" y="97"/>
                    <a:pt x="264" y="97"/>
                    <a:pt x="264" y="97"/>
                  </a:cubicBezTo>
                  <a:cubicBezTo>
                    <a:pt x="212" y="82"/>
                    <a:pt x="212" y="82"/>
                    <a:pt x="212" y="82"/>
                  </a:cubicBezTo>
                  <a:cubicBezTo>
                    <a:pt x="203" y="80"/>
                    <a:pt x="203" y="75"/>
                    <a:pt x="212" y="73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24" y="70"/>
                    <a:pt x="238" y="70"/>
                    <a:pt x="246" y="72"/>
                  </a:cubicBezTo>
                  <a:cubicBezTo>
                    <a:pt x="335" y="98"/>
                    <a:pt x="335" y="98"/>
                    <a:pt x="335" y="98"/>
                  </a:cubicBezTo>
                  <a:cubicBezTo>
                    <a:pt x="336" y="98"/>
                    <a:pt x="337" y="99"/>
                    <a:pt x="338" y="99"/>
                  </a:cubicBezTo>
                  <a:cubicBezTo>
                    <a:pt x="342" y="100"/>
                    <a:pt x="344" y="102"/>
                    <a:pt x="344" y="104"/>
                  </a:cubicBezTo>
                  <a:cubicBezTo>
                    <a:pt x="344" y="105"/>
                    <a:pt x="344" y="105"/>
                    <a:pt x="344" y="105"/>
                  </a:cubicBezTo>
                  <a:cubicBezTo>
                    <a:pt x="344" y="107"/>
                    <a:pt x="341" y="109"/>
                    <a:pt x="336" y="110"/>
                  </a:cubicBezTo>
                  <a:cubicBezTo>
                    <a:pt x="336" y="110"/>
                    <a:pt x="335" y="110"/>
                    <a:pt x="335" y="110"/>
                  </a:cubicBezTo>
                  <a:cubicBezTo>
                    <a:pt x="246" y="136"/>
                    <a:pt x="246" y="136"/>
                    <a:pt x="246" y="136"/>
                  </a:cubicBezTo>
                  <a:cubicBezTo>
                    <a:pt x="238" y="139"/>
                    <a:pt x="224" y="139"/>
                    <a:pt x="215" y="136"/>
                  </a:cubicBezTo>
                  <a:close/>
                  <a:moveTo>
                    <a:pt x="498" y="170"/>
                  </a:moveTo>
                  <a:cubicBezTo>
                    <a:pt x="409" y="196"/>
                    <a:pt x="409" y="196"/>
                    <a:pt x="409" y="196"/>
                  </a:cubicBezTo>
                  <a:cubicBezTo>
                    <a:pt x="408" y="196"/>
                    <a:pt x="408" y="196"/>
                    <a:pt x="407" y="196"/>
                  </a:cubicBezTo>
                  <a:cubicBezTo>
                    <a:pt x="403" y="198"/>
                    <a:pt x="397" y="199"/>
                    <a:pt x="390" y="199"/>
                  </a:cubicBezTo>
                  <a:cubicBezTo>
                    <a:pt x="386" y="199"/>
                    <a:pt x="386" y="199"/>
                    <a:pt x="386" y="199"/>
                  </a:cubicBezTo>
                  <a:cubicBezTo>
                    <a:pt x="380" y="199"/>
                    <a:pt x="375" y="198"/>
                    <a:pt x="371" y="197"/>
                  </a:cubicBezTo>
                  <a:cubicBezTo>
                    <a:pt x="369" y="197"/>
                    <a:pt x="368" y="196"/>
                    <a:pt x="366" y="196"/>
                  </a:cubicBezTo>
                  <a:cubicBezTo>
                    <a:pt x="278" y="170"/>
                    <a:pt x="278" y="170"/>
                    <a:pt x="278" y="170"/>
                  </a:cubicBezTo>
                  <a:cubicBezTo>
                    <a:pt x="269" y="167"/>
                    <a:pt x="269" y="163"/>
                    <a:pt x="278" y="161"/>
                  </a:cubicBezTo>
                  <a:cubicBezTo>
                    <a:pt x="281" y="160"/>
                    <a:pt x="281" y="160"/>
                    <a:pt x="281" y="160"/>
                  </a:cubicBezTo>
                  <a:cubicBezTo>
                    <a:pt x="289" y="157"/>
                    <a:pt x="303" y="157"/>
                    <a:pt x="312" y="160"/>
                  </a:cubicBezTo>
                  <a:cubicBezTo>
                    <a:pt x="364" y="175"/>
                    <a:pt x="364" y="175"/>
                    <a:pt x="364" y="175"/>
                  </a:cubicBezTo>
                  <a:cubicBezTo>
                    <a:pt x="364" y="123"/>
                    <a:pt x="364" y="123"/>
                    <a:pt x="364" y="123"/>
                  </a:cubicBezTo>
                  <a:cubicBezTo>
                    <a:pt x="364" y="120"/>
                    <a:pt x="374" y="117"/>
                    <a:pt x="386" y="117"/>
                  </a:cubicBezTo>
                  <a:cubicBezTo>
                    <a:pt x="390" y="117"/>
                    <a:pt x="390" y="117"/>
                    <a:pt x="390" y="117"/>
                  </a:cubicBezTo>
                  <a:cubicBezTo>
                    <a:pt x="402" y="117"/>
                    <a:pt x="412" y="120"/>
                    <a:pt x="412" y="123"/>
                  </a:cubicBezTo>
                  <a:cubicBezTo>
                    <a:pt x="412" y="175"/>
                    <a:pt x="412" y="175"/>
                    <a:pt x="412" y="175"/>
                  </a:cubicBezTo>
                  <a:cubicBezTo>
                    <a:pt x="463" y="160"/>
                    <a:pt x="463" y="160"/>
                    <a:pt x="463" y="160"/>
                  </a:cubicBezTo>
                  <a:cubicBezTo>
                    <a:pt x="472" y="157"/>
                    <a:pt x="486" y="157"/>
                    <a:pt x="494" y="160"/>
                  </a:cubicBezTo>
                  <a:cubicBezTo>
                    <a:pt x="498" y="161"/>
                    <a:pt x="498" y="161"/>
                    <a:pt x="498" y="161"/>
                  </a:cubicBezTo>
                  <a:cubicBezTo>
                    <a:pt x="506" y="163"/>
                    <a:pt x="506" y="167"/>
                    <a:pt x="498" y="170"/>
                  </a:cubicBezTo>
                  <a:close/>
                  <a:moveTo>
                    <a:pt x="711" y="105"/>
                  </a:moveTo>
                  <a:cubicBezTo>
                    <a:pt x="711" y="108"/>
                    <a:pt x="701" y="111"/>
                    <a:pt x="689" y="111"/>
                  </a:cubicBezTo>
                  <a:cubicBezTo>
                    <a:pt x="512" y="111"/>
                    <a:pt x="512" y="111"/>
                    <a:pt x="512" y="111"/>
                  </a:cubicBezTo>
                  <a:cubicBezTo>
                    <a:pt x="563" y="126"/>
                    <a:pt x="563" y="126"/>
                    <a:pt x="563" y="126"/>
                  </a:cubicBezTo>
                  <a:cubicBezTo>
                    <a:pt x="572" y="129"/>
                    <a:pt x="572" y="133"/>
                    <a:pt x="563" y="135"/>
                  </a:cubicBezTo>
                  <a:cubicBezTo>
                    <a:pt x="560" y="136"/>
                    <a:pt x="560" y="136"/>
                    <a:pt x="560" y="136"/>
                  </a:cubicBezTo>
                  <a:cubicBezTo>
                    <a:pt x="552" y="139"/>
                    <a:pt x="538" y="139"/>
                    <a:pt x="529" y="136"/>
                  </a:cubicBezTo>
                  <a:cubicBezTo>
                    <a:pt x="441" y="110"/>
                    <a:pt x="441" y="110"/>
                    <a:pt x="441" y="110"/>
                  </a:cubicBezTo>
                  <a:cubicBezTo>
                    <a:pt x="440" y="110"/>
                    <a:pt x="440" y="110"/>
                    <a:pt x="439" y="110"/>
                  </a:cubicBezTo>
                  <a:cubicBezTo>
                    <a:pt x="434" y="109"/>
                    <a:pt x="431" y="107"/>
                    <a:pt x="431" y="105"/>
                  </a:cubicBezTo>
                  <a:cubicBezTo>
                    <a:pt x="431" y="104"/>
                    <a:pt x="431" y="104"/>
                    <a:pt x="431" y="104"/>
                  </a:cubicBezTo>
                  <a:cubicBezTo>
                    <a:pt x="431" y="102"/>
                    <a:pt x="434" y="100"/>
                    <a:pt x="437" y="99"/>
                  </a:cubicBezTo>
                  <a:cubicBezTo>
                    <a:pt x="438" y="99"/>
                    <a:pt x="439" y="98"/>
                    <a:pt x="441" y="98"/>
                  </a:cubicBezTo>
                  <a:cubicBezTo>
                    <a:pt x="529" y="72"/>
                    <a:pt x="529" y="72"/>
                    <a:pt x="529" y="72"/>
                  </a:cubicBezTo>
                  <a:cubicBezTo>
                    <a:pt x="538" y="70"/>
                    <a:pt x="552" y="70"/>
                    <a:pt x="560" y="72"/>
                  </a:cubicBezTo>
                  <a:cubicBezTo>
                    <a:pt x="563" y="73"/>
                    <a:pt x="563" y="73"/>
                    <a:pt x="563" y="73"/>
                  </a:cubicBezTo>
                  <a:cubicBezTo>
                    <a:pt x="572" y="75"/>
                    <a:pt x="572" y="80"/>
                    <a:pt x="563" y="82"/>
                  </a:cubicBezTo>
                  <a:cubicBezTo>
                    <a:pt x="511" y="97"/>
                    <a:pt x="511" y="97"/>
                    <a:pt x="511" y="97"/>
                  </a:cubicBezTo>
                  <a:cubicBezTo>
                    <a:pt x="689" y="97"/>
                    <a:pt x="689" y="97"/>
                    <a:pt x="689" y="97"/>
                  </a:cubicBezTo>
                  <a:cubicBezTo>
                    <a:pt x="701" y="97"/>
                    <a:pt x="711" y="100"/>
                    <a:pt x="711" y="104"/>
                  </a:cubicBezTo>
                  <a:lnTo>
                    <a:pt x="71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1"/>
                </a:solidFill>
                <a:latin typeface="+mn-lt"/>
                <a:ea typeface=""/>
                <a:cs typeface=""/>
              </a:endParaRPr>
            </a:p>
          </p:txBody>
        </p:sp>
      </p:grpSp>
      <p:sp>
        <p:nvSpPr>
          <p:cNvPr id="49" name="Freeform 48"/>
          <p:cNvSpPr>
            <a:spLocks/>
          </p:cNvSpPr>
          <p:nvPr/>
        </p:nvSpPr>
        <p:spPr bwMode="auto">
          <a:xfrm>
            <a:off x="6460618" y="4076340"/>
            <a:ext cx="556625" cy="366268"/>
          </a:xfrm>
          <a:custGeom>
            <a:avLst/>
            <a:gdLst>
              <a:gd name="T0" fmla="*/ 361 w 432"/>
              <a:gd name="T1" fmla="*/ 121 h 268"/>
              <a:gd name="T2" fmla="*/ 364 w 432"/>
              <a:gd name="T3" fmla="*/ 96 h 268"/>
              <a:gd name="T4" fmla="*/ 268 w 432"/>
              <a:gd name="T5" fmla="*/ 0 h 268"/>
              <a:gd name="T6" fmla="*/ 175 w 432"/>
              <a:gd name="T7" fmla="*/ 71 h 268"/>
              <a:gd name="T8" fmla="*/ 138 w 432"/>
              <a:gd name="T9" fmla="*/ 62 h 268"/>
              <a:gd name="T10" fmla="*/ 54 w 432"/>
              <a:gd name="T11" fmla="*/ 146 h 268"/>
              <a:gd name="T12" fmla="*/ 55 w 432"/>
              <a:gd name="T13" fmla="*/ 156 h 268"/>
              <a:gd name="T14" fmla="*/ 54 w 432"/>
              <a:gd name="T15" fmla="*/ 156 h 268"/>
              <a:gd name="T16" fmla="*/ 0 w 432"/>
              <a:gd name="T17" fmla="*/ 212 h 268"/>
              <a:gd name="T18" fmla="*/ 54 w 432"/>
              <a:gd name="T19" fmla="*/ 268 h 268"/>
              <a:gd name="T20" fmla="*/ 360 w 432"/>
              <a:gd name="T21" fmla="*/ 268 h 268"/>
              <a:gd name="T22" fmla="*/ 432 w 432"/>
              <a:gd name="T23" fmla="*/ 194 h 268"/>
              <a:gd name="T24" fmla="*/ 361 w 432"/>
              <a:gd name="T25" fmla="*/ 121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32" h="268">
                <a:moveTo>
                  <a:pt x="361" y="121"/>
                </a:moveTo>
                <a:cubicBezTo>
                  <a:pt x="363" y="113"/>
                  <a:pt x="364" y="104"/>
                  <a:pt x="364" y="96"/>
                </a:cubicBezTo>
                <a:cubicBezTo>
                  <a:pt x="364" y="43"/>
                  <a:pt x="321" y="0"/>
                  <a:pt x="268" y="0"/>
                </a:cubicBezTo>
                <a:cubicBezTo>
                  <a:pt x="224" y="0"/>
                  <a:pt x="186" y="30"/>
                  <a:pt x="175" y="71"/>
                </a:cubicBezTo>
                <a:cubicBezTo>
                  <a:pt x="164" y="65"/>
                  <a:pt x="151" y="62"/>
                  <a:pt x="138" y="62"/>
                </a:cubicBezTo>
                <a:cubicBezTo>
                  <a:pt x="92" y="62"/>
                  <a:pt x="54" y="100"/>
                  <a:pt x="54" y="146"/>
                </a:cubicBezTo>
                <a:cubicBezTo>
                  <a:pt x="54" y="149"/>
                  <a:pt x="54" y="153"/>
                  <a:pt x="55" y="156"/>
                </a:cubicBezTo>
                <a:cubicBezTo>
                  <a:pt x="54" y="156"/>
                  <a:pt x="54" y="156"/>
                  <a:pt x="54" y="156"/>
                </a:cubicBezTo>
                <a:cubicBezTo>
                  <a:pt x="24" y="156"/>
                  <a:pt x="0" y="182"/>
                  <a:pt x="0" y="212"/>
                </a:cubicBezTo>
                <a:cubicBezTo>
                  <a:pt x="0" y="242"/>
                  <a:pt x="24" y="268"/>
                  <a:pt x="54" y="268"/>
                </a:cubicBezTo>
                <a:cubicBezTo>
                  <a:pt x="360" y="268"/>
                  <a:pt x="360" y="268"/>
                  <a:pt x="360" y="268"/>
                </a:cubicBezTo>
                <a:cubicBezTo>
                  <a:pt x="400" y="268"/>
                  <a:pt x="432" y="234"/>
                  <a:pt x="432" y="194"/>
                </a:cubicBezTo>
                <a:cubicBezTo>
                  <a:pt x="432" y="155"/>
                  <a:pt x="400" y="121"/>
                  <a:pt x="361" y="121"/>
                </a:cubicBezTo>
                <a:close/>
              </a:path>
            </a:pathLst>
          </a:cu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lIns="68547" tIns="34274" rIns="68547" bIns="34274" rtlCol="0" anchor="ctr"/>
          <a:lstStyle/>
          <a:p>
            <a:pPr algn="ctr" defTabSz="51336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kern="0" dirty="0">
              <a:solidFill>
                <a:schemeClr val="accent6"/>
              </a:solidFill>
              <a:latin typeface="+mn-lt"/>
              <a:ea typeface=""/>
              <a:cs typeface="CiscoSansTT Light"/>
            </a:endParaRPr>
          </a:p>
          <a:p>
            <a:pPr algn="ctr" defTabSz="5133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kern="0" dirty="0">
                <a:solidFill>
                  <a:schemeClr val="accent6"/>
                </a:solidFill>
                <a:latin typeface="+mn-lt"/>
                <a:ea typeface=""/>
                <a:cs typeface="CiscoSansTT Light"/>
              </a:rPr>
              <a:t>WAN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6280966" y="4105138"/>
            <a:ext cx="246923" cy="134852"/>
            <a:chOff x="4949825" y="4089400"/>
            <a:chExt cx="3389313" cy="1590675"/>
          </a:xfrm>
          <a:solidFill>
            <a:schemeClr val="bg2"/>
          </a:solidFill>
          <a:effectLst/>
        </p:grpSpPr>
        <p:sp>
          <p:nvSpPr>
            <p:cNvPr id="51" name="Freeform 32"/>
            <p:cNvSpPr>
              <a:spLocks/>
            </p:cNvSpPr>
            <p:nvPr/>
          </p:nvSpPr>
          <p:spPr bwMode="auto">
            <a:xfrm>
              <a:off x="4949825" y="4829175"/>
              <a:ext cx="3389313" cy="850900"/>
            </a:xfrm>
            <a:custGeom>
              <a:avLst/>
              <a:gdLst>
                <a:gd name="T0" fmla="*/ 1 w 904"/>
                <a:gd name="T1" fmla="*/ 2 h 227"/>
                <a:gd name="T2" fmla="*/ 1 w 904"/>
                <a:gd name="T3" fmla="*/ 2 h 227"/>
                <a:gd name="T4" fmla="*/ 0 w 904"/>
                <a:gd name="T5" fmla="*/ 3 h 227"/>
                <a:gd name="T6" fmla="*/ 0 w 904"/>
                <a:gd name="T7" fmla="*/ 3 h 227"/>
                <a:gd name="T8" fmla="*/ 0 w 904"/>
                <a:gd name="T9" fmla="*/ 4 h 227"/>
                <a:gd name="T10" fmla="*/ 0 w 904"/>
                <a:gd name="T11" fmla="*/ 211 h 227"/>
                <a:gd name="T12" fmla="*/ 23 w 904"/>
                <a:gd name="T13" fmla="*/ 227 h 227"/>
                <a:gd name="T14" fmla="*/ 881 w 904"/>
                <a:gd name="T15" fmla="*/ 227 h 227"/>
                <a:gd name="T16" fmla="*/ 904 w 904"/>
                <a:gd name="T17" fmla="*/ 211 h 227"/>
                <a:gd name="T18" fmla="*/ 904 w 904"/>
                <a:gd name="T19" fmla="*/ 4 h 227"/>
                <a:gd name="T20" fmla="*/ 903 w 904"/>
                <a:gd name="T21" fmla="*/ 3 h 227"/>
                <a:gd name="T22" fmla="*/ 903 w 904"/>
                <a:gd name="T23" fmla="*/ 3 h 227"/>
                <a:gd name="T24" fmla="*/ 902 w 904"/>
                <a:gd name="T25" fmla="*/ 0 h 227"/>
                <a:gd name="T26" fmla="*/ 2 w 904"/>
                <a:gd name="T27" fmla="*/ 0 h 227"/>
                <a:gd name="T28" fmla="*/ 1 w 904"/>
                <a:gd name="T29" fmla="*/ 2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04" h="227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189"/>
                    <a:pt x="0" y="211"/>
                    <a:pt x="0" y="211"/>
                  </a:cubicBezTo>
                  <a:cubicBezTo>
                    <a:pt x="0" y="217"/>
                    <a:pt x="3" y="227"/>
                    <a:pt x="23" y="227"/>
                  </a:cubicBezTo>
                  <a:cubicBezTo>
                    <a:pt x="881" y="227"/>
                    <a:pt x="881" y="227"/>
                    <a:pt x="881" y="227"/>
                  </a:cubicBezTo>
                  <a:cubicBezTo>
                    <a:pt x="899" y="227"/>
                    <a:pt x="904" y="219"/>
                    <a:pt x="904" y="211"/>
                  </a:cubicBezTo>
                  <a:cubicBezTo>
                    <a:pt x="904" y="4"/>
                    <a:pt x="904" y="4"/>
                    <a:pt x="904" y="4"/>
                  </a:cubicBezTo>
                  <a:cubicBezTo>
                    <a:pt x="904" y="4"/>
                    <a:pt x="903" y="4"/>
                    <a:pt x="903" y="3"/>
                  </a:cubicBezTo>
                  <a:cubicBezTo>
                    <a:pt x="903" y="3"/>
                    <a:pt x="903" y="3"/>
                    <a:pt x="903" y="3"/>
                  </a:cubicBezTo>
                  <a:cubicBezTo>
                    <a:pt x="903" y="3"/>
                    <a:pt x="903" y="2"/>
                    <a:pt x="90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6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52" name="Freeform 33"/>
            <p:cNvSpPr>
              <a:spLocks noEditPoints="1"/>
            </p:cNvSpPr>
            <p:nvPr/>
          </p:nvSpPr>
          <p:spPr bwMode="auto">
            <a:xfrm>
              <a:off x="4956175" y="4089400"/>
              <a:ext cx="3375025" cy="682625"/>
            </a:xfrm>
            <a:custGeom>
              <a:avLst/>
              <a:gdLst>
                <a:gd name="T0" fmla="*/ 792 w 900"/>
                <a:gd name="T1" fmla="*/ 0 h 182"/>
                <a:gd name="T2" fmla="*/ 84 w 900"/>
                <a:gd name="T3" fmla="*/ 9 h 182"/>
                <a:gd name="T4" fmla="*/ 900 w 900"/>
                <a:gd name="T5" fmla="*/ 182 h 182"/>
                <a:gd name="T6" fmla="*/ 425 w 900"/>
                <a:gd name="T7" fmla="*/ 38 h 182"/>
                <a:gd name="T8" fmla="*/ 737 w 900"/>
                <a:gd name="T9" fmla="*/ 34 h 182"/>
                <a:gd name="T10" fmla="*/ 710 w 900"/>
                <a:gd name="T11" fmla="*/ 20 h 182"/>
                <a:gd name="T12" fmla="*/ 723 w 900"/>
                <a:gd name="T13" fmla="*/ 19 h 182"/>
                <a:gd name="T14" fmla="*/ 767 w 900"/>
                <a:gd name="T15" fmla="*/ 36 h 182"/>
                <a:gd name="T16" fmla="*/ 771 w 900"/>
                <a:gd name="T17" fmla="*/ 39 h 182"/>
                <a:gd name="T18" fmla="*/ 769 w 900"/>
                <a:gd name="T19" fmla="*/ 43 h 182"/>
                <a:gd name="T20" fmla="*/ 729 w 900"/>
                <a:gd name="T21" fmla="*/ 60 h 182"/>
                <a:gd name="T22" fmla="*/ 724 w 900"/>
                <a:gd name="T23" fmla="*/ 53 h 182"/>
                <a:gd name="T24" fmla="*/ 434 w 900"/>
                <a:gd name="T25" fmla="*/ 43 h 182"/>
                <a:gd name="T26" fmla="*/ 425 w 900"/>
                <a:gd name="T27" fmla="*/ 38 h 182"/>
                <a:gd name="T28" fmla="*/ 112 w 900"/>
                <a:gd name="T29" fmla="*/ 67 h 182"/>
                <a:gd name="T30" fmla="*/ 118 w 900"/>
                <a:gd name="T31" fmla="*/ 63 h 182"/>
                <a:gd name="T32" fmla="*/ 176 w 900"/>
                <a:gd name="T33" fmla="*/ 46 h 182"/>
                <a:gd name="T34" fmla="*/ 174 w 900"/>
                <a:gd name="T35" fmla="*/ 53 h 182"/>
                <a:gd name="T36" fmla="*/ 465 w 900"/>
                <a:gd name="T37" fmla="*/ 63 h 182"/>
                <a:gd name="T38" fmla="*/ 475 w 900"/>
                <a:gd name="T39" fmla="*/ 68 h 182"/>
                <a:gd name="T40" fmla="*/ 144 w 900"/>
                <a:gd name="T41" fmla="*/ 73 h 182"/>
                <a:gd name="T42" fmla="*/ 158 w 900"/>
                <a:gd name="T43" fmla="*/ 90 h 182"/>
                <a:gd name="T44" fmla="*/ 143 w 900"/>
                <a:gd name="T45" fmla="*/ 91 h 182"/>
                <a:gd name="T46" fmla="*/ 113 w 900"/>
                <a:gd name="T47" fmla="*/ 72 h 182"/>
                <a:gd name="T48" fmla="*/ 467 w 900"/>
                <a:gd name="T49" fmla="*/ 140 h 182"/>
                <a:gd name="T50" fmla="*/ 130 w 900"/>
                <a:gd name="T51" fmla="*/ 153 h 182"/>
                <a:gd name="T52" fmla="*/ 125 w 900"/>
                <a:gd name="T53" fmla="*/ 162 h 182"/>
                <a:gd name="T54" fmla="*/ 79 w 900"/>
                <a:gd name="T55" fmla="*/ 139 h 182"/>
                <a:gd name="T56" fmla="*/ 77 w 900"/>
                <a:gd name="T57" fmla="*/ 134 h 182"/>
                <a:gd name="T58" fmla="*/ 82 w 900"/>
                <a:gd name="T59" fmla="*/ 129 h 182"/>
                <a:gd name="T60" fmla="*/ 135 w 900"/>
                <a:gd name="T61" fmla="*/ 107 h 182"/>
                <a:gd name="T62" fmla="*/ 150 w 900"/>
                <a:gd name="T63" fmla="*/ 108 h 182"/>
                <a:gd name="T64" fmla="*/ 117 w 900"/>
                <a:gd name="T65" fmla="*/ 128 h 182"/>
                <a:gd name="T66" fmla="*/ 477 w 900"/>
                <a:gd name="T67" fmla="*/ 133 h 182"/>
                <a:gd name="T68" fmla="*/ 467 w 900"/>
                <a:gd name="T69" fmla="*/ 140 h 182"/>
                <a:gd name="T70" fmla="*/ 801 w 900"/>
                <a:gd name="T71" fmla="*/ 103 h 182"/>
                <a:gd name="T72" fmla="*/ 757 w 900"/>
                <a:gd name="T73" fmla="*/ 124 h 182"/>
                <a:gd name="T74" fmla="*/ 752 w 900"/>
                <a:gd name="T75" fmla="*/ 116 h 182"/>
                <a:gd name="T76" fmla="*/ 432 w 900"/>
                <a:gd name="T77" fmla="*/ 104 h 182"/>
                <a:gd name="T78" fmla="*/ 423 w 900"/>
                <a:gd name="T79" fmla="*/ 98 h 182"/>
                <a:gd name="T80" fmla="*/ 765 w 900"/>
                <a:gd name="T81" fmla="*/ 93 h 182"/>
                <a:gd name="T82" fmla="*/ 734 w 900"/>
                <a:gd name="T83" fmla="*/ 76 h 182"/>
                <a:gd name="T84" fmla="*/ 749 w 900"/>
                <a:gd name="T85" fmla="*/ 75 h 182"/>
                <a:gd name="T86" fmla="*/ 798 w 900"/>
                <a:gd name="T87" fmla="*/ 95 h 182"/>
                <a:gd name="T88" fmla="*/ 803 w 900"/>
                <a:gd name="T89" fmla="*/ 9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0" h="182">
                  <a:moveTo>
                    <a:pt x="816" y="9"/>
                  </a:moveTo>
                  <a:cubicBezTo>
                    <a:pt x="812" y="0"/>
                    <a:pt x="810" y="0"/>
                    <a:pt x="792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91" y="0"/>
                    <a:pt x="88" y="0"/>
                    <a:pt x="84" y="9"/>
                  </a:cubicBezTo>
                  <a:cubicBezTo>
                    <a:pt x="66" y="46"/>
                    <a:pt x="8" y="166"/>
                    <a:pt x="0" y="182"/>
                  </a:cubicBezTo>
                  <a:cubicBezTo>
                    <a:pt x="900" y="182"/>
                    <a:pt x="900" y="182"/>
                    <a:pt x="900" y="182"/>
                  </a:cubicBezTo>
                  <a:cubicBezTo>
                    <a:pt x="891" y="164"/>
                    <a:pt x="839" y="55"/>
                    <a:pt x="816" y="9"/>
                  </a:cubicBezTo>
                  <a:close/>
                  <a:moveTo>
                    <a:pt x="425" y="38"/>
                  </a:moveTo>
                  <a:cubicBezTo>
                    <a:pt x="425" y="36"/>
                    <a:pt x="429" y="34"/>
                    <a:pt x="434" y="34"/>
                  </a:cubicBezTo>
                  <a:cubicBezTo>
                    <a:pt x="737" y="34"/>
                    <a:pt x="737" y="34"/>
                    <a:pt x="737" y="34"/>
                  </a:cubicBezTo>
                  <a:cubicBezTo>
                    <a:pt x="712" y="25"/>
                    <a:pt x="712" y="25"/>
                    <a:pt x="712" y="25"/>
                  </a:cubicBezTo>
                  <a:cubicBezTo>
                    <a:pt x="708" y="24"/>
                    <a:pt x="707" y="21"/>
                    <a:pt x="710" y="20"/>
                  </a:cubicBezTo>
                  <a:cubicBezTo>
                    <a:pt x="711" y="19"/>
                    <a:pt x="711" y="19"/>
                    <a:pt x="711" y="19"/>
                  </a:cubicBezTo>
                  <a:cubicBezTo>
                    <a:pt x="713" y="18"/>
                    <a:pt x="719" y="18"/>
                    <a:pt x="723" y="19"/>
                  </a:cubicBezTo>
                  <a:cubicBezTo>
                    <a:pt x="765" y="35"/>
                    <a:pt x="765" y="35"/>
                    <a:pt x="765" y="35"/>
                  </a:cubicBezTo>
                  <a:cubicBezTo>
                    <a:pt x="766" y="35"/>
                    <a:pt x="766" y="35"/>
                    <a:pt x="767" y="36"/>
                  </a:cubicBezTo>
                  <a:cubicBezTo>
                    <a:pt x="769" y="36"/>
                    <a:pt x="770" y="37"/>
                    <a:pt x="771" y="38"/>
                  </a:cubicBezTo>
                  <a:cubicBezTo>
                    <a:pt x="771" y="39"/>
                    <a:pt x="771" y="39"/>
                    <a:pt x="771" y="39"/>
                  </a:cubicBezTo>
                  <a:cubicBezTo>
                    <a:pt x="772" y="41"/>
                    <a:pt x="771" y="42"/>
                    <a:pt x="770" y="42"/>
                  </a:cubicBezTo>
                  <a:cubicBezTo>
                    <a:pt x="769" y="42"/>
                    <a:pt x="769" y="43"/>
                    <a:pt x="769" y="43"/>
                  </a:cubicBezTo>
                  <a:cubicBezTo>
                    <a:pt x="741" y="60"/>
                    <a:pt x="741" y="60"/>
                    <a:pt x="741" y="60"/>
                  </a:cubicBezTo>
                  <a:cubicBezTo>
                    <a:pt x="739" y="61"/>
                    <a:pt x="733" y="61"/>
                    <a:pt x="729" y="60"/>
                  </a:cubicBezTo>
                  <a:cubicBezTo>
                    <a:pt x="727" y="59"/>
                    <a:pt x="727" y="59"/>
                    <a:pt x="727" y="59"/>
                  </a:cubicBezTo>
                  <a:cubicBezTo>
                    <a:pt x="723" y="57"/>
                    <a:pt x="722" y="55"/>
                    <a:pt x="724" y="53"/>
                  </a:cubicBezTo>
                  <a:cubicBezTo>
                    <a:pt x="741" y="43"/>
                    <a:pt x="741" y="43"/>
                    <a:pt x="741" y="43"/>
                  </a:cubicBezTo>
                  <a:cubicBezTo>
                    <a:pt x="434" y="43"/>
                    <a:pt x="434" y="43"/>
                    <a:pt x="434" y="43"/>
                  </a:cubicBezTo>
                  <a:cubicBezTo>
                    <a:pt x="429" y="43"/>
                    <a:pt x="425" y="41"/>
                    <a:pt x="425" y="39"/>
                  </a:cubicBezTo>
                  <a:lnTo>
                    <a:pt x="425" y="38"/>
                  </a:lnTo>
                  <a:close/>
                  <a:moveTo>
                    <a:pt x="112" y="68"/>
                  </a:moveTo>
                  <a:cubicBezTo>
                    <a:pt x="112" y="67"/>
                    <a:pt x="112" y="67"/>
                    <a:pt x="112" y="67"/>
                  </a:cubicBezTo>
                  <a:cubicBezTo>
                    <a:pt x="113" y="66"/>
                    <a:pt x="115" y="65"/>
                    <a:pt x="116" y="64"/>
                  </a:cubicBezTo>
                  <a:cubicBezTo>
                    <a:pt x="117" y="64"/>
                    <a:pt x="118" y="64"/>
                    <a:pt x="118" y="63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7" y="44"/>
                    <a:pt x="173" y="44"/>
                    <a:pt x="176" y="46"/>
                  </a:cubicBezTo>
                  <a:cubicBezTo>
                    <a:pt x="177" y="47"/>
                    <a:pt x="177" y="47"/>
                    <a:pt x="177" y="47"/>
                  </a:cubicBezTo>
                  <a:cubicBezTo>
                    <a:pt x="180" y="48"/>
                    <a:pt x="178" y="51"/>
                    <a:pt x="174" y="53"/>
                  </a:cubicBezTo>
                  <a:cubicBezTo>
                    <a:pt x="148" y="63"/>
                    <a:pt x="148" y="63"/>
                    <a:pt x="148" y="63"/>
                  </a:cubicBezTo>
                  <a:cubicBezTo>
                    <a:pt x="465" y="63"/>
                    <a:pt x="465" y="63"/>
                    <a:pt x="465" y="63"/>
                  </a:cubicBezTo>
                  <a:cubicBezTo>
                    <a:pt x="470" y="63"/>
                    <a:pt x="474" y="65"/>
                    <a:pt x="475" y="67"/>
                  </a:cubicBezTo>
                  <a:cubicBezTo>
                    <a:pt x="475" y="68"/>
                    <a:pt x="475" y="68"/>
                    <a:pt x="475" y="68"/>
                  </a:cubicBezTo>
                  <a:cubicBezTo>
                    <a:pt x="475" y="71"/>
                    <a:pt x="471" y="73"/>
                    <a:pt x="465" y="73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61" y="83"/>
                    <a:pt x="161" y="83"/>
                    <a:pt x="161" y="83"/>
                  </a:cubicBezTo>
                  <a:cubicBezTo>
                    <a:pt x="164" y="85"/>
                    <a:pt x="162" y="88"/>
                    <a:pt x="158" y="90"/>
                  </a:cubicBezTo>
                  <a:cubicBezTo>
                    <a:pt x="156" y="91"/>
                    <a:pt x="156" y="91"/>
                    <a:pt x="156" y="91"/>
                  </a:cubicBezTo>
                  <a:cubicBezTo>
                    <a:pt x="151" y="92"/>
                    <a:pt x="145" y="92"/>
                    <a:pt x="143" y="91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4" y="72"/>
                    <a:pt x="114" y="72"/>
                    <a:pt x="113" y="72"/>
                  </a:cubicBezTo>
                  <a:cubicBezTo>
                    <a:pt x="112" y="71"/>
                    <a:pt x="111" y="69"/>
                    <a:pt x="112" y="68"/>
                  </a:cubicBezTo>
                  <a:close/>
                  <a:moveTo>
                    <a:pt x="467" y="140"/>
                  </a:moveTo>
                  <a:cubicBezTo>
                    <a:pt x="112" y="140"/>
                    <a:pt x="112" y="140"/>
                    <a:pt x="112" y="140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3" y="155"/>
                    <a:pt x="132" y="159"/>
                    <a:pt x="126" y="161"/>
                  </a:cubicBezTo>
                  <a:cubicBezTo>
                    <a:pt x="125" y="162"/>
                    <a:pt x="125" y="162"/>
                    <a:pt x="125" y="162"/>
                  </a:cubicBezTo>
                  <a:cubicBezTo>
                    <a:pt x="119" y="164"/>
                    <a:pt x="113" y="164"/>
                    <a:pt x="110" y="162"/>
                  </a:cubicBezTo>
                  <a:cubicBezTo>
                    <a:pt x="79" y="139"/>
                    <a:pt x="79" y="139"/>
                    <a:pt x="79" y="139"/>
                  </a:cubicBezTo>
                  <a:cubicBezTo>
                    <a:pt x="79" y="139"/>
                    <a:pt x="79" y="139"/>
                    <a:pt x="79" y="138"/>
                  </a:cubicBezTo>
                  <a:cubicBezTo>
                    <a:pt x="77" y="137"/>
                    <a:pt x="76" y="136"/>
                    <a:pt x="77" y="134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78" y="132"/>
                    <a:pt x="80" y="130"/>
                    <a:pt x="82" y="129"/>
                  </a:cubicBezTo>
                  <a:cubicBezTo>
                    <a:pt x="83" y="129"/>
                    <a:pt x="84" y="129"/>
                    <a:pt x="84" y="128"/>
                  </a:cubicBezTo>
                  <a:cubicBezTo>
                    <a:pt x="135" y="107"/>
                    <a:pt x="135" y="107"/>
                    <a:pt x="135" y="107"/>
                  </a:cubicBezTo>
                  <a:cubicBezTo>
                    <a:pt x="139" y="105"/>
                    <a:pt x="146" y="105"/>
                    <a:pt x="149" y="107"/>
                  </a:cubicBezTo>
                  <a:cubicBezTo>
                    <a:pt x="150" y="108"/>
                    <a:pt x="150" y="108"/>
                    <a:pt x="150" y="108"/>
                  </a:cubicBezTo>
                  <a:cubicBezTo>
                    <a:pt x="153" y="110"/>
                    <a:pt x="151" y="113"/>
                    <a:pt x="146" y="115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467" y="128"/>
                    <a:pt x="467" y="128"/>
                    <a:pt x="467" y="128"/>
                  </a:cubicBezTo>
                  <a:cubicBezTo>
                    <a:pt x="472" y="128"/>
                    <a:pt x="477" y="130"/>
                    <a:pt x="477" y="133"/>
                  </a:cubicBezTo>
                  <a:cubicBezTo>
                    <a:pt x="477" y="134"/>
                    <a:pt x="477" y="134"/>
                    <a:pt x="477" y="134"/>
                  </a:cubicBezTo>
                  <a:cubicBezTo>
                    <a:pt x="477" y="137"/>
                    <a:pt x="473" y="140"/>
                    <a:pt x="467" y="140"/>
                  </a:cubicBezTo>
                  <a:close/>
                  <a:moveTo>
                    <a:pt x="801" y="103"/>
                  </a:moveTo>
                  <a:cubicBezTo>
                    <a:pt x="801" y="103"/>
                    <a:pt x="801" y="103"/>
                    <a:pt x="801" y="103"/>
                  </a:cubicBezTo>
                  <a:cubicBezTo>
                    <a:pt x="771" y="124"/>
                    <a:pt x="771" y="124"/>
                    <a:pt x="771" y="124"/>
                  </a:cubicBezTo>
                  <a:cubicBezTo>
                    <a:pt x="768" y="126"/>
                    <a:pt x="762" y="126"/>
                    <a:pt x="757" y="124"/>
                  </a:cubicBezTo>
                  <a:cubicBezTo>
                    <a:pt x="755" y="123"/>
                    <a:pt x="755" y="123"/>
                    <a:pt x="755" y="123"/>
                  </a:cubicBezTo>
                  <a:cubicBezTo>
                    <a:pt x="751" y="121"/>
                    <a:pt x="749" y="118"/>
                    <a:pt x="752" y="116"/>
                  </a:cubicBezTo>
                  <a:cubicBezTo>
                    <a:pt x="770" y="104"/>
                    <a:pt x="770" y="104"/>
                    <a:pt x="770" y="104"/>
                  </a:cubicBezTo>
                  <a:cubicBezTo>
                    <a:pt x="432" y="104"/>
                    <a:pt x="432" y="104"/>
                    <a:pt x="432" y="104"/>
                  </a:cubicBezTo>
                  <a:cubicBezTo>
                    <a:pt x="427" y="104"/>
                    <a:pt x="422" y="102"/>
                    <a:pt x="423" y="99"/>
                  </a:cubicBezTo>
                  <a:cubicBezTo>
                    <a:pt x="423" y="98"/>
                    <a:pt x="423" y="98"/>
                    <a:pt x="423" y="98"/>
                  </a:cubicBezTo>
                  <a:cubicBezTo>
                    <a:pt x="423" y="96"/>
                    <a:pt x="427" y="93"/>
                    <a:pt x="432" y="93"/>
                  </a:cubicBezTo>
                  <a:cubicBezTo>
                    <a:pt x="765" y="93"/>
                    <a:pt x="765" y="93"/>
                    <a:pt x="765" y="93"/>
                  </a:cubicBezTo>
                  <a:cubicBezTo>
                    <a:pt x="737" y="82"/>
                    <a:pt x="737" y="82"/>
                    <a:pt x="737" y="82"/>
                  </a:cubicBezTo>
                  <a:cubicBezTo>
                    <a:pt x="733" y="80"/>
                    <a:pt x="731" y="77"/>
                    <a:pt x="734" y="76"/>
                  </a:cubicBezTo>
                  <a:cubicBezTo>
                    <a:pt x="735" y="75"/>
                    <a:pt x="735" y="75"/>
                    <a:pt x="735" y="75"/>
                  </a:cubicBezTo>
                  <a:cubicBezTo>
                    <a:pt x="738" y="73"/>
                    <a:pt x="744" y="73"/>
                    <a:pt x="749" y="75"/>
                  </a:cubicBezTo>
                  <a:cubicBezTo>
                    <a:pt x="796" y="94"/>
                    <a:pt x="796" y="94"/>
                    <a:pt x="796" y="94"/>
                  </a:cubicBezTo>
                  <a:cubicBezTo>
                    <a:pt x="797" y="94"/>
                    <a:pt x="797" y="95"/>
                    <a:pt x="798" y="95"/>
                  </a:cubicBezTo>
                  <a:cubicBezTo>
                    <a:pt x="800" y="96"/>
                    <a:pt x="802" y="97"/>
                    <a:pt x="802" y="98"/>
                  </a:cubicBezTo>
                  <a:cubicBezTo>
                    <a:pt x="803" y="99"/>
                    <a:pt x="803" y="99"/>
                    <a:pt x="803" y="99"/>
                  </a:cubicBezTo>
                  <a:cubicBezTo>
                    <a:pt x="804" y="101"/>
                    <a:pt x="803" y="102"/>
                    <a:pt x="801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6"/>
                </a:solidFill>
                <a:latin typeface="+mn-lt"/>
                <a:ea typeface=""/>
                <a:cs typeface="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60615" y="4113138"/>
            <a:ext cx="235817" cy="150577"/>
            <a:chOff x="7264473" y="1744663"/>
            <a:chExt cx="2967038" cy="1651001"/>
          </a:xfrm>
          <a:solidFill>
            <a:schemeClr val="bg2"/>
          </a:solidFill>
          <a:effectLst/>
        </p:grpSpPr>
        <p:sp>
          <p:nvSpPr>
            <p:cNvPr id="54" name="Freeform 7"/>
            <p:cNvSpPr>
              <a:spLocks/>
            </p:cNvSpPr>
            <p:nvPr/>
          </p:nvSpPr>
          <p:spPr bwMode="auto">
            <a:xfrm>
              <a:off x="7264473" y="2273301"/>
              <a:ext cx="2967038" cy="1122363"/>
            </a:xfrm>
            <a:custGeom>
              <a:avLst/>
              <a:gdLst>
                <a:gd name="T0" fmla="*/ 396 w 791"/>
                <a:gd name="T1" fmla="*/ 93 h 299"/>
                <a:gd name="T2" fmla="*/ 0 w 791"/>
                <a:gd name="T3" fmla="*/ 0 h 299"/>
                <a:gd name="T4" fmla="*/ 0 w 791"/>
                <a:gd name="T5" fmla="*/ 178 h 299"/>
                <a:gd name="T6" fmla="*/ 0 w 791"/>
                <a:gd name="T7" fmla="*/ 180 h 299"/>
                <a:gd name="T8" fmla="*/ 116 w 791"/>
                <a:gd name="T9" fmla="*/ 264 h 299"/>
                <a:gd name="T10" fmla="*/ 116 w 791"/>
                <a:gd name="T11" fmla="*/ 264 h 299"/>
                <a:gd name="T12" fmla="*/ 327 w 791"/>
                <a:gd name="T13" fmla="*/ 297 h 299"/>
                <a:gd name="T14" fmla="*/ 329 w 791"/>
                <a:gd name="T15" fmla="*/ 297 h 299"/>
                <a:gd name="T16" fmla="*/ 394 w 791"/>
                <a:gd name="T17" fmla="*/ 299 h 299"/>
                <a:gd name="T18" fmla="*/ 640 w 791"/>
                <a:gd name="T19" fmla="*/ 273 h 299"/>
                <a:gd name="T20" fmla="*/ 644 w 791"/>
                <a:gd name="T21" fmla="*/ 272 h 299"/>
                <a:gd name="T22" fmla="*/ 791 w 791"/>
                <a:gd name="T23" fmla="*/ 180 h 299"/>
                <a:gd name="T24" fmla="*/ 791 w 791"/>
                <a:gd name="T25" fmla="*/ 180 h 299"/>
                <a:gd name="T26" fmla="*/ 791 w 791"/>
                <a:gd name="T27" fmla="*/ 0 h 299"/>
                <a:gd name="T28" fmla="*/ 396 w 791"/>
                <a:gd name="T29" fmla="*/ 9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91" h="299">
                  <a:moveTo>
                    <a:pt x="396" y="93"/>
                  </a:moveTo>
                  <a:cubicBezTo>
                    <a:pt x="222" y="93"/>
                    <a:pt x="46" y="61"/>
                    <a:pt x="0" y="0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0" y="179"/>
                    <a:pt x="0" y="180"/>
                    <a:pt x="0" y="180"/>
                  </a:cubicBezTo>
                  <a:cubicBezTo>
                    <a:pt x="0" y="213"/>
                    <a:pt x="44" y="242"/>
                    <a:pt x="116" y="264"/>
                  </a:cubicBezTo>
                  <a:cubicBezTo>
                    <a:pt x="116" y="264"/>
                    <a:pt x="116" y="264"/>
                    <a:pt x="116" y="264"/>
                  </a:cubicBezTo>
                  <a:cubicBezTo>
                    <a:pt x="172" y="281"/>
                    <a:pt x="245" y="293"/>
                    <a:pt x="327" y="297"/>
                  </a:cubicBezTo>
                  <a:cubicBezTo>
                    <a:pt x="329" y="297"/>
                    <a:pt x="329" y="297"/>
                    <a:pt x="329" y="297"/>
                  </a:cubicBezTo>
                  <a:cubicBezTo>
                    <a:pt x="350" y="298"/>
                    <a:pt x="372" y="299"/>
                    <a:pt x="394" y="299"/>
                  </a:cubicBezTo>
                  <a:cubicBezTo>
                    <a:pt x="487" y="299"/>
                    <a:pt x="572" y="289"/>
                    <a:pt x="640" y="273"/>
                  </a:cubicBezTo>
                  <a:cubicBezTo>
                    <a:pt x="644" y="272"/>
                    <a:pt x="644" y="272"/>
                    <a:pt x="644" y="272"/>
                  </a:cubicBezTo>
                  <a:cubicBezTo>
                    <a:pt x="734" y="250"/>
                    <a:pt x="791" y="217"/>
                    <a:pt x="791" y="180"/>
                  </a:cubicBezTo>
                  <a:cubicBezTo>
                    <a:pt x="791" y="180"/>
                    <a:pt x="791" y="180"/>
                    <a:pt x="791" y="180"/>
                  </a:cubicBezTo>
                  <a:cubicBezTo>
                    <a:pt x="791" y="0"/>
                    <a:pt x="791" y="0"/>
                    <a:pt x="791" y="0"/>
                  </a:cubicBezTo>
                  <a:cubicBezTo>
                    <a:pt x="745" y="61"/>
                    <a:pt x="569" y="93"/>
                    <a:pt x="396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6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55" name="Freeform 8"/>
            <p:cNvSpPr>
              <a:spLocks noEditPoints="1"/>
            </p:cNvSpPr>
            <p:nvPr/>
          </p:nvSpPr>
          <p:spPr bwMode="auto">
            <a:xfrm>
              <a:off x="7286698" y="1744663"/>
              <a:ext cx="2925763" cy="809625"/>
            </a:xfrm>
            <a:custGeom>
              <a:avLst/>
              <a:gdLst>
                <a:gd name="T0" fmla="*/ 0 w 780"/>
                <a:gd name="T1" fmla="*/ 108 h 216"/>
                <a:gd name="T2" fmla="*/ 780 w 780"/>
                <a:gd name="T3" fmla="*/ 108 h 216"/>
                <a:gd name="T4" fmla="*/ 278 w 780"/>
                <a:gd name="T5" fmla="*/ 38 h 216"/>
                <a:gd name="T6" fmla="*/ 371 w 780"/>
                <a:gd name="T7" fmla="*/ 11 h 216"/>
                <a:gd name="T8" fmla="*/ 390 w 780"/>
                <a:gd name="T9" fmla="*/ 10 h 216"/>
                <a:gd name="T10" fmla="*/ 409 w 780"/>
                <a:gd name="T11" fmla="*/ 12 h 216"/>
                <a:gd name="T12" fmla="*/ 498 w 780"/>
                <a:gd name="T13" fmla="*/ 47 h 216"/>
                <a:gd name="T14" fmla="*/ 463 w 780"/>
                <a:gd name="T15" fmla="*/ 48 h 216"/>
                <a:gd name="T16" fmla="*/ 412 w 780"/>
                <a:gd name="T17" fmla="*/ 85 h 216"/>
                <a:gd name="T18" fmla="*/ 386 w 780"/>
                <a:gd name="T19" fmla="*/ 91 h 216"/>
                <a:gd name="T20" fmla="*/ 364 w 780"/>
                <a:gd name="T21" fmla="*/ 33 h 216"/>
                <a:gd name="T22" fmla="*/ 281 w 780"/>
                <a:gd name="T23" fmla="*/ 48 h 216"/>
                <a:gd name="T24" fmla="*/ 278 w 780"/>
                <a:gd name="T25" fmla="*/ 38 h 216"/>
                <a:gd name="T26" fmla="*/ 212 w 780"/>
                <a:gd name="T27" fmla="*/ 135 h 216"/>
                <a:gd name="T28" fmla="*/ 263 w 780"/>
                <a:gd name="T29" fmla="*/ 111 h 216"/>
                <a:gd name="T30" fmla="*/ 65 w 780"/>
                <a:gd name="T31" fmla="*/ 105 h 216"/>
                <a:gd name="T32" fmla="*/ 87 w 780"/>
                <a:gd name="T33" fmla="*/ 97 h 216"/>
                <a:gd name="T34" fmla="*/ 212 w 780"/>
                <a:gd name="T35" fmla="*/ 82 h 216"/>
                <a:gd name="T36" fmla="*/ 215 w 780"/>
                <a:gd name="T37" fmla="*/ 72 h 216"/>
                <a:gd name="T38" fmla="*/ 335 w 780"/>
                <a:gd name="T39" fmla="*/ 98 h 216"/>
                <a:gd name="T40" fmla="*/ 344 w 780"/>
                <a:gd name="T41" fmla="*/ 104 h 216"/>
                <a:gd name="T42" fmla="*/ 336 w 780"/>
                <a:gd name="T43" fmla="*/ 110 h 216"/>
                <a:gd name="T44" fmla="*/ 246 w 780"/>
                <a:gd name="T45" fmla="*/ 136 h 216"/>
                <a:gd name="T46" fmla="*/ 498 w 780"/>
                <a:gd name="T47" fmla="*/ 170 h 216"/>
                <a:gd name="T48" fmla="*/ 407 w 780"/>
                <a:gd name="T49" fmla="*/ 196 h 216"/>
                <a:gd name="T50" fmla="*/ 386 w 780"/>
                <a:gd name="T51" fmla="*/ 199 h 216"/>
                <a:gd name="T52" fmla="*/ 366 w 780"/>
                <a:gd name="T53" fmla="*/ 196 h 216"/>
                <a:gd name="T54" fmla="*/ 278 w 780"/>
                <a:gd name="T55" fmla="*/ 161 h 216"/>
                <a:gd name="T56" fmla="*/ 312 w 780"/>
                <a:gd name="T57" fmla="*/ 160 h 216"/>
                <a:gd name="T58" fmla="*/ 364 w 780"/>
                <a:gd name="T59" fmla="*/ 123 h 216"/>
                <a:gd name="T60" fmla="*/ 390 w 780"/>
                <a:gd name="T61" fmla="*/ 117 h 216"/>
                <a:gd name="T62" fmla="*/ 412 w 780"/>
                <a:gd name="T63" fmla="*/ 175 h 216"/>
                <a:gd name="T64" fmla="*/ 494 w 780"/>
                <a:gd name="T65" fmla="*/ 160 h 216"/>
                <a:gd name="T66" fmla="*/ 498 w 780"/>
                <a:gd name="T67" fmla="*/ 170 h 216"/>
                <a:gd name="T68" fmla="*/ 689 w 780"/>
                <a:gd name="T69" fmla="*/ 111 h 216"/>
                <a:gd name="T70" fmla="*/ 563 w 780"/>
                <a:gd name="T71" fmla="*/ 126 h 216"/>
                <a:gd name="T72" fmla="*/ 560 w 780"/>
                <a:gd name="T73" fmla="*/ 136 h 216"/>
                <a:gd name="T74" fmla="*/ 441 w 780"/>
                <a:gd name="T75" fmla="*/ 110 h 216"/>
                <a:gd name="T76" fmla="*/ 431 w 780"/>
                <a:gd name="T77" fmla="*/ 105 h 216"/>
                <a:gd name="T78" fmla="*/ 437 w 780"/>
                <a:gd name="T79" fmla="*/ 99 h 216"/>
                <a:gd name="T80" fmla="*/ 529 w 780"/>
                <a:gd name="T81" fmla="*/ 72 h 216"/>
                <a:gd name="T82" fmla="*/ 563 w 780"/>
                <a:gd name="T83" fmla="*/ 73 h 216"/>
                <a:gd name="T84" fmla="*/ 511 w 780"/>
                <a:gd name="T85" fmla="*/ 97 h 216"/>
                <a:gd name="T86" fmla="*/ 711 w 780"/>
                <a:gd name="T87" fmla="*/ 10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80" h="216">
                  <a:moveTo>
                    <a:pt x="390" y="0"/>
                  </a:moveTo>
                  <a:cubicBezTo>
                    <a:pt x="174" y="0"/>
                    <a:pt x="0" y="48"/>
                    <a:pt x="0" y="108"/>
                  </a:cubicBezTo>
                  <a:cubicBezTo>
                    <a:pt x="0" y="168"/>
                    <a:pt x="174" y="216"/>
                    <a:pt x="390" y="216"/>
                  </a:cubicBezTo>
                  <a:cubicBezTo>
                    <a:pt x="605" y="216"/>
                    <a:pt x="780" y="168"/>
                    <a:pt x="780" y="108"/>
                  </a:cubicBezTo>
                  <a:cubicBezTo>
                    <a:pt x="780" y="48"/>
                    <a:pt x="605" y="0"/>
                    <a:pt x="390" y="0"/>
                  </a:cubicBezTo>
                  <a:close/>
                  <a:moveTo>
                    <a:pt x="278" y="38"/>
                  </a:moveTo>
                  <a:cubicBezTo>
                    <a:pt x="366" y="12"/>
                    <a:pt x="366" y="12"/>
                    <a:pt x="366" y="12"/>
                  </a:cubicBezTo>
                  <a:cubicBezTo>
                    <a:pt x="368" y="12"/>
                    <a:pt x="369" y="12"/>
                    <a:pt x="371" y="11"/>
                  </a:cubicBezTo>
                  <a:cubicBezTo>
                    <a:pt x="375" y="10"/>
                    <a:pt x="380" y="10"/>
                    <a:pt x="386" y="10"/>
                  </a:cubicBezTo>
                  <a:cubicBezTo>
                    <a:pt x="390" y="10"/>
                    <a:pt x="390" y="10"/>
                    <a:pt x="390" y="10"/>
                  </a:cubicBezTo>
                  <a:cubicBezTo>
                    <a:pt x="397" y="10"/>
                    <a:pt x="403" y="11"/>
                    <a:pt x="407" y="12"/>
                  </a:cubicBezTo>
                  <a:cubicBezTo>
                    <a:pt x="408" y="12"/>
                    <a:pt x="408" y="12"/>
                    <a:pt x="409" y="12"/>
                  </a:cubicBezTo>
                  <a:cubicBezTo>
                    <a:pt x="498" y="38"/>
                    <a:pt x="498" y="38"/>
                    <a:pt x="498" y="38"/>
                  </a:cubicBezTo>
                  <a:cubicBezTo>
                    <a:pt x="506" y="41"/>
                    <a:pt x="506" y="45"/>
                    <a:pt x="498" y="47"/>
                  </a:cubicBezTo>
                  <a:cubicBezTo>
                    <a:pt x="494" y="48"/>
                    <a:pt x="494" y="48"/>
                    <a:pt x="494" y="48"/>
                  </a:cubicBezTo>
                  <a:cubicBezTo>
                    <a:pt x="486" y="51"/>
                    <a:pt x="472" y="51"/>
                    <a:pt x="463" y="48"/>
                  </a:cubicBezTo>
                  <a:cubicBezTo>
                    <a:pt x="412" y="33"/>
                    <a:pt x="412" y="33"/>
                    <a:pt x="412" y="33"/>
                  </a:cubicBezTo>
                  <a:cubicBezTo>
                    <a:pt x="412" y="85"/>
                    <a:pt x="412" y="85"/>
                    <a:pt x="412" y="85"/>
                  </a:cubicBezTo>
                  <a:cubicBezTo>
                    <a:pt x="412" y="89"/>
                    <a:pt x="402" y="91"/>
                    <a:pt x="390" y="91"/>
                  </a:cubicBezTo>
                  <a:cubicBezTo>
                    <a:pt x="386" y="91"/>
                    <a:pt x="386" y="91"/>
                    <a:pt x="386" y="91"/>
                  </a:cubicBezTo>
                  <a:cubicBezTo>
                    <a:pt x="374" y="91"/>
                    <a:pt x="364" y="89"/>
                    <a:pt x="364" y="85"/>
                  </a:cubicBezTo>
                  <a:cubicBezTo>
                    <a:pt x="364" y="33"/>
                    <a:pt x="364" y="33"/>
                    <a:pt x="364" y="33"/>
                  </a:cubicBezTo>
                  <a:cubicBezTo>
                    <a:pt x="312" y="48"/>
                    <a:pt x="312" y="48"/>
                    <a:pt x="312" y="48"/>
                  </a:cubicBezTo>
                  <a:cubicBezTo>
                    <a:pt x="303" y="51"/>
                    <a:pt x="289" y="51"/>
                    <a:pt x="281" y="48"/>
                  </a:cubicBezTo>
                  <a:cubicBezTo>
                    <a:pt x="278" y="47"/>
                    <a:pt x="278" y="47"/>
                    <a:pt x="278" y="47"/>
                  </a:cubicBezTo>
                  <a:cubicBezTo>
                    <a:pt x="269" y="45"/>
                    <a:pt x="269" y="41"/>
                    <a:pt x="278" y="38"/>
                  </a:cubicBezTo>
                  <a:close/>
                  <a:moveTo>
                    <a:pt x="215" y="136"/>
                  </a:moveTo>
                  <a:cubicBezTo>
                    <a:pt x="212" y="135"/>
                    <a:pt x="212" y="135"/>
                    <a:pt x="212" y="135"/>
                  </a:cubicBezTo>
                  <a:cubicBezTo>
                    <a:pt x="203" y="133"/>
                    <a:pt x="203" y="129"/>
                    <a:pt x="212" y="126"/>
                  </a:cubicBezTo>
                  <a:cubicBezTo>
                    <a:pt x="263" y="111"/>
                    <a:pt x="263" y="111"/>
                    <a:pt x="263" y="111"/>
                  </a:cubicBezTo>
                  <a:cubicBezTo>
                    <a:pt x="87" y="111"/>
                    <a:pt x="87" y="111"/>
                    <a:pt x="87" y="111"/>
                  </a:cubicBezTo>
                  <a:cubicBezTo>
                    <a:pt x="74" y="111"/>
                    <a:pt x="65" y="108"/>
                    <a:pt x="65" y="105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65" y="100"/>
                    <a:pt x="74" y="97"/>
                    <a:pt x="87" y="97"/>
                  </a:cubicBezTo>
                  <a:cubicBezTo>
                    <a:pt x="264" y="97"/>
                    <a:pt x="264" y="97"/>
                    <a:pt x="264" y="97"/>
                  </a:cubicBezTo>
                  <a:cubicBezTo>
                    <a:pt x="212" y="82"/>
                    <a:pt x="212" y="82"/>
                    <a:pt x="212" y="82"/>
                  </a:cubicBezTo>
                  <a:cubicBezTo>
                    <a:pt x="203" y="80"/>
                    <a:pt x="203" y="75"/>
                    <a:pt x="212" y="73"/>
                  </a:cubicBezTo>
                  <a:cubicBezTo>
                    <a:pt x="215" y="72"/>
                    <a:pt x="215" y="72"/>
                    <a:pt x="215" y="72"/>
                  </a:cubicBezTo>
                  <a:cubicBezTo>
                    <a:pt x="224" y="70"/>
                    <a:pt x="238" y="70"/>
                    <a:pt x="246" y="72"/>
                  </a:cubicBezTo>
                  <a:cubicBezTo>
                    <a:pt x="335" y="98"/>
                    <a:pt x="335" y="98"/>
                    <a:pt x="335" y="98"/>
                  </a:cubicBezTo>
                  <a:cubicBezTo>
                    <a:pt x="336" y="98"/>
                    <a:pt x="337" y="99"/>
                    <a:pt x="338" y="99"/>
                  </a:cubicBezTo>
                  <a:cubicBezTo>
                    <a:pt x="342" y="100"/>
                    <a:pt x="344" y="102"/>
                    <a:pt x="344" y="104"/>
                  </a:cubicBezTo>
                  <a:cubicBezTo>
                    <a:pt x="344" y="105"/>
                    <a:pt x="344" y="105"/>
                    <a:pt x="344" y="105"/>
                  </a:cubicBezTo>
                  <a:cubicBezTo>
                    <a:pt x="344" y="107"/>
                    <a:pt x="341" y="109"/>
                    <a:pt x="336" y="110"/>
                  </a:cubicBezTo>
                  <a:cubicBezTo>
                    <a:pt x="336" y="110"/>
                    <a:pt x="335" y="110"/>
                    <a:pt x="335" y="110"/>
                  </a:cubicBezTo>
                  <a:cubicBezTo>
                    <a:pt x="246" y="136"/>
                    <a:pt x="246" y="136"/>
                    <a:pt x="246" y="136"/>
                  </a:cubicBezTo>
                  <a:cubicBezTo>
                    <a:pt x="238" y="139"/>
                    <a:pt x="224" y="139"/>
                    <a:pt x="215" y="136"/>
                  </a:cubicBezTo>
                  <a:close/>
                  <a:moveTo>
                    <a:pt x="498" y="170"/>
                  </a:moveTo>
                  <a:cubicBezTo>
                    <a:pt x="409" y="196"/>
                    <a:pt x="409" y="196"/>
                    <a:pt x="409" y="196"/>
                  </a:cubicBezTo>
                  <a:cubicBezTo>
                    <a:pt x="408" y="196"/>
                    <a:pt x="408" y="196"/>
                    <a:pt x="407" y="196"/>
                  </a:cubicBezTo>
                  <a:cubicBezTo>
                    <a:pt x="403" y="198"/>
                    <a:pt x="397" y="199"/>
                    <a:pt x="390" y="199"/>
                  </a:cubicBezTo>
                  <a:cubicBezTo>
                    <a:pt x="386" y="199"/>
                    <a:pt x="386" y="199"/>
                    <a:pt x="386" y="199"/>
                  </a:cubicBezTo>
                  <a:cubicBezTo>
                    <a:pt x="380" y="199"/>
                    <a:pt x="375" y="198"/>
                    <a:pt x="371" y="197"/>
                  </a:cubicBezTo>
                  <a:cubicBezTo>
                    <a:pt x="369" y="197"/>
                    <a:pt x="368" y="196"/>
                    <a:pt x="366" y="196"/>
                  </a:cubicBezTo>
                  <a:cubicBezTo>
                    <a:pt x="278" y="170"/>
                    <a:pt x="278" y="170"/>
                    <a:pt x="278" y="170"/>
                  </a:cubicBezTo>
                  <a:cubicBezTo>
                    <a:pt x="269" y="167"/>
                    <a:pt x="269" y="163"/>
                    <a:pt x="278" y="161"/>
                  </a:cubicBezTo>
                  <a:cubicBezTo>
                    <a:pt x="281" y="160"/>
                    <a:pt x="281" y="160"/>
                    <a:pt x="281" y="160"/>
                  </a:cubicBezTo>
                  <a:cubicBezTo>
                    <a:pt x="289" y="157"/>
                    <a:pt x="303" y="157"/>
                    <a:pt x="312" y="160"/>
                  </a:cubicBezTo>
                  <a:cubicBezTo>
                    <a:pt x="364" y="175"/>
                    <a:pt x="364" y="175"/>
                    <a:pt x="364" y="175"/>
                  </a:cubicBezTo>
                  <a:cubicBezTo>
                    <a:pt x="364" y="123"/>
                    <a:pt x="364" y="123"/>
                    <a:pt x="364" y="123"/>
                  </a:cubicBezTo>
                  <a:cubicBezTo>
                    <a:pt x="364" y="120"/>
                    <a:pt x="374" y="117"/>
                    <a:pt x="386" y="117"/>
                  </a:cubicBezTo>
                  <a:cubicBezTo>
                    <a:pt x="390" y="117"/>
                    <a:pt x="390" y="117"/>
                    <a:pt x="390" y="117"/>
                  </a:cubicBezTo>
                  <a:cubicBezTo>
                    <a:pt x="402" y="117"/>
                    <a:pt x="412" y="120"/>
                    <a:pt x="412" y="123"/>
                  </a:cubicBezTo>
                  <a:cubicBezTo>
                    <a:pt x="412" y="175"/>
                    <a:pt x="412" y="175"/>
                    <a:pt x="412" y="175"/>
                  </a:cubicBezTo>
                  <a:cubicBezTo>
                    <a:pt x="463" y="160"/>
                    <a:pt x="463" y="160"/>
                    <a:pt x="463" y="160"/>
                  </a:cubicBezTo>
                  <a:cubicBezTo>
                    <a:pt x="472" y="157"/>
                    <a:pt x="486" y="157"/>
                    <a:pt x="494" y="160"/>
                  </a:cubicBezTo>
                  <a:cubicBezTo>
                    <a:pt x="498" y="161"/>
                    <a:pt x="498" y="161"/>
                    <a:pt x="498" y="161"/>
                  </a:cubicBezTo>
                  <a:cubicBezTo>
                    <a:pt x="506" y="163"/>
                    <a:pt x="506" y="167"/>
                    <a:pt x="498" y="170"/>
                  </a:cubicBezTo>
                  <a:close/>
                  <a:moveTo>
                    <a:pt x="711" y="105"/>
                  </a:moveTo>
                  <a:cubicBezTo>
                    <a:pt x="711" y="108"/>
                    <a:pt x="701" y="111"/>
                    <a:pt x="689" y="111"/>
                  </a:cubicBezTo>
                  <a:cubicBezTo>
                    <a:pt x="512" y="111"/>
                    <a:pt x="512" y="111"/>
                    <a:pt x="512" y="111"/>
                  </a:cubicBezTo>
                  <a:cubicBezTo>
                    <a:pt x="563" y="126"/>
                    <a:pt x="563" y="126"/>
                    <a:pt x="563" y="126"/>
                  </a:cubicBezTo>
                  <a:cubicBezTo>
                    <a:pt x="572" y="129"/>
                    <a:pt x="572" y="133"/>
                    <a:pt x="563" y="135"/>
                  </a:cubicBezTo>
                  <a:cubicBezTo>
                    <a:pt x="560" y="136"/>
                    <a:pt x="560" y="136"/>
                    <a:pt x="560" y="136"/>
                  </a:cubicBezTo>
                  <a:cubicBezTo>
                    <a:pt x="552" y="139"/>
                    <a:pt x="538" y="139"/>
                    <a:pt x="529" y="136"/>
                  </a:cubicBezTo>
                  <a:cubicBezTo>
                    <a:pt x="441" y="110"/>
                    <a:pt x="441" y="110"/>
                    <a:pt x="441" y="110"/>
                  </a:cubicBezTo>
                  <a:cubicBezTo>
                    <a:pt x="440" y="110"/>
                    <a:pt x="440" y="110"/>
                    <a:pt x="439" y="110"/>
                  </a:cubicBezTo>
                  <a:cubicBezTo>
                    <a:pt x="434" y="109"/>
                    <a:pt x="431" y="107"/>
                    <a:pt x="431" y="105"/>
                  </a:cubicBezTo>
                  <a:cubicBezTo>
                    <a:pt x="431" y="104"/>
                    <a:pt x="431" y="104"/>
                    <a:pt x="431" y="104"/>
                  </a:cubicBezTo>
                  <a:cubicBezTo>
                    <a:pt x="431" y="102"/>
                    <a:pt x="434" y="100"/>
                    <a:pt x="437" y="99"/>
                  </a:cubicBezTo>
                  <a:cubicBezTo>
                    <a:pt x="438" y="99"/>
                    <a:pt x="439" y="98"/>
                    <a:pt x="441" y="98"/>
                  </a:cubicBezTo>
                  <a:cubicBezTo>
                    <a:pt x="529" y="72"/>
                    <a:pt x="529" y="72"/>
                    <a:pt x="529" y="72"/>
                  </a:cubicBezTo>
                  <a:cubicBezTo>
                    <a:pt x="538" y="70"/>
                    <a:pt x="552" y="70"/>
                    <a:pt x="560" y="72"/>
                  </a:cubicBezTo>
                  <a:cubicBezTo>
                    <a:pt x="563" y="73"/>
                    <a:pt x="563" y="73"/>
                    <a:pt x="563" y="73"/>
                  </a:cubicBezTo>
                  <a:cubicBezTo>
                    <a:pt x="572" y="75"/>
                    <a:pt x="572" y="80"/>
                    <a:pt x="563" y="82"/>
                  </a:cubicBezTo>
                  <a:cubicBezTo>
                    <a:pt x="511" y="97"/>
                    <a:pt x="511" y="97"/>
                    <a:pt x="511" y="97"/>
                  </a:cubicBezTo>
                  <a:cubicBezTo>
                    <a:pt x="689" y="97"/>
                    <a:pt x="689" y="97"/>
                    <a:pt x="689" y="97"/>
                  </a:cubicBezTo>
                  <a:cubicBezTo>
                    <a:pt x="701" y="97"/>
                    <a:pt x="711" y="100"/>
                    <a:pt x="711" y="104"/>
                  </a:cubicBezTo>
                  <a:lnTo>
                    <a:pt x="71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chemeClr val="accent6"/>
                </a:solidFill>
                <a:latin typeface="+mn-lt"/>
                <a:ea typeface=""/>
                <a:cs typeface=""/>
              </a:endParaRP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4912746" y="2766000"/>
            <a:ext cx="1212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SERVICE AVAILABILITY 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5358829" y="2380714"/>
            <a:ext cx="319841" cy="375636"/>
            <a:chOff x="4585714" y="753841"/>
            <a:chExt cx="327025" cy="384175"/>
          </a:xfrm>
          <a:solidFill>
            <a:schemeClr val="bg2"/>
          </a:solidFill>
          <a:effectLst/>
        </p:grpSpPr>
        <p:sp>
          <p:nvSpPr>
            <p:cNvPr id="58" name="Freeform 57"/>
            <p:cNvSpPr>
              <a:spLocks/>
            </p:cNvSpPr>
            <p:nvPr/>
          </p:nvSpPr>
          <p:spPr bwMode="auto">
            <a:xfrm flipH="1">
              <a:off x="4585714" y="753841"/>
              <a:ext cx="327025" cy="384175"/>
            </a:xfrm>
            <a:custGeom>
              <a:avLst/>
              <a:gdLst>
                <a:gd name="T0" fmla="*/ 121 w 206"/>
                <a:gd name="T1" fmla="*/ 20 h 242"/>
                <a:gd name="T2" fmla="*/ 124 w 206"/>
                <a:gd name="T3" fmla="*/ 15 h 242"/>
                <a:gd name="T4" fmla="*/ 124 w 206"/>
                <a:gd name="T5" fmla="*/ 7 h 242"/>
                <a:gd name="T6" fmla="*/ 121 w 206"/>
                <a:gd name="T7" fmla="*/ 4 h 242"/>
                <a:gd name="T8" fmla="*/ 112 w 206"/>
                <a:gd name="T9" fmla="*/ 0 h 242"/>
                <a:gd name="T10" fmla="*/ 104 w 206"/>
                <a:gd name="T11" fmla="*/ 4 h 242"/>
                <a:gd name="T12" fmla="*/ 67 w 206"/>
                <a:gd name="T13" fmla="*/ 41 h 242"/>
                <a:gd name="T14" fmla="*/ 63 w 206"/>
                <a:gd name="T15" fmla="*/ 49 h 242"/>
                <a:gd name="T16" fmla="*/ 67 w 206"/>
                <a:gd name="T17" fmla="*/ 58 h 242"/>
                <a:gd name="T18" fmla="*/ 104 w 206"/>
                <a:gd name="T19" fmla="*/ 95 h 242"/>
                <a:gd name="T20" fmla="*/ 112 w 206"/>
                <a:gd name="T21" fmla="*/ 98 h 242"/>
                <a:gd name="T22" fmla="*/ 121 w 206"/>
                <a:gd name="T23" fmla="*/ 95 h 242"/>
                <a:gd name="T24" fmla="*/ 124 w 206"/>
                <a:gd name="T25" fmla="*/ 90 h 242"/>
                <a:gd name="T26" fmla="*/ 124 w 206"/>
                <a:gd name="T27" fmla="*/ 82 h 242"/>
                <a:gd name="T28" fmla="*/ 103 w 206"/>
                <a:gd name="T29" fmla="*/ 59 h 242"/>
                <a:gd name="T30" fmla="*/ 103 w 206"/>
                <a:gd name="T31" fmla="*/ 59 h 242"/>
                <a:gd name="T32" fmla="*/ 134 w 206"/>
                <a:gd name="T33" fmla="*/ 66 h 242"/>
                <a:gd name="T34" fmla="*/ 160 w 206"/>
                <a:gd name="T35" fmla="*/ 84 h 242"/>
                <a:gd name="T36" fmla="*/ 176 w 206"/>
                <a:gd name="T37" fmla="*/ 108 h 242"/>
                <a:gd name="T38" fmla="*/ 183 w 206"/>
                <a:gd name="T39" fmla="*/ 139 h 242"/>
                <a:gd name="T40" fmla="*/ 181 w 206"/>
                <a:gd name="T41" fmla="*/ 156 h 242"/>
                <a:gd name="T42" fmla="*/ 170 w 206"/>
                <a:gd name="T43" fmla="*/ 185 h 242"/>
                <a:gd name="T44" fmla="*/ 148 w 206"/>
                <a:gd name="T45" fmla="*/ 206 h 242"/>
                <a:gd name="T46" fmla="*/ 119 w 206"/>
                <a:gd name="T47" fmla="*/ 218 h 242"/>
                <a:gd name="T48" fmla="*/ 103 w 206"/>
                <a:gd name="T49" fmla="*/ 219 h 242"/>
                <a:gd name="T50" fmla="*/ 72 w 206"/>
                <a:gd name="T51" fmla="*/ 213 h 242"/>
                <a:gd name="T52" fmla="*/ 45 w 206"/>
                <a:gd name="T53" fmla="*/ 197 h 242"/>
                <a:gd name="T54" fmla="*/ 29 w 206"/>
                <a:gd name="T55" fmla="*/ 170 h 242"/>
                <a:gd name="T56" fmla="*/ 23 w 206"/>
                <a:gd name="T57" fmla="*/ 139 h 242"/>
                <a:gd name="T58" fmla="*/ 23 w 206"/>
                <a:gd name="T59" fmla="*/ 136 h 242"/>
                <a:gd name="T60" fmla="*/ 16 w 206"/>
                <a:gd name="T61" fmla="*/ 129 h 242"/>
                <a:gd name="T62" fmla="*/ 11 w 206"/>
                <a:gd name="T63" fmla="*/ 128 h 242"/>
                <a:gd name="T64" fmla="*/ 3 w 206"/>
                <a:gd name="T65" fmla="*/ 131 h 242"/>
                <a:gd name="T66" fmla="*/ 0 w 206"/>
                <a:gd name="T67" fmla="*/ 139 h 242"/>
                <a:gd name="T68" fmla="*/ 1 w 206"/>
                <a:gd name="T69" fmla="*/ 151 h 242"/>
                <a:gd name="T70" fmla="*/ 5 w 206"/>
                <a:gd name="T71" fmla="*/ 170 h 242"/>
                <a:gd name="T72" fmla="*/ 18 w 206"/>
                <a:gd name="T73" fmla="*/ 197 h 242"/>
                <a:gd name="T74" fmla="*/ 45 w 206"/>
                <a:gd name="T75" fmla="*/ 224 h 242"/>
                <a:gd name="T76" fmla="*/ 72 w 206"/>
                <a:gd name="T77" fmla="*/ 237 h 242"/>
                <a:gd name="T78" fmla="*/ 93 w 206"/>
                <a:gd name="T79" fmla="*/ 242 h 242"/>
                <a:gd name="T80" fmla="*/ 103 w 206"/>
                <a:gd name="T81" fmla="*/ 242 h 242"/>
                <a:gd name="T82" fmla="*/ 124 w 206"/>
                <a:gd name="T83" fmla="*/ 241 h 242"/>
                <a:gd name="T84" fmla="*/ 144 w 206"/>
                <a:gd name="T85" fmla="*/ 234 h 242"/>
                <a:gd name="T86" fmla="*/ 176 w 206"/>
                <a:gd name="T87" fmla="*/ 213 h 242"/>
                <a:gd name="T88" fmla="*/ 197 w 206"/>
                <a:gd name="T89" fmla="*/ 180 h 242"/>
                <a:gd name="T90" fmla="*/ 204 w 206"/>
                <a:gd name="T91" fmla="*/ 161 h 242"/>
                <a:gd name="T92" fmla="*/ 206 w 206"/>
                <a:gd name="T93" fmla="*/ 139 h 242"/>
                <a:gd name="T94" fmla="*/ 206 w 206"/>
                <a:gd name="T95" fmla="*/ 129 h 242"/>
                <a:gd name="T96" fmla="*/ 201 w 206"/>
                <a:gd name="T97" fmla="*/ 110 h 242"/>
                <a:gd name="T98" fmla="*/ 188 w 206"/>
                <a:gd name="T99" fmla="*/ 82 h 242"/>
                <a:gd name="T100" fmla="*/ 161 w 206"/>
                <a:gd name="T101" fmla="*/ 54 h 242"/>
                <a:gd name="T102" fmla="*/ 134 w 206"/>
                <a:gd name="T103" fmla="*/ 41 h 242"/>
                <a:gd name="T104" fmla="*/ 114 w 206"/>
                <a:gd name="T105" fmla="*/ 3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6" h="242">
                  <a:moveTo>
                    <a:pt x="104" y="36"/>
                  </a:moveTo>
                  <a:lnTo>
                    <a:pt x="121" y="20"/>
                  </a:lnTo>
                  <a:lnTo>
                    <a:pt x="121" y="20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4" y="7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17" y="0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4" y="4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5" y="44"/>
                  </a:lnTo>
                  <a:lnTo>
                    <a:pt x="63" y="49"/>
                  </a:lnTo>
                  <a:lnTo>
                    <a:pt x="65" y="53"/>
                  </a:lnTo>
                  <a:lnTo>
                    <a:pt x="67" y="58"/>
                  </a:lnTo>
                  <a:lnTo>
                    <a:pt x="104" y="95"/>
                  </a:lnTo>
                  <a:lnTo>
                    <a:pt x="104" y="95"/>
                  </a:lnTo>
                  <a:lnTo>
                    <a:pt x="109" y="97"/>
                  </a:lnTo>
                  <a:lnTo>
                    <a:pt x="112" y="98"/>
                  </a:lnTo>
                  <a:lnTo>
                    <a:pt x="117" y="97"/>
                  </a:lnTo>
                  <a:lnTo>
                    <a:pt x="121" y="95"/>
                  </a:lnTo>
                  <a:lnTo>
                    <a:pt x="121" y="95"/>
                  </a:lnTo>
                  <a:lnTo>
                    <a:pt x="124" y="90"/>
                  </a:lnTo>
                  <a:lnTo>
                    <a:pt x="124" y="87"/>
                  </a:lnTo>
                  <a:lnTo>
                    <a:pt x="124" y="82"/>
                  </a:lnTo>
                  <a:lnTo>
                    <a:pt x="121" y="7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19" y="61"/>
                  </a:lnTo>
                  <a:lnTo>
                    <a:pt x="134" y="66"/>
                  </a:lnTo>
                  <a:lnTo>
                    <a:pt x="148" y="74"/>
                  </a:lnTo>
                  <a:lnTo>
                    <a:pt x="160" y="84"/>
                  </a:lnTo>
                  <a:lnTo>
                    <a:pt x="170" y="95"/>
                  </a:lnTo>
                  <a:lnTo>
                    <a:pt x="176" y="108"/>
                  </a:lnTo>
                  <a:lnTo>
                    <a:pt x="181" y="123"/>
                  </a:lnTo>
                  <a:lnTo>
                    <a:pt x="183" y="139"/>
                  </a:lnTo>
                  <a:lnTo>
                    <a:pt x="183" y="139"/>
                  </a:lnTo>
                  <a:lnTo>
                    <a:pt x="181" y="156"/>
                  </a:lnTo>
                  <a:lnTo>
                    <a:pt x="176" y="170"/>
                  </a:lnTo>
                  <a:lnTo>
                    <a:pt x="170" y="185"/>
                  </a:lnTo>
                  <a:lnTo>
                    <a:pt x="160" y="197"/>
                  </a:lnTo>
                  <a:lnTo>
                    <a:pt x="148" y="206"/>
                  </a:lnTo>
                  <a:lnTo>
                    <a:pt x="134" y="213"/>
                  </a:lnTo>
                  <a:lnTo>
                    <a:pt x="119" y="218"/>
                  </a:lnTo>
                  <a:lnTo>
                    <a:pt x="103" y="219"/>
                  </a:lnTo>
                  <a:lnTo>
                    <a:pt x="103" y="219"/>
                  </a:lnTo>
                  <a:lnTo>
                    <a:pt x="86" y="218"/>
                  </a:lnTo>
                  <a:lnTo>
                    <a:pt x="72" y="213"/>
                  </a:lnTo>
                  <a:lnTo>
                    <a:pt x="58" y="206"/>
                  </a:lnTo>
                  <a:lnTo>
                    <a:pt x="45" y="197"/>
                  </a:lnTo>
                  <a:lnTo>
                    <a:pt x="36" y="185"/>
                  </a:lnTo>
                  <a:lnTo>
                    <a:pt x="29" y="170"/>
                  </a:lnTo>
                  <a:lnTo>
                    <a:pt x="24" y="156"/>
                  </a:lnTo>
                  <a:lnTo>
                    <a:pt x="23" y="139"/>
                  </a:lnTo>
                  <a:lnTo>
                    <a:pt x="23" y="139"/>
                  </a:lnTo>
                  <a:lnTo>
                    <a:pt x="23" y="136"/>
                  </a:lnTo>
                  <a:lnTo>
                    <a:pt x="19" y="131"/>
                  </a:lnTo>
                  <a:lnTo>
                    <a:pt x="16" y="129"/>
                  </a:lnTo>
                  <a:lnTo>
                    <a:pt x="11" y="128"/>
                  </a:lnTo>
                  <a:lnTo>
                    <a:pt x="11" y="128"/>
                  </a:lnTo>
                  <a:lnTo>
                    <a:pt x="6" y="129"/>
                  </a:lnTo>
                  <a:lnTo>
                    <a:pt x="3" y="131"/>
                  </a:lnTo>
                  <a:lnTo>
                    <a:pt x="1" y="13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1" y="151"/>
                  </a:lnTo>
                  <a:lnTo>
                    <a:pt x="1" y="161"/>
                  </a:lnTo>
                  <a:lnTo>
                    <a:pt x="5" y="170"/>
                  </a:lnTo>
                  <a:lnTo>
                    <a:pt x="8" y="180"/>
                  </a:lnTo>
                  <a:lnTo>
                    <a:pt x="18" y="197"/>
                  </a:lnTo>
                  <a:lnTo>
                    <a:pt x="31" y="213"/>
                  </a:lnTo>
                  <a:lnTo>
                    <a:pt x="45" y="224"/>
                  </a:lnTo>
                  <a:lnTo>
                    <a:pt x="63" y="234"/>
                  </a:lnTo>
                  <a:lnTo>
                    <a:pt x="72" y="237"/>
                  </a:lnTo>
                  <a:lnTo>
                    <a:pt x="81" y="241"/>
                  </a:lnTo>
                  <a:lnTo>
                    <a:pt x="93" y="242"/>
                  </a:lnTo>
                  <a:lnTo>
                    <a:pt x="103" y="242"/>
                  </a:lnTo>
                  <a:lnTo>
                    <a:pt x="103" y="242"/>
                  </a:lnTo>
                  <a:lnTo>
                    <a:pt x="114" y="242"/>
                  </a:lnTo>
                  <a:lnTo>
                    <a:pt x="124" y="241"/>
                  </a:lnTo>
                  <a:lnTo>
                    <a:pt x="134" y="237"/>
                  </a:lnTo>
                  <a:lnTo>
                    <a:pt x="144" y="234"/>
                  </a:lnTo>
                  <a:lnTo>
                    <a:pt x="160" y="224"/>
                  </a:lnTo>
                  <a:lnTo>
                    <a:pt x="176" y="213"/>
                  </a:lnTo>
                  <a:lnTo>
                    <a:pt x="188" y="197"/>
                  </a:lnTo>
                  <a:lnTo>
                    <a:pt x="197" y="180"/>
                  </a:lnTo>
                  <a:lnTo>
                    <a:pt x="201" y="170"/>
                  </a:lnTo>
                  <a:lnTo>
                    <a:pt x="204" y="161"/>
                  </a:lnTo>
                  <a:lnTo>
                    <a:pt x="206" y="151"/>
                  </a:lnTo>
                  <a:lnTo>
                    <a:pt x="206" y="139"/>
                  </a:lnTo>
                  <a:lnTo>
                    <a:pt x="206" y="139"/>
                  </a:lnTo>
                  <a:lnTo>
                    <a:pt x="206" y="129"/>
                  </a:lnTo>
                  <a:lnTo>
                    <a:pt x="204" y="120"/>
                  </a:lnTo>
                  <a:lnTo>
                    <a:pt x="201" y="110"/>
                  </a:lnTo>
                  <a:lnTo>
                    <a:pt x="197" y="100"/>
                  </a:lnTo>
                  <a:lnTo>
                    <a:pt x="188" y="82"/>
                  </a:lnTo>
                  <a:lnTo>
                    <a:pt x="176" y="67"/>
                  </a:lnTo>
                  <a:lnTo>
                    <a:pt x="161" y="54"/>
                  </a:lnTo>
                  <a:lnTo>
                    <a:pt x="144" y="44"/>
                  </a:lnTo>
                  <a:lnTo>
                    <a:pt x="134" y="41"/>
                  </a:lnTo>
                  <a:lnTo>
                    <a:pt x="124" y="40"/>
                  </a:lnTo>
                  <a:lnTo>
                    <a:pt x="114" y="38"/>
                  </a:lnTo>
                  <a:lnTo>
                    <a:pt x="104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333333"/>
                </a:solidFill>
                <a:latin typeface="+mn-lt"/>
                <a:ea typeface=""/>
                <a:cs typeface="CiscoSansTT Light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4694265" y="910717"/>
              <a:ext cx="147638" cy="125412"/>
            </a:xfrm>
            <a:custGeom>
              <a:avLst/>
              <a:gdLst>
                <a:gd name="T0" fmla="*/ 74 w 93"/>
                <a:gd name="T1" fmla="*/ 4 h 79"/>
                <a:gd name="T2" fmla="*/ 39 w 93"/>
                <a:gd name="T3" fmla="*/ 53 h 79"/>
                <a:gd name="T4" fmla="*/ 18 w 93"/>
                <a:gd name="T5" fmla="*/ 30 h 79"/>
                <a:gd name="T6" fmla="*/ 18 w 93"/>
                <a:gd name="T7" fmla="*/ 30 h 79"/>
                <a:gd name="T8" fmla="*/ 15 w 93"/>
                <a:gd name="T9" fmla="*/ 28 h 79"/>
                <a:gd name="T10" fmla="*/ 10 w 93"/>
                <a:gd name="T11" fmla="*/ 27 h 79"/>
                <a:gd name="T12" fmla="*/ 7 w 93"/>
                <a:gd name="T13" fmla="*/ 28 h 79"/>
                <a:gd name="T14" fmla="*/ 3 w 93"/>
                <a:gd name="T15" fmla="*/ 30 h 79"/>
                <a:gd name="T16" fmla="*/ 3 w 93"/>
                <a:gd name="T17" fmla="*/ 30 h 79"/>
                <a:gd name="T18" fmla="*/ 0 w 93"/>
                <a:gd name="T19" fmla="*/ 33 h 79"/>
                <a:gd name="T20" fmla="*/ 0 w 93"/>
                <a:gd name="T21" fmla="*/ 38 h 79"/>
                <a:gd name="T22" fmla="*/ 0 w 93"/>
                <a:gd name="T23" fmla="*/ 41 h 79"/>
                <a:gd name="T24" fmla="*/ 3 w 93"/>
                <a:gd name="T25" fmla="*/ 46 h 79"/>
                <a:gd name="T26" fmla="*/ 34 w 93"/>
                <a:gd name="T27" fmla="*/ 77 h 79"/>
                <a:gd name="T28" fmla="*/ 34 w 93"/>
                <a:gd name="T29" fmla="*/ 77 h 79"/>
                <a:gd name="T30" fmla="*/ 34 w 93"/>
                <a:gd name="T31" fmla="*/ 77 h 79"/>
                <a:gd name="T32" fmla="*/ 34 w 93"/>
                <a:gd name="T33" fmla="*/ 77 h 79"/>
                <a:gd name="T34" fmla="*/ 36 w 93"/>
                <a:gd name="T35" fmla="*/ 77 h 79"/>
                <a:gd name="T36" fmla="*/ 36 w 93"/>
                <a:gd name="T37" fmla="*/ 77 h 79"/>
                <a:gd name="T38" fmla="*/ 36 w 93"/>
                <a:gd name="T39" fmla="*/ 79 h 79"/>
                <a:gd name="T40" fmla="*/ 36 w 93"/>
                <a:gd name="T41" fmla="*/ 79 h 79"/>
                <a:gd name="T42" fmla="*/ 39 w 93"/>
                <a:gd name="T43" fmla="*/ 79 h 79"/>
                <a:gd name="T44" fmla="*/ 39 w 93"/>
                <a:gd name="T45" fmla="*/ 79 h 79"/>
                <a:gd name="T46" fmla="*/ 41 w 93"/>
                <a:gd name="T47" fmla="*/ 79 h 79"/>
                <a:gd name="T48" fmla="*/ 41 w 93"/>
                <a:gd name="T49" fmla="*/ 79 h 79"/>
                <a:gd name="T50" fmla="*/ 43 w 93"/>
                <a:gd name="T51" fmla="*/ 79 h 79"/>
                <a:gd name="T52" fmla="*/ 43 w 93"/>
                <a:gd name="T53" fmla="*/ 79 h 79"/>
                <a:gd name="T54" fmla="*/ 44 w 93"/>
                <a:gd name="T55" fmla="*/ 79 h 79"/>
                <a:gd name="T56" fmla="*/ 44 w 93"/>
                <a:gd name="T57" fmla="*/ 79 h 79"/>
                <a:gd name="T58" fmla="*/ 46 w 93"/>
                <a:gd name="T59" fmla="*/ 79 h 79"/>
                <a:gd name="T60" fmla="*/ 46 w 93"/>
                <a:gd name="T61" fmla="*/ 79 h 79"/>
                <a:gd name="T62" fmla="*/ 48 w 93"/>
                <a:gd name="T63" fmla="*/ 77 h 79"/>
                <a:gd name="T64" fmla="*/ 48 w 93"/>
                <a:gd name="T65" fmla="*/ 77 h 79"/>
                <a:gd name="T66" fmla="*/ 49 w 93"/>
                <a:gd name="T67" fmla="*/ 77 h 79"/>
                <a:gd name="T68" fmla="*/ 49 w 93"/>
                <a:gd name="T69" fmla="*/ 77 h 79"/>
                <a:gd name="T70" fmla="*/ 49 w 93"/>
                <a:gd name="T71" fmla="*/ 76 h 79"/>
                <a:gd name="T72" fmla="*/ 49 w 93"/>
                <a:gd name="T73" fmla="*/ 76 h 79"/>
                <a:gd name="T74" fmla="*/ 51 w 93"/>
                <a:gd name="T75" fmla="*/ 76 h 79"/>
                <a:gd name="T76" fmla="*/ 92 w 93"/>
                <a:gd name="T77" fmla="*/ 17 h 79"/>
                <a:gd name="T78" fmla="*/ 92 w 93"/>
                <a:gd name="T79" fmla="*/ 17 h 79"/>
                <a:gd name="T80" fmla="*/ 93 w 93"/>
                <a:gd name="T81" fmla="*/ 12 h 79"/>
                <a:gd name="T82" fmla="*/ 93 w 93"/>
                <a:gd name="T83" fmla="*/ 9 h 79"/>
                <a:gd name="T84" fmla="*/ 92 w 93"/>
                <a:gd name="T85" fmla="*/ 4 h 79"/>
                <a:gd name="T86" fmla="*/ 88 w 93"/>
                <a:gd name="T87" fmla="*/ 2 h 79"/>
                <a:gd name="T88" fmla="*/ 88 w 93"/>
                <a:gd name="T89" fmla="*/ 2 h 79"/>
                <a:gd name="T90" fmla="*/ 85 w 93"/>
                <a:gd name="T91" fmla="*/ 0 h 79"/>
                <a:gd name="T92" fmla="*/ 80 w 93"/>
                <a:gd name="T93" fmla="*/ 0 h 79"/>
                <a:gd name="T94" fmla="*/ 77 w 93"/>
                <a:gd name="T95" fmla="*/ 0 h 79"/>
                <a:gd name="T96" fmla="*/ 74 w 93"/>
                <a:gd name="T97" fmla="*/ 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3" h="79">
                  <a:moveTo>
                    <a:pt x="74" y="4"/>
                  </a:moveTo>
                  <a:lnTo>
                    <a:pt x="39" y="53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5" y="28"/>
                  </a:lnTo>
                  <a:lnTo>
                    <a:pt x="10" y="27"/>
                  </a:lnTo>
                  <a:lnTo>
                    <a:pt x="7" y="28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0" y="33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3" y="46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4" y="79"/>
                  </a:lnTo>
                  <a:lnTo>
                    <a:pt x="44" y="79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51" y="76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3" y="12"/>
                  </a:lnTo>
                  <a:lnTo>
                    <a:pt x="93" y="9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5" y="0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333333"/>
                </a:solidFill>
                <a:latin typeface="+mn-lt"/>
                <a:ea typeface=""/>
                <a:cs typeface="CiscoSansTT Light"/>
              </a:endParaRPr>
            </a:p>
          </p:txBody>
        </p:sp>
      </p:grpSp>
      <p:sp>
        <p:nvSpPr>
          <p:cNvPr id="60" name="Freeform 159"/>
          <p:cNvSpPr>
            <a:spLocks noEditPoints="1"/>
          </p:cNvSpPr>
          <p:nvPr/>
        </p:nvSpPr>
        <p:spPr bwMode="auto">
          <a:xfrm>
            <a:off x="7683263" y="4060189"/>
            <a:ext cx="397806" cy="398570"/>
          </a:xfrm>
          <a:custGeom>
            <a:avLst/>
            <a:gdLst>
              <a:gd name="T0" fmla="*/ 27 w 690"/>
              <a:gd name="T1" fmla="*/ 0 h 582"/>
              <a:gd name="T2" fmla="*/ 7 w 690"/>
              <a:gd name="T3" fmla="*/ 15 h 582"/>
              <a:gd name="T4" fmla="*/ 0 w 690"/>
              <a:gd name="T5" fmla="*/ 550 h 582"/>
              <a:gd name="T6" fmla="*/ 7 w 690"/>
              <a:gd name="T7" fmla="*/ 567 h 582"/>
              <a:gd name="T8" fmla="*/ 27 w 690"/>
              <a:gd name="T9" fmla="*/ 582 h 582"/>
              <a:gd name="T10" fmla="*/ 663 w 690"/>
              <a:gd name="T11" fmla="*/ 582 h 582"/>
              <a:gd name="T12" fmla="*/ 685 w 690"/>
              <a:gd name="T13" fmla="*/ 567 h 582"/>
              <a:gd name="T14" fmla="*/ 690 w 690"/>
              <a:gd name="T15" fmla="*/ 32 h 582"/>
              <a:gd name="T16" fmla="*/ 685 w 690"/>
              <a:gd name="T17" fmla="*/ 15 h 582"/>
              <a:gd name="T18" fmla="*/ 663 w 690"/>
              <a:gd name="T19" fmla="*/ 0 h 582"/>
              <a:gd name="T20" fmla="*/ 232 w 690"/>
              <a:gd name="T21" fmla="*/ 40 h 582"/>
              <a:gd name="T22" fmla="*/ 249 w 690"/>
              <a:gd name="T23" fmla="*/ 48 h 582"/>
              <a:gd name="T24" fmla="*/ 256 w 690"/>
              <a:gd name="T25" fmla="*/ 66 h 582"/>
              <a:gd name="T26" fmla="*/ 252 w 690"/>
              <a:gd name="T27" fmla="*/ 79 h 582"/>
              <a:gd name="T28" fmla="*/ 237 w 690"/>
              <a:gd name="T29" fmla="*/ 89 h 582"/>
              <a:gd name="T30" fmla="*/ 222 w 690"/>
              <a:gd name="T31" fmla="*/ 87 h 582"/>
              <a:gd name="T32" fmla="*/ 209 w 690"/>
              <a:gd name="T33" fmla="*/ 75 h 582"/>
              <a:gd name="T34" fmla="*/ 208 w 690"/>
              <a:gd name="T35" fmla="*/ 60 h 582"/>
              <a:gd name="T36" fmla="*/ 218 w 690"/>
              <a:gd name="T37" fmla="*/ 46 h 582"/>
              <a:gd name="T38" fmla="*/ 232 w 690"/>
              <a:gd name="T39" fmla="*/ 40 h 582"/>
              <a:gd name="T40" fmla="*/ 160 w 690"/>
              <a:gd name="T41" fmla="*/ 43 h 582"/>
              <a:gd name="T42" fmla="*/ 173 w 690"/>
              <a:gd name="T43" fmla="*/ 55 h 582"/>
              <a:gd name="T44" fmla="*/ 174 w 690"/>
              <a:gd name="T45" fmla="*/ 70 h 582"/>
              <a:gd name="T46" fmla="*/ 165 w 690"/>
              <a:gd name="T47" fmla="*/ 86 h 582"/>
              <a:gd name="T48" fmla="*/ 150 w 690"/>
              <a:gd name="T49" fmla="*/ 90 h 582"/>
              <a:gd name="T50" fmla="*/ 133 w 690"/>
              <a:gd name="T51" fmla="*/ 82 h 582"/>
              <a:gd name="T52" fmla="*/ 125 w 690"/>
              <a:gd name="T53" fmla="*/ 66 h 582"/>
              <a:gd name="T54" fmla="*/ 129 w 690"/>
              <a:gd name="T55" fmla="*/ 51 h 582"/>
              <a:gd name="T56" fmla="*/ 146 w 690"/>
              <a:gd name="T57" fmla="*/ 42 h 582"/>
              <a:gd name="T58" fmla="*/ 69 w 690"/>
              <a:gd name="T59" fmla="*/ 40 h 582"/>
              <a:gd name="T60" fmla="*/ 86 w 690"/>
              <a:gd name="T61" fmla="*/ 48 h 582"/>
              <a:gd name="T62" fmla="*/ 93 w 690"/>
              <a:gd name="T63" fmla="*/ 66 h 582"/>
              <a:gd name="T64" fmla="*/ 89 w 690"/>
              <a:gd name="T65" fmla="*/ 79 h 582"/>
              <a:gd name="T66" fmla="*/ 74 w 690"/>
              <a:gd name="T67" fmla="*/ 89 h 582"/>
              <a:gd name="T68" fmla="*/ 59 w 690"/>
              <a:gd name="T69" fmla="*/ 87 h 582"/>
              <a:gd name="T70" fmla="*/ 46 w 690"/>
              <a:gd name="T71" fmla="*/ 75 h 582"/>
              <a:gd name="T72" fmla="*/ 44 w 690"/>
              <a:gd name="T73" fmla="*/ 60 h 582"/>
              <a:gd name="T74" fmla="*/ 55 w 690"/>
              <a:gd name="T75" fmla="*/ 46 h 582"/>
              <a:gd name="T76" fmla="*/ 69 w 690"/>
              <a:gd name="T77" fmla="*/ 40 h 582"/>
              <a:gd name="T78" fmla="*/ 647 w 690"/>
              <a:gd name="T79" fmla="*/ 518 h 582"/>
              <a:gd name="T80" fmla="*/ 630 w 690"/>
              <a:gd name="T81" fmla="*/ 535 h 582"/>
              <a:gd name="T82" fmla="*/ 74 w 690"/>
              <a:gd name="T83" fmla="*/ 538 h 582"/>
              <a:gd name="T84" fmla="*/ 51 w 690"/>
              <a:gd name="T85" fmla="*/ 528 h 582"/>
              <a:gd name="T86" fmla="*/ 42 w 690"/>
              <a:gd name="T87" fmla="*/ 505 h 582"/>
              <a:gd name="T88" fmla="*/ 44 w 690"/>
              <a:gd name="T89" fmla="*/ 172 h 582"/>
              <a:gd name="T90" fmla="*/ 61 w 690"/>
              <a:gd name="T91" fmla="*/ 155 h 582"/>
              <a:gd name="T92" fmla="*/ 616 w 690"/>
              <a:gd name="T93" fmla="*/ 152 h 582"/>
              <a:gd name="T94" fmla="*/ 639 w 690"/>
              <a:gd name="T95" fmla="*/ 162 h 582"/>
              <a:gd name="T96" fmla="*/ 649 w 690"/>
              <a:gd name="T97" fmla="*/ 185 h 5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90" h="582">
                <a:moveTo>
                  <a:pt x="658" y="0"/>
                </a:moveTo>
                <a:lnTo>
                  <a:pt x="32" y="0"/>
                </a:lnTo>
                <a:lnTo>
                  <a:pt x="32" y="0"/>
                </a:lnTo>
                <a:lnTo>
                  <a:pt x="27" y="0"/>
                </a:lnTo>
                <a:lnTo>
                  <a:pt x="20" y="3"/>
                </a:lnTo>
                <a:lnTo>
                  <a:pt x="15" y="5"/>
                </a:lnTo>
                <a:lnTo>
                  <a:pt x="9" y="9"/>
                </a:lnTo>
                <a:lnTo>
                  <a:pt x="7" y="15"/>
                </a:lnTo>
                <a:lnTo>
                  <a:pt x="3" y="20"/>
                </a:lnTo>
                <a:lnTo>
                  <a:pt x="1" y="25"/>
                </a:lnTo>
                <a:lnTo>
                  <a:pt x="0" y="32"/>
                </a:lnTo>
                <a:lnTo>
                  <a:pt x="0" y="550"/>
                </a:lnTo>
                <a:lnTo>
                  <a:pt x="0" y="550"/>
                </a:lnTo>
                <a:lnTo>
                  <a:pt x="1" y="557"/>
                </a:lnTo>
                <a:lnTo>
                  <a:pt x="3" y="562"/>
                </a:lnTo>
                <a:lnTo>
                  <a:pt x="7" y="567"/>
                </a:lnTo>
                <a:lnTo>
                  <a:pt x="9" y="573"/>
                </a:lnTo>
                <a:lnTo>
                  <a:pt x="15" y="577"/>
                </a:lnTo>
                <a:lnTo>
                  <a:pt x="20" y="580"/>
                </a:lnTo>
                <a:lnTo>
                  <a:pt x="27" y="582"/>
                </a:lnTo>
                <a:lnTo>
                  <a:pt x="32" y="582"/>
                </a:lnTo>
                <a:lnTo>
                  <a:pt x="658" y="582"/>
                </a:lnTo>
                <a:lnTo>
                  <a:pt x="658" y="582"/>
                </a:lnTo>
                <a:lnTo>
                  <a:pt x="663" y="582"/>
                </a:lnTo>
                <a:lnTo>
                  <a:pt x="670" y="580"/>
                </a:lnTo>
                <a:lnTo>
                  <a:pt x="676" y="577"/>
                </a:lnTo>
                <a:lnTo>
                  <a:pt x="681" y="573"/>
                </a:lnTo>
                <a:lnTo>
                  <a:pt x="685" y="567"/>
                </a:lnTo>
                <a:lnTo>
                  <a:pt x="688" y="562"/>
                </a:lnTo>
                <a:lnTo>
                  <a:pt x="689" y="557"/>
                </a:lnTo>
                <a:lnTo>
                  <a:pt x="690" y="550"/>
                </a:lnTo>
                <a:lnTo>
                  <a:pt x="690" y="32"/>
                </a:lnTo>
                <a:lnTo>
                  <a:pt x="690" y="32"/>
                </a:lnTo>
                <a:lnTo>
                  <a:pt x="689" y="25"/>
                </a:lnTo>
                <a:lnTo>
                  <a:pt x="688" y="20"/>
                </a:lnTo>
                <a:lnTo>
                  <a:pt x="685" y="15"/>
                </a:lnTo>
                <a:lnTo>
                  <a:pt x="681" y="9"/>
                </a:lnTo>
                <a:lnTo>
                  <a:pt x="676" y="5"/>
                </a:lnTo>
                <a:lnTo>
                  <a:pt x="670" y="3"/>
                </a:lnTo>
                <a:lnTo>
                  <a:pt x="663" y="0"/>
                </a:lnTo>
                <a:lnTo>
                  <a:pt x="658" y="0"/>
                </a:lnTo>
                <a:lnTo>
                  <a:pt x="658" y="0"/>
                </a:lnTo>
                <a:close/>
                <a:moveTo>
                  <a:pt x="232" y="40"/>
                </a:moveTo>
                <a:lnTo>
                  <a:pt x="232" y="40"/>
                </a:lnTo>
                <a:lnTo>
                  <a:pt x="237" y="42"/>
                </a:lnTo>
                <a:lnTo>
                  <a:pt x="241" y="43"/>
                </a:lnTo>
                <a:lnTo>
                  <a:pt x="245" y="46"/>
                </a:lnTo>
                <a:lnTo>
                  <a:pt x="249" y="48"/>
                </a:lnTo>
                <a:lnTo>
                  <a:pt x="252" y="51"/>
                </a:lnTo>
                <a:lnTo>
                  <a:pt x="255" y="55"/>
                </a:lnTo>
                <a:lnTo>
                  <a:pt x="256" y="60"/>
                </a:lnTo>
                <a:lnTo>
                  <a:pt x="256" y="66"/>
                </a:lnTo>
                <a:lnTo>
                  <a:pt x="256" y="66"/>
                </a:lnTo>
                <a:lnTo>
                  <a:pt x="256" y="70"/>
                </a:lnTo>
                <a:lnTo>
                  <a:pt x="255" y="75"/>
                </a:lnTo>
                <a:lnTo>
                  <a:pt x="252" y="79"/>
                </a:lnTo>
                <a:lnTo>
                  <a:pt x="249" y="82"/>
                </a:lnTo>
                <a:lnTo>
                  <a:pt x="245" y="86"/>
                </a:lnTo>
                <a:lnTo>
                  <a:pt x="241" y="87"/>
                </a:lnTo>
                <a:lnTo>
                  <a:pt x="237" y="89"/>
                </a:lnTo>
                <a:lnTo>
                  <a:pt x="232" y="90"/>
                </a:lnTo>
                <a:lnTo>
                  <a:pt x="232" y="90"/>
                </a:lnTo>
                <a:lnTo>
                  <a:pt x="227" y="89"/>
                </a:lnTo>
                <a:lnTo>
                  <a:pt x="222" y="87"/>
                </a:lnTo>
                <a:lnTo>
                  <a:pt x="218" y="86"/>
                </a:lnTo>
                <a:lnTo>
                  <a:pt x="214" y="82"/>
                </a:lnTo>
                <a:lnTo>
                  <a:pt x="212" y="79"/>
                </a:lnTo>
                <a:lnTo>
                  <a:pt x="209" y="75"/>
                </a:lnTo>
                <a:lnTo>
                  <a:pt x="208" y="70"/>
                </a:lnTo>
                <a:lnTo>
                  <a:pt x="208" y="66"/>
                </a:lnTo>
                <a:lnTo>
                  <a:pt x="208" y="66"/>
                </a:lnTo>
                <a:lnTo>
                  <a:pt x="208" y="60"/>
                </a:lnTo>
                <a:lnTo>
                  <a:pt x="209" y="55"/>
                </a:lnTo>
                <a:lnTo>
                  <a:pt x="212" y="51"/>
                </a:lnTo>
                <a:lnTo>
                  <a:pt x="214" y="48"/>
                </a:lnTo>
                <a:lnTo>
                  <a:pt x="218" y="46"/>
                </a:lnTo>
                <a:lnTo>
                  <a:pt x="222" y="43"/>
                </a:lnTo>
                <a:lnTo>
                  <a:pt x="227" y="42"/>
                </a:lnTo>
                <a:lnTo>
                  <a:pt x="232" y="40"/>
                </a:lnTo>
                <a:lnTo>
                  <a:pt x="232" y="40"/>
                </a:lnTo>
                <a:close/>
                <a:moveTo>
                  <a:pt x="150" y="40"/>
                </a:moveTo>
                <a:lnTo>
                  <a:pt x="150" y="40"/>
                </a:lnTo>
                <a:lnTo>
                  <a:pt x="155" y="42"/>
                </a:lnTo>
                <a:lnTo>
                  <a:pt x="160" y="43"/>
                </a:lnTo>
                <a:lnTo>
                  <a:pt x="165" y="46"/>
                </a:lnTo>
                <a:lnTo>
                  <a:pt x="167" y="48"/>
                </a:lnTo>
                <a:lnTo>
                  <a:pt x="171" y="51"/>
                </a:lnTo>
                <a:lnTo>
                  <a:pt x="173" y="55"/>
                </a:lnTo>
                <a:lnTo>
                  <a:pt x="174" y="60"/>
                </a:lnTo>
                <a:lnTo>
                  <a:pt x="175" y="66"/>
                </a:lnTo>
                <a:lnTo>
                  <a:pt x="175" y="66"/>
                </a:lnTo>
                <a:lnTo>
                  <a:pt x="174" y="70"/>
                </a:lnTo>
                <a:lnTo>
                  <a:pt x="173" y="75"/>
                </a:lnTo>
                <a:lnTo>
                  <a:pt x="171" y="79"/>
                </a:lnTo>
                <a:lnTo>
                  <a:pt x="167" y="82"/>
                </a:lnTo>
                <a:lnTo>
                  <a:pt x="165" y="86"/>
                </a:lnTo>
                <a:lnTo>
                  <a:pt x="160" y="87"/>
                </a:lnTo>
                <a:lnTo>
                  <a:pt x="155" y="89"/>
                </a:lnTo>
                <a:lnTo>
                  <a:pt x="150" y="90"/>
                </a:lnTo>
                <a:lnTo>
                  <a:pt x="150" y="90"/>
                </a:lnTo>
                <a:lnTo>
                  <a:pt x="146" y="89"/>
                </a:lnTo>
                <a:lnTo>
                  <a:pt x="140" y="87"/>
                </a:lnTo>
                <a:lnTo>
                  <a:pt x="136" y="86"/>
                </a:lnTo>
                <a:lnTo>
                  <a:pt x="133" y="82"/>
                </a:lnTo>
                <a:lnTo>
                  <a:pt x="129" y="79"/>
                </a:lnTo>
                <a:lnTo>
                  <a:pt x="128" y="75"/>
                </a:lnTo>
                <a:lnTo>
                  <a:pt x="127" y="70"/>
                </a:lnTo>
                <a:lnTo>
                  <a:pt x="125" y="66"/>
                </a:lnTo>
                <a:lnTo>
                  <a:pt x="125" y="66"/>
                </a:lnTo>
                <a:lnTo>
                  <a:pt x="127" y="60"/>
                </a:lnTo>
                <a:lnTo>
                  <a:pt x="128" y="55"/>
                </a:lnTo>
                <a:lnTo>
                  <a:pt x="129" y="51"/>
                </a:lnTo>
                <a:lnTo>
                  <a:pt x="133" y="48"/>
                </a:lnTo>
                <a:lnTo>
                  <a:pt x="136" y="46"/>
                </a:lnTo>
                <a:lnTo>
                  <a:pt x="140" y="43"/>
                </a:lnTo>
                <a:lnTo>
                  <a:pt x="146" y="42"/>
                </a:lnTo>
                <a:lnTo>
                  <a:pt x="150" y="40"/>
                </a:lnTo>
                <a:lnTo>
                  <a:pt x="150" y="40"/>
                </a:lnTo>
                <a:close/>
                <a:moveTo>
                  <a:pt x="69" y="40"/>
                </a:moveTo>
                <a:lnTo>
                  <a:pt x="69" y="40"/>
                </a:lnTo>
                <a:lnTo>
                  <a:pt x="74" y="42"/>
                </a:lnTo>
                <a:lnTo>
                  <a:pt x="78" y="43"/>
                </a:lnTo>
                <a:lnTo>
                  <a:pt x="82" y="46"/>
                </a:lnTo>
                <a:lnTo>
                  <a:pt x="86" y="48"/>
                </a:lnTo>
                <a:lnTo>
                  <a:pt x="89" y="51"/>
                </a:lnTo>
                <a:lnTo>
                  <a:pt x="92" y="55"/>
                </a:lnTo>
                <a:lnTo>
                  <a:pt x="93" y="60"/>
                </a:lnTo>
                <a:lnTo>
                  <a:pt x="93" y="66"/>
                </a:lnTo>
                <a:lnTo>
                  <a:pt x="93" y="66"/>
                </a:lnTo>
                <a:lnTo>
                  <a:pt x="93" y="70"/>
                </a:lnTo>
                <a:lnTo>
                  <a:pt x="92" y="75"/>
                </a:lnTo>
                <a:lnTo>
                  <a:pt x="89" y="79"/>
                </a:lnTo>
                <a:lnTo>
                  <a:pt x="86" y="82"/>
                </a:lnTo>
                <a:lnTo>
                  <a:pt x="82" y="86"/>
                </a:lnTo>
                <a:lnTo>
                  <a:pt x="78" y="87"/>
                </a:lnTo>
                <a:lnTo>
                  <a:pt x="74" y="89"/>
                </a:lnTo>
                <a:lnTo>
                  <a:pt x="69" y="90"/>
                </a:lnTo>
                <a:lnTo>
                  <a:pt x="69" y="90"/>
                </a:lnTo>
                <a:lnTo>
                  <a:pt x="63" y="89"/>
                </a:lnTo>
                <a:lnTo>
                  <a:pt x="59" y="87"/>
                </a:lnTo>
                <a:lnTo>
                  <a:pt x="55" y="86"/>
                </a:lnTo>
                <a:lnTo>
                  <a:pt x="51" y="82"/>
                </a:lnTo>
                <a:lnTo>
                  <a:pt x="49" y="79"/>
                </a:lnTo>
                <a:lnTo>
                  <a:pt x="46" y="75"/>
                </a:lnTo>
                <a:lnTo>
                  <a:pt x="44" y="70"/>
                </a:lnTo>
                <a:lnTo>
                  <a:pt x="44" y="66"/>
                </a:lnTo>
                <a:lnTo>
                  <a:pt x="44" y="66"/>
                </a:lnTo>
                <a:lnTo>
                  <a:pt x="44" y="60"/>
                </a:lnTo>
                <a:lnTo>
                  <a:pt x="46" y="55"/>
                </a:lnTo>
                <a:lnTo>
                  <a:pt x="49" y="51"/>
                </a:lnTo>
                <a:lnTo>
                  <a:pt x="51" y="48"/>
                </a:lnTo>
                <a:lnTo>
                  <a:pt x="55" y="46"/>
                </a:lnTo>
                <a:lnTo>
                  <a:pt x="59" y="43"/>
                </a:lnTo>
                <a:lnTo>
                  <a:pt x="63" y="42"/>
                </a:lnTo>
                <a:lnTo>
                  <a:pt x="69" y="40"/>
                </a:lnTo>
                <a:lnTo>
                  <a:pt x="69" y="40"/>
                </a:lnTo>
                <a:close/>
                <a:moveTo>
                  <a:pt x="649" y="505"/>
                </a:moveTo>
                <a:lnTo>
                  <a:pt x="649" y="505"/>
                </a:lnTo>
                <a:lnTo>
                  <a:pt x="649" y="511"/>
                </a:lnTo>
                <a:lnTo>
                  <a:pt x="647" y="518"/>
                </a:lnTo>
                <a:lnTo>
                  <a:pt x="643" y="523"/>
                </a:lnTo>
                <a:lnTo>
                  <a:pt x="639" y="528"/>
                </a:lnTo>
                <a:lnTo>
                  <a:pt x="635" y="532"/>
                </a:lnTo>
                <a:lnTo>
                  <a:pt x="630" y="535"/>
                </a:lnTo>
                <a:lnTo>
                  <a:pt x="623" y="536"/>
                </a:lnTo>
                <a:lnTo>
                  <a:pt x="616" y="538"/>
                </a:lnTo>
                <a:lnTo>
                  <a:pt x="74" y="538"/>
                </a:lnTo>
                <a:lnTo>
                  <a:pt x="74" y="538"/>
                </a:lnTo>
                <a:lnTo>
                  <a:pt x="67" y="536"/>
                </a:lnTo>
                <a:lnTo>
                  <a:pt x="61" y="535"/>
                </a:lnTo>
                <a:lnTo>
                  <a:pt x="55" y="532"/>
                </a:lnTo>
                <a:lnTo>
                  <a:pt x="51" y="528"/>
                </a:lnTo>
                <a:lnTo>
                  <a:pt x="47" y="523"/>
                </a:lnTo>
                <a:lnTo>
                  <a:pt x="44" y="518"/>
                </a:lnTo>
                <a:lnTo>
                  <a:pt x="42" y="511"/>
                </a:lnTo>
                <a:lnTo>
                  <a:pt x="42" y="505"/>
                </a:lnTo>
                <a:lnTo>
                  <a:pt x="42" y="185"/>
                </a:lnTo>
                <a:lnTo>
                  <a:pt x="42" y="185"/>
                </a:lnTo>
                <a:lnTo>
                  <a:pt x="42" y="179"/>
                </a:lnTo>
                <a:lnTo>
                  <a:pt x="44" y="172"/>
                </a:lnTo>
                <a:lnTo>
                  <a:pt x="47" y="167"/>
                </a:lnTo>
                <a:lnTo>
                  <a:pt x="51" y="162"/>
                </a:lnTo>
                <a:lnTo>
                  <a:pt x="55" y="158"/>
                </a:lnTo>
                <a:lnTo>
                  <a:pt x="61" y="155"/>
                </a:lnTo>
                <a:lnTo>
                  <a:pt x="67" y="154"/>
                </a:lnTo>
                <a:lnTo>
                  <a:pt x="74" y="152"/>
                </a:lnTo>
                <a:lnTo>
                  <a:pt x="616" y="152"/>
                </a:lnTo>
                <a:lnTo>
                  <a:pt x="616" y="152"/>
                </a:lnTo>
                <a:lnTo>
                  <a:pt x="623" y="154"/>
                </a:lnTo>
                <a:lnTo>
                  <a:pt x="630" y="155"/>
                </a:lnTo>
                <a:lnTo>
                  <a:pt x="635" y="158"/>
                </a:lnTo>
                <a:lnTo>
                  <a:pt x="639" y="162"/>
                </a:lnTo>
                <a:lnTo>
                  <a:pt x="643" y="167"/>
                </a:lnTo>
                <a:lnTo>
                  <a:pt x="647" y="172"/>
                </a:lnTo>
                <a:lnTo>
                  <a:pt x="649" y="179"/>
                </a:lnTo>
                <a:lnTo>
                  <a:pt x="649" y="185"/>
                </a:lnTo>
                <a:lnTo>
                  <a:pt x="649" y="50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34288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25" b="1" kern="0" dirty="0">
                <a:solidFill>
                  <a:schemeClr val="accent6"/>
                </a:solidFill>
                <a:latin typeface="+mn-lt"/>
                <a:ea typeface=""/>
                <a:cs typeface=""/>
              </a:rPr>
              <a:t>www…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504125" y="4485828"/>
            <a:ext cx="756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chemeClr val="bg2"/>
                </a:solidFill>
                <a:latin typeface="+mn-lt"/>
                <a:ea typeface=""/>
                <a:cs typeface=""/>
              </a:rPr>
              <a:t>SOURCE CODE</a:t>
            </a:r>
          </a:p>
        </p:txBody>
      </p:sp>
      <p:sp>
        <p:nvSpPr>
          <p:cNvPr id="62" name="Freeform 5"/>
          <p:cNvSpPr>
            <a:spLocks noEditPoints="1"/>
          </p:cNvSpPr>
          <p:nvPr/>
        </p:nvSpPr>
        <p:spPr bwMode="auto">
          <a:xfrm>
            <a:off x="6520383" y="2415328"/>
            <a:ext cx="437094" cy="306408"/>
          </a:xfrm>
          <a:custGeom>
            <a:avLst/>
            <a:gdLst>
              <a:gd name="T0" fmla="*/ 6336 w 6336"/>
              <a:gd name="T1" fmla="*/ 1151 h 4319"/>
              <a:gd name="T2" fmla="*/ 6048 w 6336"/>
              <a:gd name="T3" fmla="*/ 864 h 4319"/>
              <a:gd name="T4" fmla="*/ 576 w 6336"/>
              <a:gd name="T5" fmla="*/ 288 h 4319"/>
              <a:gd name="T6" fmla="*/ 3204 w 6336"/>
              <a:gd name="T7" fmla="*/ 1727 h 4319"/>
              <a:gd name="T8" fmla="*/ 3259 w 6336"/>
              <a:gd name="T9" fmla="*/ 1931 h 4319"/>
              <a:gd name="T10" fmla="*/ 3355 w 6336"/>
              <a:gd name="T11" fmla="*/ 1969 h 4319"/>
              <a:gd name="T12" fmla="*/ 3412 w 6336"/>
              <a:gd name="T13" fmla="*/ 2011 h 4319"/>
              <a:gd name="T14" fmla="*/ 3482 w 6336"/>
              <a:gd name="T15" fmla="*/ 2092 h 4319"/>
              <a:gd name="T16" fmla="*/ 3343 w 6336"/>
              <a:gd name="T17" fmla="*/ 2280 h 4319"/>
              <a:gd name="T18" fmla="*/ 3308 w 6336"/>
              <a:gd name="T19" fmla="*/ 2226 h 4319"/>
              <a:gd name="T20" fmla="*/ 3258 w 6336"/>
              <a:gd name="T21" fmla="*/ 2173 h 4319"/>
              <a:gd name="T22" fmla="*/ 3200 w 6336"/>
              <a:gd name="T23" fmla="*/ 2138 h 4319"/>
              <a:gd name="T24" fmla="*/ 3135 w 6336"/>
              <a:gd name="T25" fmla="*/ 2123 h 4319"/>
              <a:gd name="T26" fmla="*/ 3077 w 6336"/>
              <a:gd name="T27" fmla="*/ 2126 h 4319"/>
              <a:gd name="T28" fmla="*/ 3005 w 6336"/>
              <a:gd name="T29" fmla="*/ 2151 h 4319"/>
              <a:gd name="T30" fmla="*/ 2961 w 6336"/>
              <a:gd name="T31" fmla="*/ 2187 h 4319"/>
              <a:gd name="T32" fmla="*/ 2926 w 6336"/>
              <a:gd name="T33" fmla="*/ 2248 h 4319"/>
              <a:gd name="T34" fmla="*/ 2918 w 6336"/>
              <a:gd name="T35" fmla="*/ 2301 h 4319"/>
              <a:gd name="T36" fmla="*/ 2929 w 6336"/>
              <a:gd name="T37" fmla="*/ 2365 h 4319"/>
              <a:gd name="T38" fmla="*/ 2964 w 6336"/>
              <a:gd name="T39" fmla="*/ 2417 h 4319"/>
              <a:gd name="T40" fmla="*/ 3010 w 6336"/>
              <a:gd name="T41" fmla="*/ 2453 h 4319"/>
              <a:gd name="T42" fmla="*/ 3146 w 6336"/>
              <a:gd name="T43" fmla="*/ 2523 h 4319"/>
              <a:gd name="T44" fmla="*/ 3300 w 6336"/>
              <a:gd name="T45" fmla="*/ 2601 h 4319"/>
              <a:gd name="T46" fmla="*/ 3410 w 6336"/>
              <a:gd name="T47" fmla="*/ 2672 h 4319"/>
              <a:gd name="T48" fmla="*/ 3472 w 6336"/>
              <a:gd name="T49" fmla="*/ 2731 h 4319"/>
              <a:gd name="T50" fmla="*/ 3517 w 6336"/>
              <a:gd name="T51" fmla="*/ 2796 h 4319"/>
              <a:gd name="T52" fmla="*/ 3547 w 6336"/>
              <a:gd name="T53" fmla="*/ 2865 h 4319"/>
              <a:gd name="T54" fmla="*/ 3564 w 6336"/>
              <a:gd name="T55" fmla="*/ 2942 h 4319"/>
              <a:gd name="T56" fmla="*/ 3569 w 6336"/>
              <a:gd name="T57" fmla="*/ 3004 h 4319"/>
              <a:gd name="T58" fmla="*/ 3544 w 6336"/>
              <a:gd name="T59" fmla="*/ 3160 h 4319"/>
              <a:gd name="T60" fmla="*/ 3469 w 6336"/>
              <a:gd name="T61" fmla="*/ 3298 h 4319"/>
              <a:gd name="T62" fmla="*/ 3385 w 6336"/>
              <a:gd name="T63" fmla="*/ 3380 h 4319"/>
              <a:gd name="T64" fmla="*/ 3245 w 6336"/>
              <a:gd name="T65" fmla="*/ 3455 h 4319"/>
              <a:gd name="T66" fmla="*/ 3033 w 6336"/>
              <a:gd name="T67" fmla="*/ 3474 h 4319"/>
              <a:gd name="T68" fmla="*/ 2902 w 6336"/>
              <a:gd name="T69" fmla="*/ 3441 h 4319"/>
              <a:gd name="T70" fmla="*/ 2782 w 6336"/>
              <a:gd name="T71" fmla="*/ 3377 h 4319"/>
              <a:gd name="T72" fmla="*/ 2741 w 6336"/>
              <a:gd name="T73" fmla="*/ 3341 h 4319"/>
              <a:gd name="T74" fmla="*/ 2673 w 6336"/>
              <a:gd name="T75" fmla="*/ 3252 h 4319"/>
              <a:gd name="T76" fmla="*/ 2605 w 6336"/>
              <a:gd name="T77" fmla="*/ 3082 h 4319"/>
              <a:gd name="T78" fmla="*/ 2818 w 6336"/>
              <a:gd name="T79" fmla="*/ 3022 h 4319"/>
              <a:gd name="T80" fmla="*/ 2870 w 6336"/>
              <a:gd name="T81" fmla="*/ 3139 h 4319"/>
              <a:gd name="T82" fmla="*/ 2915 w 6336"/>
              <a:gd name="T83" fmla="*/ 3198 h 4319"/>
              <a:gd name="T84" fmla="*/ 2993 w 6336"/>
              <a:gd name="T85" fmla="*/ 3244 h 4319"/>
              <a:gd name="T86" fmla="*/ 3093 w 6336"/>
              <a:gd name="T87" fmla="*/ 3259 h 4319"/>
              <a:gd name="T88" fmla="*/ 3168 w 6336"/>
              <a:gd name="T89" fmla="*/ 3249 h 4319"/>
              <a:gd name="T90" fmla="*/ 3253 w 6336"/>
              <a:gd name="T91" fmla="*/ 3205 h 4319"/>
              <a:gd name="T92" fmla="*/ 3304 w 6336"/>
              <a:gd name="T93" fmla="*/ 3153 h 4319"/>
              <a:gd name="T94" fmla="*/ 3339 w 6336"/>
              <a:gd name="T95" fmla="*/ 3064 h 4319"/>
              <a:gd name="T96" fmla="*/ 3343 w 6336"/>
              <a:gd name="T97" fmla="*/ 2988 h 4319"/>
              <a:gd name="T98" fmla="*/ 3320 w 6336"/>
              <a:gd name="T99" fmla="*/ 2906 h 4319"/>
              <a:gd name="T100" fmla="*/ 3284 w 6336"/>
              <a:gd name="T101" fmla="*/ 2857 h 4319"/>
              <a:gd name="T102" fmla="*/ 3194 w 6336"/>
              <a:gd name="T103" fmla="*/ 2793 h 4319"/>
              <a:gd name="T104" fmla="*/ 3087 w 6336"/>
              <a:gd name="T105" fmla="*/ 2735 h 4319"/>
              <a:gd name="T106" fmla="*/ 2957 w 6336"/>
              <a:gd name="T107" fmla="*/ 2673 h 4319"/>
              <a:gd name="T108" fmla="*/ 2831 w 6336"/>
              <a:gd name="T109" fmla="*/ 2595 h 4319"/>
              <a:gd name="T110" fmla="*/ 2772 w 6336"/>
              <a:gd name="T111" fmla="*/ 2531 h 4319"/>
              <a:gd name="T112" fmla="*/ 2712 w 6336"/>
              <a:gd name="T113" fmla="*/ 2408 h 4319"/>
              <a:gd name="T114" fmla="*/ 2698 w 6336"/>
              <a:gd name="T115" fmla="*/ 2303 h 4319"/>
              <a:gd name="T116" fmla="*/ 2721 w 6336"/>
              <a:gd name="T117" fmla="*/ 2171 h 4319"/>
              <a:gd name="T118" fmla="*/ 2766 w 6336"/>
              <a:gd name="T119" fmla="*/ 2087 h 4319"/>
              <a:gd name="T120" fmla="*/ 2834 w 6336"/>
              <a:gd name="T121" fmla="*/ 2015 h 4319"/>
              <a:gd name="T122" fmla="*/ 2924 w 6336"/>
              <a:gd name="T123" fmla="*/ 1958 h 4319"/>
              <a:gd name="T124" fmla="*/ 3033 w 6336"/>
              <a:gd name="T125" fmla="*/ 1727 h 4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36" h="4319">
                <a:moveTo>
                  <a:pt x="0" y="1151"/>
                </a:moveTo>
                <a:lnTo>
                  <a:pt x="0" y="4319"/>
                </a:lnTo>
                <a:lnTo>
                  <a:pt x="6336" y="4319"/>
                </a:lnTo>
                <a:lnTo>
                  <a:pt x="6336" y="1151"/>
                </a:lnTo>
                <a:lnTo>
                  <a:pt x="0" y="1151"/>
                </a:lnTo>
                <a:close/>
                <a:moveTo>
                  <a:pt x="288" y="576"/>
                </a:moveTo>
                <a:lnTo>
                  <a:pt x="288" y="864"/>
                </a:lnTo>
                <a:lnTo>
                  <a:pt x="6048" y="864"/>
                </a:lnTo>
                <a:lnTo>
                  <a:pt x="6048" y="576"/>
                </a:lnTo>
                <a:lnTo>
                  <a:pt x="288" y="576"/>
                </a:lnTo>
                <a:close/>
                <a:moveTo>
                  <a:pt x="576" y="0"/>
                </a:moveTo>
                <a:lnTo>
                  <a:pt x="576" y="288"/>
                </a:lnTo>
                <a:lnTo>
                  <a:pt x="5760" y="288"/>
                </a:lnTo>
                <a:lnTo>
                  <a:pt x="5760" y="0"/>
                </a:lnTo>
                <a:lnTo>
                  <a:pt x="576" y="0"/>
                </a:lnTo>
                <a:close/>
                <a:moveTo>
                  <a:pt x="3204" y="1727"/>
                </a:moveTo>
                <a:lnTo>
                  <a:pt x="3204" y="1919"/>
                </a:lnTo>
                <a:lnTo>
                  <a:pt x="3204" y="1919"/>
                </a:lnTo>
                <a:lnTo>
                  <a:pt x="3233" y="1925"/>
                </a:lnTo>
                <a:lnTo>
                  <a:pt x="3259" y="1931"/>
                </a:lnTo>
                <a:lnTo>
                  <a:pt x="3285" y="1938"/>
                </a:lnTo>
                <a:lnTo>
                  <a:pt x="3310" y="1948"/>
                </a:lnTo>
                <a:lnTo>
                  <a:pt x="3333" y="1958"/>
                </a:lnTo>
                <a:lnTo>
                  <a:pt x="3355" y="1969"/>
                </a:lnTo>
                <a:lnTo>
                  <a:pt x="3375" y="1982"/>
                </a:lnTo>
                <a:lnTo>
                  <a:pt x="3394" y="1996"/>
                </a:lnTo>
                <a:lnTo>
                  <a:pt x="3394" y="1996"/>
                </a:lnTo>
                <a:lnTo>
                  <a:pt x="3412" y="2011"/>
                </a:lnTo>
                <a:lnTo>
                  <a:pt x="3430" y="2028"/>
                </a:lnTo>
                <a:lnTo>
                  <a:pt x="3447" y="2048"/>
                </a:lnTo>
                <a:lnTo>
                  <a:pt x="3465" y="2068"/>
                </a:lnTo>
                <a:lnTo>
                  <a:pt x="3482" y="2092"/>
                </a:lnTo>
                <a:lnTo>
                  <a:pt x="3499" y="2118"/>
                </a:lnTo>
                <a:lnTo>
                  <a:pt x="3517" y="2144"/>
                </a:lnTo>
                <a:lnTo>
                  <a:pt x="3534" y="2173"/>
                </a:lnTo>
                <a:lnTo>
                  <a:pt x="3343" y="2280"/>
                </a:lnTo>
                <a:lnTo>
                  <a:pt x="3343" y="2280"/>
                </a:lnTo>
                <a:lnTo>
                  <a:pt x="3331" y="2261"/>
                </a:lnTo>
                <a:lnTo>
                  <a:pt x="3320" y="2242"/>
                </a:lnTo>
                <a:lnTo>
                  <a:pt x="3308" y="2226"/>
                </a:lnTo>
                <a:lnTo>
                  <a:pt x="3297" y="2210"/>
                </a:lnTo>
                <a:lnTo>
                  <a:pt x="3284" y="2197"/>
                </a:lnTo>
                <a:lnTo>
                  <a:pt x="3271" y="2184"/>
                </a:lnTo>
                <a:lnTo>
                  <a:pt x="3258" y="2173"/>
                </a:lnTo>
                <a:lnTo>
                  <a:pt x="3243" y="2162"/>
                </a:lnTo>
                <a:lnTo>
                  <a:pt x="3229" y="2152"/>
                </a:lnTo>
                <a:lnTo>
                  <a:pt x="3214" y="2145"/>
                </a:lnTo>
                <a:lnTo>
                  <a:pt x="3200" y="2138"/>
                </a:lnTo>
                <a:lnTo>
                  <a:pt x="3184" y="2132"/>
                </a:lnTo>
                <a:lnTo>
                  <a:pt x="3168" y="2128"/>
                </a:lnTo>
                <a:lnTo>
                  <a:pt x="3152" y="2125"/>
                </a:lnTo>
                <a:lnTo>
                  <a:pt x="3135" y="2123"/>
                </a:lnTo>
                <a:lnTo>
                  <a:pt x="3117" y="2123"/>
                </a:lnTo>
                <a:lnTo>
                  <a:pt x="3117" y="2123"/>
                </a:lnTo>
                <a:lnTo>
                  <a:pt x="3097" y="2123"/>
                </a:lnTo>
                <a:lnTo>
                  <a:pt x="3077" y="2126"/>
                </a:lnTo>
                <a:lnTo>
                  <a:pt x="3057" y="2131"/>
                </a:lnTo>
                <a:lnTo>
                  <a:pt x="3039" y="2135"/>
                </a:lnTo>
                <a:lnTo>
                  <a:pt x="3022" y="2142"/>
                </a:lnTo>
                <a:lnTo>
                  <a:pt x="3005" y="2151"/>
                </a:lnTo>
                <a:lnTo>
                  <a:pt x="2989" y="2162"/>
                </a:lnTo>
                <a:lnTo>
                  <a:pt x="2974" y="2174"/>
                </a:lnTo>
                <a:lnTo>
                  <a:pt x="2974" y="2174"/>
                </a:lnTo>
                <a:lnTo>
                  <a:pt x="2961" y="2187"/>
                </a:lnTo>
                <a:lnTo>
                  <a:pt x="2950" y="2200"/>
                </a:lnTo>
                <a:lnTo>
                  <a:pt x="2939" y="2216"/>
                </a:lnTo>
                <a:lnTo>
                  <a:pt x="2932" y="2230"/>
                </a:lnTo>
                <a:lnTo>
                  <a:pt x="2926" y="2248"/>
                </a:lnTo>
                <a:lnTo>
                  <a:pt x="2922" y="2264"/>
                </a:lnTo>
                <a:lnTo>
                  <a:pt x="2919" y="2282"/>
                </a:lnTo>
                <a:lnTo>
                  <a:pt x="2918" y="2301"/>
                </a:lnTo>
                <a:lnTo>
                  <a:pt x="2918" y="2301"/>
                </a:lnTo>
                <a:lnTo>
                  <a:pt x="2919" y="2319"/>
                </a:lnTo>
                <a:lnTo>
                  <a:pt x="2921" y="2335"/>
                </a:lnTo>
                <a:lnTo>
                  <a:pt x="2925" y="2350"/>
                </a:lnTo>
                <a:lnTo>
                  <a:pt x="2929" y="2365"/>
                </a:lnTo>
                <a:lnTo>
                  <a:pt x="2935" y="2378"/>
                </a:lnTo>
                <a:lnTo>
                  <a:pt x="2944" y="2392"/>
                </a:lnTo>
                <a:lnTo>
                  <a:pt x="2952" y="2404"/>
                </a:lnTo>
                <a:lnTo>
                  <a:pt x="2964" y="2417"/>
                </a:lnTo>
                <a:lnTo>
                  <a:pt x="2964" y="2417"/>
                </a:lnTo>
                <a:lnTo>
                  <a:pt x="2977" y="2429"/>
                </a:lnTo>
                <a:lnTo>
                  <a:pt x="2992" y="2440"/>
                </a:lnTo>
                <a:lnTo>
                  <a:pt x="3010" y="2453"/>
                </a:lnTo>
                <a:lnTo>
                  <a:pt x="3032" y="2466"/>
                </a:lnTo>
                <a:lnTo>
                  <a:pt x="3057" y="2479"/>
                </a:lnTo>
                <a:lnTo>
                  <a:pt x="3083" y="2494"/>
                </a:lnTo>
                <a:lnTo>
                  <a:pt x="3146" y="2523"/>
                </a:lnTo>
                <a:lnTo>
                  <a:pt x="3146" y="2523"/>
                </a:lnTo>
                <a:lnTo>
                  <a:pt x="3203" y="2550"/>
                </a:lnTo>
                <a:lnTo>
                  <a:pt x="3253" y="2575"/>
                </a:lnTo>
                <a:lnTo>
                  <a:pt x="3300" y="2601"/>
                </a:lnTo>
                <a:lnTo>
                  <a:pt x="3342" y="2624"/>
                </a:lnTo>
                <a:lnTo>
                  <a:pt x="3342" y="2624"/>
                </a:lnTo>
                <a:lnTo>
                  <a:pt x="3378" y="2648"/>
                </a:lnTo>
                <a:lnTo>
                  <a:pt x="3410" y="2672"/>
                </a:lnTo>
                <a:lnTo>
                  <a:pt x="3436" y="2693"/>
                </a:lnTo>
                <a:lnTo>
                  <a:pt x="3457" y="2716"/>
                </a:lnTo>
                <a:lnTo>
                  <a:pt x="3457" y="2716"/>
                </a:lnTo>
                <a:lnTo>
                  <a:pt x="3472" y="2731"/>
                </a:lnTo>
                <a:lnTo>
                  <a:pt x="3483" y="2747"/>
                </a:lnTo>
                <a:lnTo>
                  <a:pt x="3495" y="2763"/>
                </a:lnTo>
                <a:lnTo>
                  <a:pt x="3506" y="2779"/>
                </a:lnTo>
                <a:lnTo>
                  <a:pt x="3517" y="2796"/>
                </a:lnTo>
                <a:lnTo>
                  <a:pt x="3525" y="2812"/>
                </a:lnTo>
                <a:lnTo>
                  <a:pt x="3534" y="2829"/>
                </a:lnTo>
                <a:lnTo>
                  <a:pt x="3541" y="2848"/>
                </a:lnTo>
                <a:lnTo>
                  <a:pt x="3547" y="2865"/>
                </a:lnTo>
                <a:lnTo>
                  <a:pt x="3553" y="2884"/>
                </a:lnTo>
                <a:lnTo>
                  <a:pt x="3557" y="2903"/>
                </a:lnTo>
                <a:lnTo>
                  <a:pt x="3561" y="2923"/>
                </a:lnTo>
                <a:lnTo>
                  <a:pt x="3564" y="2942"/>
                </a:lnTo>
                <a:lnTo>
                  <a:pt x="3567" y="2962"/>
                </a:lnTo>
                <a:lnTo>
                  <a:pt x="3569" y="2984"/>
                </a:lnTo>
                <a:lnTo>
                  <a:pt x="3569" y="3004"/>
                </a:lnTo>
                <a:lnTo>
                  <a:pt x="3569" y="3004"/>
                </a:lnTo>
                <a:lnTo>
                  <a:pt x="3567" y="3045"/>
                </a:lnTo>
                <a:lnTo>
                  <a:pt x="3563" y="3085"/>
                </a:lnTo>
                <a:lnTo>
                  <a:pt x="3554" y="3123"/>
                </a:lnTo>
                <a:lnTo>
                  <a:pt x="3544" y="3160"/>
                </a:lnTo>
                <a:lnTo>
                  <a:pt x="3530" y="3197"/>
                </a:lnTo>
                <a:lnTo>
                  <a:pt x="3512" y="3231"/>
                </a:lnTo>
                <a:lnTo>
                  <a:pt x="3492" y="3266"/>
                </a:lnTo>
                <a:lnTo>
                  <a:pt x="3469" y="3298"/>
                </a:lnTo>
                <a:lnTo>
                  <a:pt x="3469" y="3298"/>
                </a:lnTo>
                <a:lnTo>
                  <a:pt x="3443" y="3328"/>
                </a:lnTo>
                <a:lnTo>
                  <a:pt x="3415" y="3356"/>
                </a:lnTo>
                <a:lnTo>
                  <a:pt x="3385" y="3380"/>
                </a:lnTo>
                <a:lnTo>
                  <a:pt x="3353" y="3403"/>
                </a:lnTo>
                <a:lnTo>
                  <a:pt x="3320" y="3424"/>
                </a:lnTo>
                <a:lnTo>
                  <a:pt x="3284" y="3441"/>
                </a:lnTo>
                <a:lnTo>
                  <a:pt x="3245" y="3455"/>
                </a:lnTo>
                <a:lnTo>
                  <a:pt x="3204" y="3469"/>
                </a:lnTo>
                <a:lnTo>
                  <a:pt x="3204" y="3671"/>
                </a:lnTo>
                <a:lnTo>
                  <a:pt x="3033" y="3671"/>
                </a:lnTo>
                <a:lnTo>
                  <a:pt x="3033" y="3474"/>
                </a:lnTo>
                <a:lnTo>
                  <a:pt x="3033" y="3474"/>
                </a:lnTo>
                <a:lnTo>
                  <a:pt x="2987" y="3466"/>
                </a:lnTo>
                <a:lnTo>
                  <a:pt x="2944" y="3454"/>
                </a:lnTo>
                <a:lnTo>
                  <a:pt x="2902" y="3441"/>
                </a:lnTo>
                <a:lnTo>
                  <a:pt x="2864" y="3425"/>
                </a:lnTo>
                <a:lnTo>
                  <a:pt x="2830" y="3408"/>
                </a:lnTo>
                <a:lnTo>
                  <a:pt x="2796" y="3388"/>
                </a:lnTo>
                <a:lnTo>
                  <a:pt x="2782" y="3377"/>
                </a:lnTo>
                <a:lnTo>
                  <a:pt x="2767" y="3366"/>
                </a:lnTo>
                <a:lnTo>
                  <a:pt x="2754" y="3354"/>
                </a:lnTo>
                <a:lnTo>
                  <a:pt x="2741" y="3341"/>
                </a:lnTo>
                <a:lnTo>
                  <a:pt x="2741" y="3341"/>
                </a:lnTo>
                <a:lnTo>
                  <a:pt x="2728" y="3328"/>
                </a:lnTo>
                <a:lnTo>
                  <a:pt x="2717" y="3315"/>
                </a:lnTo>
                <a:lnTo>
                  <a:pt x="2694" y="3285"/>
                </a:lnTo>
                <a:lnTo>
                  <a:pt x="2673" y="3252"/>
                </a:lnTo>
                <a:lnTo>
                  <a:pt x="2653" y="3214"/>
                </a:lnTo>
                <a:lnTo>
                  <a:pt x="2636" y="3173"/>
                </a:lnTo>
                <a:lnTo>
                  <a:pt x="2620" y="3129"/>
                </a:lnTo>
                <a:lnTo>
                  <a:pt x="2605" y="3082"/>
                </a:lnTo>
                <a:lnTo>
                  <a:pt x="2592" y="3030"/>
                </a:lnTo>
                <a:lnTo>
                  <a:pt x="2808" y="2985"/>
                </a:lnTo>
                <a:lnTo>
                  <a:pt x="2808" y="2985"/>
                </a:lnTo>
                <a:lnTo>
                  <a:pt x="2818" y="3022"/>
                </a:lnTo>
                <a:lnTo>
                  <a:pt x="2831" y="3055"/>
                </a:lnTo>
                <a:lnTo>
                  <a:pt x="2843" y="3085"/>
                </a:lnTo>
                <a:lnTo>
                  <a:pt x="2856" y="3113"/>
                </a:lnTo>
                <a:lnTo>
                  <a:pt x="2870" y="3139"/>
                </a:lnTo>
                <a:lnTo>
                  <a:pt x="2884" y="3160"/>
                </a:lnTo>
                <a:lnTo>
                  <a:pt x="2899" y="3181"/>
                </a:lnTo>
                <a:lnTo>
                  <a:pt x="2915" y="3198"/>
                </a:lnTo>
                <a:lnTo>
                  <a:pt x="2915" y="3198"/>
                </a:lnTo>
                <a:lnTo>
                  <a:pt x="2932" y="3212"/>
                </a:lnTo>
                <a:lnTo>
                  <a:pt x="2951" y="3224"/>
                </a:lnTo>
                <a:lnTo>
                  <a:pt x="2971" y="3236"/>
                </a:lnTo>
                <a:lnTo>
                  <a:pt x="2993" y="3244"/>
                </a:lnTo>
                <a:lnTo>
                  <a:pt x="3015" y="3250"/>
                </a:lnTo>
                <a:lnTo>
                  <a:pt x="3039" y="3254"/>
                </a:lnTo>
                <a:lnTo>
                  <a:pt x="3065" y="3257"/>
                </a:lnTo>
                <a:lnTo>
                  <a:pt x="3093" y="3259"/>
                </a:lnTo>
                <a:lnTo>
                  <a:pt x="3093" y="3259"/>
                </a:lnTo>
                <a:lnTo>
                  <a:pt x="3119" y="3257"/>
                </a:lnTo>
                <a:lnTo>
                  <a:pt x="3143" y="3254"/>
                </a:lnTo>
                <a:lnTo>
                  <a:pt x="3168" y="3249"/>
                </a:lnTo>
                <a:lnTo>
                  <a:pt x="3191" y="3241"/>
                </a:lnTo>
                <a:lnTo>
                  <a:pt x="3213" y="3231"/>
                </a:lnTo>
                <a:lnTo>
                  <a:pt x="3233" y="3220"/>
                </a:lnTo>
                <a:lnTo>
                  <a:pt x="3253" y="3205"/>
                </a:lnTo>
                <a:lnTo>
                  <a:pt x="3272" y="3189"/>
                </a:lnTo>
                <a:lnTo>
                  <a:pt x="3272" y="3189"/>
                </a:lnTo>
                <a:lnTo>
                  <a:pt x="3290" y="3172"/>
                </a:lnTo>
                <a:lnTo>
                  <a:pt x="3304" y="3153"/>
                </a:lnTo>
                <a:lnTo>
                  <a:pt x="3316" y="3133"/>
                </a:lnTo>
                <a:lnTo>
                  <a:pt x="3326" y="3111"/>
                </a:lnTo>
                <a:lnTo>
                  <a:pt x="3333" y="3088"/>
                </a:lnTo>
                <a:lnTo>
                  <a:pt x="3339" y="3064"/>
                </a:lnTo>
                <a:lnTo>
                  <a:pt x="3343" y="3039"/>
                </a:lnTo>
                <a:lnTo>
                  <a:pt x="3343" y="3013"/>
                </a:lnTo>
                <a:lnTo>
                  <a:pt x="3343" y="3013"/>
                </a:lnTo>
                <a:lnTo>
                  <a:pt x="3343" y="2988"/>
                </a:lnTo>
                <a:lnTo>
                  <a:pt x="3340" y="2967"/>
                </a:lnTo>
                <a:lnTo>
                  <a:pt x="3336" y="2945"/>
                </a:lnTo>
                <a:lnTo>
                  <a:pt x="3329" y="2925"/>
                </a:lnTo>
                <a:lnTo>
                  <a:pt x="3320" y="2906"/>
                </a:lnTo>
                <a:lnTo>
                  <a:pt x="3310" y="2888"/>
                </a:lnTo>
                <a:lnTo>
                  <a:pt x="3298" y="2873"/>
                </a:lnTo>
                <a:lnTo>
                  <a:pt x="3284" y="2857"/>
                </a:lnTo>
                <a:lnTo>
                  <a:pt x="3284" y="2857"/>
                </a:lnTo>
                <a:lnTo>
                  <a:pt x="3266" y="2842"/>
                </a:lnTo>
                <a:lnTo>
                  <a:pt x="3246" y="2826"/>
                </a:lnTo>
                <a:lnTo>
                  <a:pt x="3222" y="2810"/>
                </a:lnTo>
                <a:lnTo>
                  <a:pt x="3194" y="2793"/>
                </a:lnTo>
                <a:lnTo>
                  <a:pt x="3194" y="2793"/>
                </a:lnTo>
                <a:lnTo>
                  <a:pt x="3162" y="2774"/>
                </a:lnTo>
                <a:lnTo>
                  <a:pt x="3127" y="2755"/>
                </a:lnTo>
                <a:lnTo>
                  <a:pt x="3087" y="2735"/>
                </a:lnTo>
                <a:lnTo>
                  <a:pt x="3044" y="2715"/>
                </a:lnTo>
                <a:lnTo>
                  <a:pt x="3044" y="2715"/>
                </a:lnTo>
                <a:lnTo>
                  <a:pt x="2997" y="2693"/>
                </a:lnTo>
                <a:lnTo>
                  <a:pt x="2957" y="2673"/>
                </a:lnTo>
                <a:lnTo>
                  <a:pt x="2919" y="2653"/>
                </a:lnTo>
                <a:lnTo>
                  <a:pt x="2886" y="2632"/>
                </a:lnTo>
                <a:lnTo>
                  <a:pt x="2857" y="2614"/>
                </a:lnTo>
                <a:lnTo>
                  <a:pt x="2831" y="2595"/>
                </a:lnTo>
                <a:lnTo>
                  <a:pt x="2811" y="2576"/>
                </a:lnTo>
                <a:lnTo>
                  <a:pt x="2793" y="2559"/>
                </a:lnTo>
                <a:lnTo>
                  <a:pt x="2793" y="2559"/>
                </a:lnTo>
                <a:lnTo>
                  <a:pt x="2772" y="2531"/>
                </a:lnTo>
                <a:lnTo>
                  <a:pt x="2751" y="2502"/>
                </a:lnTo>
                <a:lnTo>
                  <a:pt x="2735" y="2472"/>
                </a:lnTo>
                <a:lnTo>
                  <a:pt x="2722" y="2442"/>
                </a:lnTo>
                <a:lnTo>
                  <a:pt x="2712" y="2408"/>
                </a:lnTo>
                <a:lnTo>
                  <a:pt x="2705" y="2375"/>
                </a:lnTo>
                <a:lnTo>
                  <a:pt x="2701" y="2339"/>
                </a:lnTo>
                <a:lnTo>
                  <a:pt x="2698" y="2303"/>
                </a:lnTo>
                <a:lnTo>
                  <a:pt x="2698" y="2303"/>
                </a:lnTo>
                <a:lnTo>
                  <a:pt x="2699" y="2268"/>
                </a:lnTo>
                <a:lnTo>
                  <a:pt x="2704" y="2235"/>
                </a:lnTo>
                <a:lnTo>
                  <a:pt x="2711" y="2203"/>
                </a:lnTo>
                <a:lnTo>
                  <a:pt x="2721" y="2171"/>
                </a:lnTo>
                <a:lnTo>
                  <a:pt x="2721" y="2171"/>
                </a:lnTo>
                <a:lnTo>
                  <a:pt x="2734" y="2142"/>
                </a:lnTo>
                <a:lnTo>
                  <a:pt x="2748" y="2113"/>
                </a:lnTo>
                <a:lnTo>
                  <a:pt x="2766" y="2087"/>
                </a:lnTo>
                <a:lnTo>
                  <a:pt x="2786" y="2061"/>
                </a:lnTo>
                <a:lnTo>
                  <a:pt x="2786" y="2061"/>
                </a:lnTo>
                <a:lnTo>
                  <a:pt x="2809" y="2038"/>
                </a:lnTo>
                <a:lnTo>
                  <a:pt x="2834" y="2015"/>
                </a:lnTo>
                <a:lnTo>
                  <a:pt x="2861" y="1995"/>
                </a:lnTo>
                <a:lnTo>
                  <a:pt x="2892" y="1976"/>
                </a:lnTo>
                <a:lnTo>
                  <a:pt x="2892" y="1976"/>
                </a:lnTo>
                <a:lnTo>
                  <a:pt x="2924" y="1958"/>
                </a:lnTo>
                <a:lnTo>
                  <a:pt x="2958" y="1944"/>
                </a:lnTo>
                <a:lnTo>
                  <a:pt x="2994" y="1931"/>
                </a:lnTo>
                <a:lnTo>
                  <a:pt x="3033" y="1919"/>
                </a:lnTo>
                <a:lnTo>
                  <a:pt x="3033" y="1727"/>
                </a:lnTo>
                <a:lnTo>
                  <a:pt x="3204" y="172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4570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333333"/>
              </a:solidFill>
              <a:latin typeface="+mn-lt"/>
              <a:ea typeface=""/>
              <a:cs typeface="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132927" y="2766000"/>
            <a:ext cx="1212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GAMING </a:t>
            </a:r>
          </a:p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ECONOMY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7702452" y="2395324"/>
            <a:ext cx="359429" cy="346417"/>
            <a:chOff x="162021" y="2184488"/>
            <a:chExt cx="423252" cy="381519"/>
          </a:xfrm>
          <a:solidFill>
            <a:schemeClr val="bg2"/>
          </a:solidFill>
        </p:grpSpPr>
        <p:sp>
          <p:nvSpPr>
            <p:cNvPr id="65" name="Rounded Rectangle 64"/>
            <p:cNvSpPr/>
            <p:nvPr/>
          </p:nvSpPr>
          <p:spPr>
            <a:xfrm>
              <a:off x="177941" y="2353371"/>
              <a:ext cx="407332" cy="212636"/>
            </a:xfrm>
            <a:prstGeom prst="roundRect">
              <a:avLst>
                <a:gd name="adj" fmla="val 2652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1" kern="0" dirty="0">
                <a:solidFill>
                  <a:srgbClr val="FFFFFF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66" name="Freeform 65"/>
            <p:cNvSpPr/>
            <p:nvPr/>
          </p:nvSpPr>
          <p:spPr>
            <a:xfrm>
              <a:off x="177941" y="2290819"/>
              <a:ext cx="407332" cy="60892"/>
            </a:xfrm>
            <a:custGeom>
              <a:avLst/>
              <a:gdLst>
                <a:gd name="connsiteX0" fmla="*/ 362924 w 444163"/>
                <a:gd name="connsiteY0" fmla="*/ 3018 h 66380"/>
                <a:gd name="connsiteX1" fmla="*/ 303776 w 444163"/>
                <a:gd name="connsiteY1" fmla="*/ 63363 h 66380"/>
                <a:gd name="connsiteX2" fmla="*/ 376282 w 444163"/>
                <a:gd name="connsiteY2" fmla="*/ 63363 h 66380"/>
                <a:gd name="connsiteX3" fmla="*/ 435430 w 444163"/>
                <a:gd name="connsiteY3" fmla="*/ 3018 h 66380"/>
                <a:gd name="connsiteX4" fmla="*/ 217675 w 444163"/>
                <a:gd name="connsiteY4" fmla="*/ 3018 h 66380"/>
                <a:gd name="connsiteX5" fmla="*/ 158527 w 444163"/>
                <a:gd name="connsiteY5" fmla="*/ 63363 h 66380"/>
                <a:gd name="connsiteX6" fmla="*/ 231033 w 444163"/>
                <a:gd name="connsiteY6" fmla="*/ 63363 h 66380"/>
                <a:gd name="connsiteX7" fmla="*/ 290181 w 444163"/>
                <a:gd name="connsiteY7" fmla="*/ 3018 h 66380"/>
                <a:gd name="connsiteX8" fmla="*/ 72542 w 444163"/>
                <a:gd name="connsiteY8" fmla="*/ 3018 h 66380"/>
                <a:gd name="connsiteX9" fmla="*/ 13394 w 444163"/>
                <a:gd name="connsiteY9" fmla="*/ 63363 h 66380"/>
                <a:gd name="connsiteX10" fmla="*/ 85900 w 444163"/>
                <a:gd name="connsiteY10" fmla="*/ 63363 h 66380"/>
                <a:gd name="connsiteX11" fmla="*/ 145048 w 444163"/>
                <a:gd name="connsiteY11" fmla="*/ 3018 h 66380"/>
                <a:gd name="connsiteX12" fmla="*/ 11064 w 444163"/>
                <a:gd name="connsiteY12" fmla="*/ 0 h 66380"/>
                <a:gd name="connsiteX13" fmla="*/ 433099 w 444163"/>
                <a:gd name="connsiteY13" fmla="*/ 0 h 66380"/>
                <a:gd name="connsiteX14" fmla="*/ 444163 w 444163"/>
                <a:gd name="connsiteY14" fmla="*/ 11064 h 66380"/>
                <a:gd name="connsiteX15" fmla="*/ 444163 w 444163"/>
                <a:gd name="connsiteY15" fmla="*/ 55316 h 66380"/>
                <a:gd name="connsiteX16" fmla="*/ 433099 w 444163"/>
                <a:gd name="connsiteY16" fmla="*/ 66380 h 66380"/>
                <a:gd name="connsiteX17" fmla="*/ 11064 w 444163"/>
                <a:gd name="connsiteY17" fmla="*/ 66380 h 66380"/>
                <a:gd name="connsiteX18" fmla="*/ 0 w 444163"/>
                <a:gd name="connsiteY18" fmla="*/ 55316 h 66380"/>
                <a:gd name="connsiteX19" fmla="*/ 0 w 444163"/>
                <a:gd name="connsiteY19" fmla="*/ 11064 h 66380"/>
                <a:gd name="connsiteX20" fmla="*/ 11064 w 444163"/>
                <a:gd name="connsiteY20" fmla="*/ 0 h 6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4163" h="66380">
                  <a:moveTo>
                    <a:pt x="362924" y="3018"/>
                  </a:moveTo>
                  <a:lnTo>
                    <a:pt x="303776" y="63363"/>
                  </a:lnTo>
                  <a:lnTo>
                    <a:pt x="376282" y="63363"/>
                  </a:lnTo>
                  <a:lnTo>
                    <a:pt x="435430" y="3018"/>
                  </a:lnTo>
                  <a:close/>
                  <a:moveTo>
                    <a:pt x="217675" y="3018"/>
                  </a:moveTo>
                  <a:lnTo>
                    <a:pt x="158527" y="63363"/>
                  </a:lnTo>
                  <a:lnTo>
                    <a:pt x="231033" y="63363"/>
                  </a:lnTo>
                  <a:lnTo>
                    <a:pt x="290181" y="3018"/>
                  </a:lnTo>
                  <a:close/>
                  <a:moveTo>
                    <a:pt x="72542" y="3018"/>
                  </a:moveTo>
                  <a:lnTo>
                    <a:pt x="13394" y="63363"/>
                  </a:lnTo>
                  <a:lnTo>
                    <a:pt x="85900" y="63363"/>
                  </a:lnTo>
                  <a:lnTo>
                    <a:pt x="145048" y="3018"/>
                  </a:lnTo>
                  <a:close/>
                  <a:moveTo>
                    <a:pt x="11064" y="0"/>
                  </a:moveTo>
                  <a:lnTo>
                    <a:pt x="433099" y="0"/>
                  </a:lnTo>
                  <a:cubicBezTo>
                    <a:pt x="439209" y="0"/>
                    <a:pt x="444163" y="4954"/>
                    <a:pt x="444163" y="11064"/>
                  </a:cubicBezTo>
                  <a:lnTo>
                    <a:pt x="444163" y="55316"/>
                  </a:lnTo>
                  <a:cubicBezTo>
                    <a:pt x="444163" y="61426"/>
                    <a:pt x="439209" y="66380"/>
                    <a:pt x="433099" y="66380"/>
                  </a:cubicBezTo>
                  <a:lnTo>
                    <a:pt x="11064" y="66380"/>
                  </a:lnTo>
                  <a:cubicBezTo>
                    <a:pt x="4954" y="66380"/>
                    <a:pt x="0" y="61426"/>
                    <a:pt x="0" y="55316"/>
                  </a:cubicBezTo>
                  <a:lnTo>
                    <a:pt x="0" y="11064"/>
                  </a:lnTo>
                  <a:cubicBezTo>
                    <a:pt x="0" y="4954"/>
                    <a:pt x="4954" y="0"/>
                    <a:pt x="1106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>
                <a:solidFill>
                  <a:srgbClr val="FFFFFF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67" name="Freeform 66"/>
            <p:cNvSpPr/>
            <p:nvPr/>
          </p:nvSpPr>
          <p:spPr>
            <a:xfrm rot="20729993">
              <a:off x="162021" y="2184488"/>
              <a:ext cx="414118" cy="60892"/>
            </a:xfrm>
            <a:custGeom>
              <a:avLst/>
              <a:gdLst>
                <a:gd name="connsiteX0" fmla="*/ 147463 w 451563"/>
                <a:gd name="connsiteY0" fmla="*/ 3018 h 66380"/>
                <a:gd name="connsiteX1" fmla="*/ 72764 w 451563"/>
                <a:gd name="connsiteY1" fmla="*/ 3018 h 66380"/>
                <a:gd name="connsiteX2" fmla="*/ 13617 w 451563"/>
                <a:gd name="connsiteY2" fmla="*/ 63363 h 66380"/>
                <a:gd name="connsiteX3" fmla="*/ 88316 w 451563"/>
                <a:gd name="connsiteY3" fmla="*/ 63363 h 66380"/>
                <a:gd name="connsiteX4" fmla="*/ 295015 w 451563"/>
                <a:gd name="connsiteY4" fmla="*/ 3019 h 66380"/>
                <a:gd name="connsiteX5" fmla="*/ 220316 w 451563"/>
                <a:gd name="connsiteY5" fmla="*/ 3019 h 66380"/>
                <a:gd name="connsiteX6" fmla="*/ 161168 w 451563"/>
                <a:gd name="connsiteY6" fmla="*/ 63363 h 66380"/>
                <a:gd name="connsiteX7" fmla="*/ 235867 w 451563"/>
                <a:gd name="connsiteY7" fmla="*/ 63363 h 66380"/>
                <a:gd name="connsiteX8" fmla="*/ 442684 w 451563"/>
                <a:gd name="connsiteY8" fmla="*/ 3018 h 66380"/>
                <a:gd name="connsiteX9" fmla="*/ 367985 w 451563"/>
                <a:gd name="connsiteY9" fmla="*/ 3018 h 66380"/>
                <a:gd name="connsiteX10" fmla="*/ 308837 w 451563"/>
                <a:gd name="connsiteY10" fmla="*/ 63363 h 66380"/>
                <a:gd name="connsiteX11" fmla="*/ 383536 w 451563"/>
                <a:gd name="connsiteY11" fmla="*/ 63363 h 66380"/>
                <a:gd name="connsiteX12" fmla="*/ 440499 w 451563"/>
                <a:gd name="connsiteY12" fmla="*/ 0 h 66380"/>
                <a:gd name="connsiteX13" fmla="*/ 451563 w 451563"/>
                <a:gd name="connsiteY13" fmla="*/ 11064 h 66380"/>
                <a:gd name="connsiteX14" fmla="*/ 451563 w 451563"/>
                <a:gd name="connsiteY14" fmla="*/ 55316 h 66380"/>
                <a:gd name="connsiteX15" fmla="*/ 440499 w 451563"/>
                <a:gd name="connsiteY15" fmla="*/ 66380 h 66380"/>
                <a:gd name="connsiteX16" fmla="*/ 11064 w 451563"/>
                <a:gd name="connsiteY16" fmla="*/ 66380 h 66380"/>
                <a:gd name="connsiteX17" fmla="*/ 0 w 451563"/>
                <a:gd name="connsiteY17" fmla="*/ 55316 h 66380"/>
                <a:gd name="connsiteX18" fmla="*/ 0 w 451563"/>
                <a:gd name="connsiteY18" fmla="*/ 11064 h 66380"/>
                <a:gd name="connsiteX19" fmla="*/ 11064 w 451563"/>
                <a:gd name="connsiteY19" fmla="*/ 0 h 6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563" h="66380">
                  <a:moveTo>
                    <a:pt x="147463" y="3018"/>
                  </a:moveTo>
                  <a:lnTo>
                    <a:pt x="72764" y="3018"/>
                  </a:lnTo>
                  <a:lnTo>
                    <a:pt x="13617" y="63363"/>
                  </a:lnTo>
                  <a:lnTo>
                    <a:pt x="88316" y="63363"/>
                  </a:lnTo>
                  <a:close/>
                  <a:moveTo>
                    <a:pt x="295015" y="3019"/>
                  </a:moveTo>
                  <a:lnTo>
                    <a:pt x="220316" y="3019"/>
                  </a:lnTo>
                  <a:lnTo>
                    <a:pt x="161168" y="63363"/>
                  </a:lnTo>
                  <a:lnTo>
                    <a:pt x="235867" y="63363"/>
                  </a:lnTo>
                  <a:close/>
                  <a:moveTo>
                    <a:pt x="442684" y="3018"/>
                  </a:moveTo>
                  <a:lnTo>
                    <a:pt x="367985" y="3018"/>
                  </a:lnTo>
                  <a:lnTo>
                    <a:pt x="308837" y="63363"/>
                  </a:lnTo>
                  <a:lnTo>
                    <a:pt x="383536" y="63363"/>
                  </a:lnTo>
                  <a:close/>
                  <a:moveTo>
                    <a:pt x="440499" y="0"/>
                  </a:moveTo>
                  <a:cubicBezTo>
                    <a:pt x="446609" y="0"/>
                    <a:pt x="451563" y="4954"/>
                    <a:pt x="451563" y="11064"/>
                  </a:cubicBezTo>
                  <a:lnTo>
                    <a:pt x="451563" y="55316"/>
                  </a:lnTo>
                  <a:cubicBezTo>
                    <a:pt x="451563" y="61426"/>
                    <a:pt x="446609" y="66380"/>
                    <a:pt x="440499" y="66380"/>
                  </a:cubicBezTo>
                  <a:lnTo>
                    <a:pt x="11064" y="66380"/>
                  </a:lnTo>
                  <a:cubicBezTo>
                    <a:pt x="4954" y="66380"/>
                    <a:pt x="0" y="61426"/>
                    <a:pt x="0" y="55316"/>
                  </a:cubicBezTo>
                  <a:lnTo>
                    <a:pt x="0" y="11064"/>
                  </a:lnTo>
                  <a:cubicBezTo>
                    <a:pt x="0" y="4954"/>
                    <a:pt x="4954" y="0"/>
                    <a:pt x="1106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>
                <a:solidFill>
                  <a:srgbClr val="FFFFFF"/>
                </a:solidFill>
                <a:latin typeface="+mn-lt"/>
                <a:ea typeface=""/>
                <a:cs typeface="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7401829" y="2835250"/>
            <a:ext cx="9606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CONTEN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709017" y="4485828"/>
            <a:ext cx="1212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SERVICE AVAILABILITY </a:t>
            </a:r>
          </a:p>
        </p:txBody>
      </p:sp>
      <p:grpSp>
        <p:nvGrpSpPr>
          <p:cNvPr id="70" name="Group 69"/>
          <p:cNvGrpSpPr/>
          <p:nvPr/>
        </p:nvGrpSpPr>
        <p:grpSpPr>
          <a:xfrm>
            <a:off x="1155100" y="4071656"/>
            <a:ext cx="319841" cy="375636"/>
            <a:chOff x="4585714" y="753841"/>
            <a:chExt cx="327025" cy="384175"/>
          </a:xfrm>
          <a:solidFill>
            <a:schemeClr val="bg2"/>
          </a:solidFill>
          <a:effectLst/>
        </p:grpSpPr>
        <p:sp>
          <p:nvSpPr>
            <p:cNvPr id="71" name="Freeform 70"/>
            <p:cNvSpPr>
              <a:spLocks/>
            </p:cNvSpPr>
            <p:nvPr/>
          </p:nvSpPr>
          <p:spPr bwMode="auto">
            <a:xfrm flipH="1">
              <a:off x="4585714" y="753841"/>
              <a:ext cx="327025" cy="384175"/>
            </a:xfrm>
            <a:custGeom>
              <a:avLst/>
              <a:gdLst>
                <a:gd name="T0" fmla="*/ 121 w 206"/>
                <a:gd name="T1" fmla="*/ 20 h 242"/>
                <a:gd name="T2" fmla="*/ 124 w 206"/>
                <a:gd name="T3" fmla="*/ 15 h 242"/>
                <a:gd name="T4" fmla="*/ 124 w 206"/>
                <a:gd name="T5" fmla="*/ 7 h 242"/>
                <a:gd name="T6" fmla="*/ 121 w 206"/>
                <a:gd name="T7" fmla="*/ 4 h 242"/>
                <a:gd name="T8" fmla="*/ 112 w 206"/>
                <a:gd name="T9" fmla="*/ 0 h 242"/>
                <a:gd name="T10" fmla="*/ 104 w 206"/>
                <a:gd name="T11" fmla="*/ 4 h 242"/>
                <a:gd name="T12" fmla="*/ 67 w 206"/>
                <a:gd name="T13" fmla="*/ 41 h 242"/>
                <a:gd name="T14" fmla="*/ 63 w 206"/>
                <a:gd name="T15" fmla="*/ 49 h 242"/>
                <a:gd name="T16" fmla="*/ 67 w 206"/>
                <a:gd name="T17" fmla="*/ 58 h 242"/>
                <a:gd name="T18" fmla="*/ 104 w 206"/>
                <a:gd name="T19" fmla="*/ 95 h 242"/>
                <a:gd name="T20" fmla="*/ 112 w 206"/>
                <a:gd name="T21" fmla="*/ 98 h 242"/>
                <a:gd name="T22" fmla="*/ 121 w 206"/>
                <a:gd name="T23" fmla="*/ 95 h 242"/>
                <a:gd name="T24" fmla="*/ 124 w 206"/>
                <a:gd name="T25" fmla="*/ 90 h 242"/>
                <a:gd name="T26" fmla="*/ 124 w 206"/>
                <a:gd name="T27" fmla="*/ 82 h 242"/>
                <a:gd name="T28" fmla="*/ 103 w 206"/>
                <a:gd name="T29" fmla="*/ 59 h 242"/>
                <a:gd name="T30" fmla="*/ 103 w 206"/>
                <a:gd name="T31" fmla="*/ 59 h 242"/>
                <a:gd name="T32" fmla="*/ 134 w 206"/>
                <a:gd name="T33" fmla="*/ 66 h 242"/>
                <a:gd name="T34" fmla="*/ 160 w 206"/>
                <a:gd name="T35" fmla="*/ 84 h 242"/>
                <a:gd name="T36" fmla="*/ 176 w 206"/>
                <a:gd name="T37" fmla="*/ 108 h 242"/>
                <a:gd name="T38" fmla="*/ 183 w 206"/>
                <a:gd name="T39" fmla="*/ 139 h 242"/>
                <a:gd name="T40" fmla="*/ 181 w 206"/>
                <a:gd name="T41" fmla="*/ 156 h 242"/>
                <a:gd name="T42" fmla="*/ 170 w 206"/>
                <a:gd name="T43" fmla="*/ 185 h 242"/>
                <a:gd name="T44" fmla="*/ 148 w 206"/>
                <a:gd name="T45" fmla="*/ 206 h 242"/>
                <a:gd name="T46" fmla="*/ 119 w 206"/>
                <a:gd name="T47" fmla="*/ 218 h 242"/>
                <a:gd name="T48" fmla="*/ 103 w 206"/>
                <a:gd name="T49" fmla="*/ 219 h 242"/>
                <a:gd name="T50" fmla="*/ 72 w 206"/>
                <a:gd name="T51" fmla="*/ 213 h 242"/>
                <a:gd name="T52" fmla="*/ 45 w 206"/>
                <a:gd name="T53" fmla="*/ 197 h 242"/>
                <a:gd name="T54" fmla="*/ 29 w 206"/>
                <a:gd name="T55" fmla="*/ 170 h 242"/>
                <a:gd name="T56" fmla="*/ 23 w 206"/>
                <a:gd name="T57" fmla="*/ 139 h 242"/>
                <a:gd name="T58" fmla="*/ 23 w 206"/>
                <a:gd name="T59" fmla="*/ 136 h 242"/>
                <a:gd name="T60" fmla="*/ 16 w 206"/>
                <a:gd name="T61" fmla="*/ 129 h 242"/>
                <a:gd name="T62" fmla="*/ 11 w 206"/>
                <a:gd name="T63" fmla="*/ 128 h 242"/>
                <a:gd name="T64" fmla="*/ 3 w 206"/>
                <a:gd name="T65" fmla="*/ 131 h 242"/>
                <a:gd name="T66" fmla="*/ 0 w 206"/>
                <a:gd name="T67" fmla="*/ 139 h 242"/>
                <a:gd name="T68" fmla="*/ 1 w 206"/>
                <a:gd name="T69" fmla="*/ 151 h 242"/>
                <a:gd name="T70" fmla="*/ 5 w 206"/>
                <a:gd name="T71" fmla="*/ 170 h 242"/>
                <a:gd name="T72" fmla="*/ 18 w 206"/>
                <a:gd name="T73" fmla="*/ 197 h 242"/>
                <a:gd name="T74" fmla="*/ 45 w 206"/>
                <a:gd name="T75" fmla="*/ 224 h 242"/>
                <a:gd name="T76" fmla="*/ 72 w 206"/>
                <a:gd name="T77" fmla="*/ 237 h 242"/>
                <a:gd name="T78" fmla="*/ 93 w 206"/>
                <a:gd name="T79" fmla="*/ 242 h 242"/>
                <a:gd name="T80" fmla="*/ 103 w 206"/>
                <a:gd name="T81" fmla="*/ 242 h 242"/>
                <a:gd name="T82" fmla="*/ 124 w 206"/>
                <a:gd name="T83" fmla="*/ 241 h 242"/>
                <a:gd name="T84" fmla="*/ 144 w 206"/>
                <a:gd name="T85" fmla="*/ 234 h 242"/>
                <a:gd name="T86" fmla="*/ 176 w 206"/>
                <a:gd name="T87" fmla="*/ 213 h 242"/>
                <a:gd name="T88" fmla="*/ 197 w 206"/>
                <a:gd name="T89" fmla="*/ 180 h 242"/>
                <a:gd name="T90" fmla="*/ 204 w 206"/>
                <a:gd name="T91" fmla="*/ 161 h 242"/>
                <a:gd name="T92" fmla="*/ 206 w 206"/>
                <a:gd name="T93" fmla="*/ 139 h 242"/>
                <a:gd name="T94" fmla="*/ 206 w 206"/>
                <a:gd name="T95" fmla="*/ 129 h 242"/>
                <a:gd name="T96" fmla="*/ 201 w 206"/>
                <a:gd name="T97" fmla="*/ 110 h 242"/>
                <a:gd name="T98" fmla="*/ 188 w 206"/>
                <a:gd name="T99" fmla="*/ 82 h 242"/>
                <a:gd name="T100" fmla="*/ 161 w 206"/>
                <a:gd name="T101" fmla="*/ 54 h 242"/>
                <a:gd name="T102" fmla="*/ 134 w 206"/>
                <a:gd name="T103" fmla="*/ 41 h 242"/>
                <a:gd name="T104" fmla="*/ 114 w 206"/>
                <a:gd name="T105" fmla="*/ 3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6" h="242">
                  <a:moveTo>
                    <a:pt x="104" y="36"/>
                  </a:moveTo>
                  <a:lnTo>
                    <a:pt x="121" y="20"/>
                  </a:lnTo>
                  <a:lnTo>
                    <a:pt x="121" y="20"/>
                  </a:lnTo>
                  <a:lnTo>
                    <a:pt x="124" y="15"/>
                  </a:lnTo>
                  <a:lnTo>
                    <a:pt x="124" y="12"/>
                  </a:lnTo>
                  <a:lnTo>
                    <a:pt x="124" y="7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17" y="0"/>
                  </a:lnTo>
                  <a:lnTo>
                    <a:pt x="112" y="0"/>
                  </a:lnTo>
                  <a:lnTo>
                    <a:pt x="109" y="0"/>
                  </a:lnTo>
                  <a:lnTo>
                    <a:pt x="104" y="4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5" y="44"/>
                  </a:lnTo>
                  <a:lnTo>
                    <a:pt x="63" y="49"/>
                  </a:lnTo>
                  <a:lnTo>
                    <a:pt x="65" y="53"/>
                  </a:lnTo>
                  <a:lnTo>
                    <a:pt x="67" y="58"/>
                  </a:lnTo>
                  <a:lnTo>
                    <a:pt x="104" y="95"/>
                  </a:lnTo>
                  <a:lnTo>
                    <a:pt x="104" y="95"/>
                  </a:lnTo>
                  <a:lnTo>
                    <a:pt x="109" y="97"/>
                  </a:lnTo>
                  <a:lnTo>
                    <a:pt x="112" y="98"/>
                  </a:lnTo>
                  <a:lnTo>
                    <a:pt x="117" y="97"/>
                  </a:lnTo>
                  <a:lnTo>
                    <a:pt x="121" y="95"/>
                  </a:lnTo>
                  <a:lnTo>
                    <a:pt x="121" y="95"/>
                  </a:lnTo>
                  <a:lnTo>
                    <a:pt x="124" y="90"/>
                  </a:lnTo>
                  <a:lnTo>
                    <a:pt x="124" y="87"/>
                  </a:lnTo>
                  <a:lnTo>
                    <a:pt x="124" y="82"/>
                  </a:lnTo>
                  <a:lnTo>
                    <a:pt x="121" y="7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19" y="61"/>
                  </a:lnTo>
                  <a:lnTo>
                    <a:pt x="134" y="66"/>
                  </a:lnTo>
                  <a:lnTo>
                    <a:pt x="148" y="74"/>
                  </a:lnTo>
                  <a:lnTo>
                    <a:pt x="160" y="84"/>
                  </a:lnTo>
                  <a:lnTo>
                    <a:pt x="170" y="95"/>
                  </a:lnTo>
                  <a:lnTo>
                    <a:pt x="176" y="108"/>
                  </a:lnTo>
                  <a:lnTo>
                    <a:pt x="181" y="123"/>
                  </a:lnTo>
                  <a:lnTo>
                    <a:pt x="183" y="139"/>
                  </a:lnTo>
                  <a:lnTo>
                    <a:pt x="183" y="139"/>
                  </a:lnTo>
                  <a:lnTo>
                    <a:pt x="181" y="156"/>
                  </a:lnTo>
                  <a:lnTo>
                    <a:pt x="176" y="170"/>
                  </a:lnTo>
                  <a:lnTo>
                    <a:pt x="170" y="185"/>
                  </a:lnTo>
                  <a:lnTo>
                    <a:pt x="160" y="197"/>
                  </a:lnTo>
                  <a:lnTo>
                    <a:pt x="148" y="206"/>
                  </a:lnTo>
                  <a:lnTo>
                    <a:pt x="134" y="213"/>
                  </a:lnTo>
                  <a:lnTo>
                    <a:pt x="119" y="218"/>
                  </a:lnTo>
                  <a:lnTo>
                    <a:pt x="103" y="219"/>
                  </a:lnTo>
                  <a:lnTo>
                    <a:pt x="103" y="219"/>
                  </a:lnTo>
                  <a:lnTo>
                    <a:pt x="86" y="218"/>
                  </a:lnTo>
                  <a:lnTo>
                    <a:pt x="72" y="213"/>
                  </a:lnTo>
                  <a:lnTo>
                    <a:pt x="58" y="206"/>
                  </a:lnTo>
                  <a:lnTo>
                    <a:pt x="45" y="197"/>
                  </a:lnTo>
                  <a:lnTo>
                    <a:pt x="36" y="185"/>
                  </a:lnTo>
                  <a:lnTo>
                    <a:pt x="29" y="170"/>
                  </a:lnTo>
                  <a:lnTo>
                    <a:pt x="24" y="156"/>
                  </a:lnTo>
                  <a:lnTo>
                    <a:pt x="23" y="139"/>
                  </a:lnTo>
                  <a:lnTo>
                    <a:pt x="23" y="139"/>
                  </a:lnTo>
                  <a:lnTo>
                    <a:pt x="23" y="136"/>
                  </a:lnTo>
                  <a:lnTo>
                    <a:pt x="19" y="131"/>
                  </a:lnTo>
                  <a:lnTo>
                    <a:pt x="16" y="129"/>
                  </a:lnTo>
                  <a:lnTo>
                    <a:pt x="11" y="128"/>
                  </a:lnTo>
                  <a:lnTo>
                    <a:pt x="11" y="128"/>
                  </a:lnTo>
                  <a:lnTo>
                    <a:pt x="6" y="129"/>
                  </a:lnTo>
                  <a:lnTo>
                    <a:pt x="3" y="131"/>
                  </a:lnTo>
                  <a:lnTo>
                    <a:pt x="1" y="13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1" y="151"/>
                  </a:lnTo>
                  <a:lnTo>
                    <a:pt x="1" y="161"/>
                  </a:lnTo>
                  <a:lnTo>
                    <a:pt x="5" y="170"/>
                  </a:lnTo>
                  <a:lnTo>
                    <a:pt x="8" y="180"/>
                  </a:lnTo>
                  <a:lnTo>
                    <a:pt x="18" y="197"/>
                  </a:lnTo>
                  <a:lnTo>
                    <a:pt x="31" y="213"/>
                  </a:lnTo>
                  <a:lnTo>
                    <a:pt x="45" y="224"/>
                  </a:lnTo>
                  <a:lnTo>
                    <a:pt x="63" y="234"/>
                  </a:lnTo>
                  <a:lnTo>
                    <a:pt x="72" y="237"/>
                  </a:lnTo>
                  <a:lnTo>
                    <a:pt x="81" y="241"/>
                  </a:lnTo>
                  <a:lnTo>
                    <a:pt x="93" y="242"/>
                  </a:lnTo>
                  <a:lnTo>
                    <a:pt x="103" y="242"/>
                  </a:lnTo>
                  <a:lnTo>
                    <a:pt x="103" y="242"/>
                  </a:lnTo>
                  <a:lnTo>
                    <a:pt x="114" y="242"/>
                  </a:lnTo>
                  <a:lnTo>
                    <a:pt x="124" y="241"/>
                  </a:lnTo>
                  <a:lnTo>
                    <a:pt x="134" y="237"/>
                  </a:lnTo>
                  <a:lnTo>
                    <a:pt x="144" y="234"/>
                  </a:lnTo>
                  <a:lnTo>
                    <a:pt x="160" y="224"/>
                  </a:lnTo>
                  <a:lnTo>
                    <a:pt x="176" y="213"/>
                  </a:lnTo>
                  <a:lnTo>
                    <a:pt x="188" y="197"/>
                  </a:lnTo>
                  <a:lnTo>
                    <a:pt x="197" y="180"/>
                  </a:lnTo>
                  <a:lnTo>
                    <a:pt x="201" y="170"/>
                  </a:lnTo>
                  <a:lnTo>
                    <a:pt x="204" y="161"/>
                  </a:lnTo>
                  <a:lnTo>
                    <a:pt x="206" y="151"/>
                  </a:lnTo>
                  <a:lnTo>
                    <a:pt x="206" y="139"/>
                  </a:lnTo>
                  <a:lnTo>
                    <a:pt x="206" y="139"/>
                  </a:lnTo>
                  <a:lnTo>
                    <a:pt x="206" y="129"/>
                  </a:lnTo>
                  <a:lnTo>
                    <a:pt x="204" y="120"/>
                  </a:lnTo>
                  <a:lnTo>
                    <a:pt x="201" y="110"/>
                  </a:lnTo>
                  <a:lnTo>
                    <a:pt x="197" y="100"/>
                  </a:lnTo>
                  <a:lnTo>
                    <a:pt x="188" y="82"/>
                  </a:lnTo>
                  <a:lnTo>
                    <a:pt x="176" y="67"/>
                  </a:lnTo>
                  <a:lnTo>
                    <a:pt x="161" y="54"/>
                  </a:lnTo>
                  <a:lnTo>
                    <a:pt x="144" y="44"/>
                  </a:lnTo>
                  <a:lnTo>
                    <a:pt x="134" y="41"/>
                  </a:lnTo>
                  <a:lnTo>
                    <a:pt x="124" y="40"/>
                  </a:lnTo>
                  <a:lnTo>
                    <a:pt x="114" y="38"/>
                  </a:lnTo>
                  <a:lnTo>
                    <a:pt x="104" y="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333333"/>
                </a:solidFill>
                <a:latin typeface="+mn-lt"/>
                <a:ea typeface=""/>
                <a:cs typeface="CiscoSansTT Light"/>
              </a:endParaRPr>
            </a:p>
          </p:txBody>
        </p:sp>
        <p:sp>
          <p:nvSpPr>
            <p:cNvPr id="72" name="Freeform 71"/>
            <p:cNvSpPr>
              <a:spLocks/>
            </p:cNvSpPr>
            <p:nvPr/>
          </p:nvSpPr>
          <p:spPr bwMode="auto">
            <a:xfrm>
              <a:off x="4694265" y="910717"/>
              <a:ext cx="147638" cy="125412"/>
            </a:xfrm>
            <a:custGeom>
              <a:avLst/>
              <a:gdLst>
                <a:gd name="T0" fmla="*/ 74 w 93"/>
                <a:gd name="T1" fmla="*/ 4 h 79"/>
                <a:gd name="T2" fmla="*/ 39 w 93"/>
                <a:gd name="T3" fmla="*/ 53 h 79"/>
                <a:gd name="T4" fmla="*/ 18 w 93"/>
                <a:gd name="T5" fmla="*/ 30 h 79"/>
                <a:gd name="T6" fmla="*/ 18 w 93"/>
                <a:gd name="T7" fmla="*/ 30 h 79"/>
                <a:gd name="T8" fmla="*/ 15 w 93"/>
                <a:gd name="T9" fmla="*/ 28 h 79"/>
                <a:gd name="T10" fmla="*/ 10 w 93"/>
                <a:gd name="T11" fmla="*/ 27 h 79"/>
                <a:gd name="T12" fmla="*/ 7 w 93"/>
                <a:gd name="T13" fmla="*/ 28 h 79"/>
                <a:gd name="T14" fmla="*/ 3 w 93"/>
                <a:gd name="T15" fmla="*/ 30 h 79"/>
                <a:gd name="T16" fmla="*/ 3 w 93"/>
                <a:gd name="T17" fmla="*/ 30 h 79"/>
                <a:gd name="T18" fmla="*/ 0 w 93"/>
                <a:gd name="T19" fmla="*/ 33 h 79"/>
                <a:gd name="T20" fmla="*/ 0 w 93"/>
                <a:gd name="T21" fmla="*/ 38 h 79"/>
                <a:gd name="T22" fmla="*/ 0 w 93"/>
                <a:gd name="T23" fmla="*/ 41 h 79"/>
                <a:gd name="T24" fmla="*/ 3 w 93"/>
                <a:gd name="T25" fmla="*/ 46 h 79"/>
                <a:gd name="T26" fmla="*/ 34 w 93"/>
                <a:gd name="T27" fmla="*/ 77 h 79"/>
                <a:gd name="T28" fmla="*/ 34 w 93"/>
                <a:gd name="T29" fmla="*/ 77 h 79"/>
                <a:gd name="T30" fmla="*/ 34 w 93"/>
                <a:gd name="T31" fmla="*/ 77 h 79"/>
                <a:gd name="T32" fmla="*/ 34 w 93"/>
                <a:gd name="T33" fmla="*/ 77 h 79"/>
                <a:gd name="T34" fmla="*/ 36 w 93"/>
                <a:gd name="T35" fmla="*/ 77 h 79"/>
                <a:gd name="T36" fmla="*/ 36 w 93"/>
                <a:gd name="T37" fmla="*/ 77 h 79"/>
                <a:gd name="T38" fmla="*/ 36 w 93"/>
                <a:gd name="T39" fmla="*/ 79 h 79"/>
                <a:gd name="T40" fmla="*/ 36 w 93"/>
                <a:gd name="T41" fmla="*/ 79 h 79"/>
                <a:gd name="T42" fmla="*/ 39 w 93"/>
                <a:gd name="T43" fmla="*/ 79 h 79"/>
                <a:gd name="T44" fmla="*/ 39 w 93"/>
                <a:gd name="T45" fmla="*/ 79 h 79"/>
                <a:gd name="T46" fmla="*/ 41 w 93"/>
                <a:gd name="T47" fmla="*/ 79 h 79"/>
                <a:gd name="T48" fmla="*/ 41 w 93"/>
                <a:gd name="T49" fmla="*/ 79 h 79"/>
                <a:gd name="T50" fmla="*/ 43 w 93"/>
                <a:gd name="T51" fmla="*/ 79 h 79"/>
                <a:gd name="T52" fmla="*/ 43 w 93"/>
                <a:gd name="T53" fmla="*/ 79 h 79"/>
                <a:gd name="T54" fmla="*/ 44 w 93"/>
                <a:gd name="T55" fmla="*/ 79 h 79"/>
                <a:gd name="T56" fmla="*/ 44 w 93"/>
                <a:gd name="T57" fmla="*/ 79 h 79"/>
                <a:gd name="T58" fmla="*/ 46 w 93"/>
                <a:gd name="T59" fmla="*/ 79 h 79"/>
                <a:gd name="T60" fmla="*/ 46 w 93"/>
                <a:gd name="T61" fmla="*/ 79 h 79"/>
                <a:gd name="T62" fmla="*/ 48 w 93"/>
                <a:gd name="T63" fmla="*/ 77 h 79"/>
                <a:gd name="T64" fmla="*/ 48 w 93"/>
                <a:gd name="T65" fmla="*/ 77 h 79"/>
                <a:gd name="T66" fmla="*/ 49 w 93"/>
                <a:gd name="T67" fmla="*/ 77 h 79"/>
                <a:gd name="T68" fmla="*/ 49 w 93"/>
                <a:gd name="T69" fmla="*/ 77 h 79"/>
                <a:gd name="T70" fmla="*/ 49 w 93"/>
                <a:gd name="T71" fmla="*/ 76 h 79"/>
                <a:gd name="T72" fmla="*/ 49 w 93"/>
                <a:gd name="T73" fmla="*/ 76 h 79"/>
                <a:gd name="T74" fmla="*/ 51 w 93"/>
                <a:gd name="T75" fmla="*/ 76 h 79"/>
                <a:gd name="T76" fmla="*/ 92 w 93"/>
                <a:gd name="T77" fmla="*/ 17 h 79"/>
                <a:gd name="T78" fmla="*/ 92 w 93"/>
                <a:gd name="T79" fmla="*/ 17 h 79"/>
                <a:gd name="T80" fmla="*/ 93 w 93"/>
                <a:gd name="T81" fmla="*/ 12 h 79"/>
                <a:gd name="T82" fmla="*/ 93 w 93"/>
                <a:gd name="T83" fmla="*/ 9 h 79"/>
                <a:gd name="T84" fmla="*/ 92 w 93"/>
                <a:gd name="T85" fmla="*/ 4 h 79"/>
                <a:gd name="T86" fmla="*/ 88 w 93"/>
                <a:gd name="T87" fmla="*/ 2 h 79"/>
                <a:gd name="T88" fmla="*/ 88 w 93"/>
                <a:gd name="T89" fmla="*/ 2 h 79"/>
                <a:gd name="T90" fmla="*/ 85 w 93"/>
                <a:gd name="T91" fmla="*/ 0 h 79"/>
                <a:gd name="T92" fmla="*/ 80 w 93"/>
                <a:gd name="T93" fmla="*/ 0 h 79"/>
                <a:gd name="T94" fmla="*/ 77 w 93"/>
                <a:gd name="T95" fmla="*/ 0 h 79"/>
                <a:gd name="T96" fmla="*/ 74 w 93"/>
                <a:gd name="T97" fmla="*/ 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3" h="79">
                  <a:moveTo>
                    <a:pt x="74" y="4"/>
                  </a:moveTo>
                  <a:lnTo>
                    <a:pt x="39" y="53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5" y="28"/>
                  </a:lnTo>
                  <a:lnTo>
                    <a:pt x="10" y="27"/>
                  </a:lnTo>
                  <a:lnTo>
                    <a:pt x="7" y="28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0" y="33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3" y="46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4" y="79"/>
                  </a:lnTo>
                  <a:lnTo>
                    <a:pt x="44" y="79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51" y="76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3" y="12"/>
                  </a:lnTo>
                  <a:lnTo>
                    <a:pt x="93" y="9"/>
                  </a:lnTo>
                  <a:lnTo>
                    <a:pt x="92" y="4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5" y="0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45706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rgbClr val="333333"/>
                </a:solidFill>
                <a:latin typeface="+mn-lt"/>
                <a:ea typeface=""/>
                <a:cs typeface="CiscoSansTT Light"/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1135306" y="2395324"/>
            <a:ext cx="359429" cy="346417"/>
            <a:chOff x="162021" y="2184488"/>
            <a:chExt cx="423252" cy="381519"/>
          </a:xfrm>
          <a:solidFill>
            <a:schemeClr val="bg2"/>
          </a:solidFill>
        </p:grpSpPr>
        <p:sp>
          <p:nvSpPr>
            <p:cNvPr id="74" name="Rounded Rectangle 73"/>
            <p:cNvSpPr/>
            <p:nvPr/>
          </p:nvSpPr>
          <p:spPr>
            <a:xfrm>
              <a:off x="177941" y="2353371"/>
              <a:ext cx="407332" cy="212636"/>
            </a:xfrm>
            <a:prstGeom prst="roundRect">
              <a:avLst>
                <a:gd name="adj" fmla="val 2652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600" b="1" kern="0" dirty="0">
                <a:solidFill>
                  <a:schemeClr val="accent1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75" name="Freeform 74"/>
            <p:cNvSpPr/>
            <p:nvPr/>
          </p:nvSpPr>
          <p:spPr>
            <a:xfrm>
              <a:off x="177941" y="2290819"/>
              <a:ext cx="407332" cy="60892"/>
            </a:xfrm>
            <a:custGeom>
              <a:avLst/>
              <a:gdLst>
                <a:gd name="connsiteX0" fmla="*/ 362924 w 444163"/>
                <a:gd name="connsiteY0" fmla="*/ 3018 h 66380"/>
                <a:gd name="connsiteX1" fmla="*/ 303776 w 444163"/>
                <a:gd name="connsiteY1" fmla="*/ 63363 h 66380"/>
                <a:gd name="connsiteX2" fmla="*/ 376282 w 444163"/>
                <a:gd name="connsiteY2" fmla="*/ 63363 h 66380"/>
                <a:gd name="connsiteX3" fmla="*/ 435430 w 444163"/>
                <a:gd name="connsiteY3" fmla="*/ 3018 h 66380"/>
                <a:gd name="connsiteX4" fmla="*/ 217675 w 444163"/>
                <a:gd name="connsiteY4" fmla="*/ 3018 h 66380"/>
                <a:gd name="connsiteX5" fmla="*/ 158527 w 444163"/>
                <a:gd name="connsiteY5" fmla="*/ 63363 h 66380"/>
                <a:gd name="connsiteX6" fmla="*/ 231033 w 444163"/>
                <a:gd name="connsiteY6" fmla="*/ 63363 h 66380"/>
                <a:gd name="connsiteX7" fmla="*/ 290181 w 444163"/>
                <a:gd name="connsiteY7" fmla="*/ 3018 h 66380"/>
                <a:gd name="connsiteX8" fmla="*/ 72542 w 444163"/>
                <a:gd name="connsiteY8" fmla="*/ 3018 h 66380"/>
                <a:gd name="connsiteX9" fmla="*/ 13394 w 444163"/>
                <a:gd name="connsiteY9" fmla="*/ 63363 h 66380"/>
                <a:gd name="connsiteX10" fmla="*/ 85900 w 444163"/>
                <a:gd name="connsiteY10" fmla="*/ 63363 h 66380"/>
                <a:gd name="connsiteX11" fmla="*/ 145048 w 444163"/>
                <a:gd name="connsiteY11" fmla="*/ 3018 h 66380"/>
                <a:gd name="connsiteX12" fmla="*/ 11064 w 444163"/>
                <a:gd name="connsiteY12" fmla="*/ 0 h 66380"/>
                <a:gd name="connsiteX13" fmla="*/ 433099 w 444163"/>
                <a:gd name="connsiteY13" fmla="*/ 0 h 66380"/>
                <a:gd name="connsiteX14" fmla="*/ 444163 w 444163"/>
                <a:gd name="connsiteY14" fmla="*/ 11064 h 66380"/>
                <a:gd name="connsiteX15" fmla="*/ 444163 w 444163"/>
                <a:gd name="connsiteY15" fmla="*/ 55316 h 66380"/>
                <a:gd name="connsiteX16" fmla="*/ 433099 w 444163"/>
                <a:gd name="connsiteY16" fmla="*/ 66380 h 66380"/>
                <a:gd name="connsiteX17" fmla="*/ 11064 w 444163"/>
                <a:gd name="connsiteY17" fmla="*/ 66380 h 66380"/>
                <a:gd name="connsiteX18" fmla="*/ 0 w 444163"/>
                <a:gd name="connsiteY18" fmla="*/ 55316 h 66380"/>
                <a:gd name="connsiteX19" fmla="*/ 0 w 444163"/>
                <a:gd name="connsiteY19" fmla="*/ 11064 h 66380"/>
                <a:gd name="connsiteX20" fmla="*/ 11064 w 444163"/>
                <a:gd name="connsiteY20" fmla="*/ 0 h 6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4163" h="66380">
                  <a:moveTo>
                    <a:pt x="362924" y="3018"/>
                  </a:moveTo>
                  <a:lnTo>
                    <a:pt x="303776" y="63363"/>
                  </a:lnTo>
                  <a:lnTo>
                    <a:pt x="376282" y="63363"/>
                  </a:lnTo>
                  <a:lnTo>
                    <a:pt x="435430" y="3018"/>
                  </a:lnTo>
                  <a:close/>
                  <a:moveTo>
                    <a:pt x="217675" y="3018"/>
                  </a:moveTo>
                  <a:lnTo>
                    <a:pt x="158527" y="63363"/>
                  </a:lnTo>
                  <a:lnTo>
                    <a:pt x="231033" y="63363"/>
                  </a:lnTo>
                  <a:lnTo>
                    <a:pt x="290181" y="3018"/>
                  </a:lnTo>
                  <a:close/>
                  <a:moveTo>
                    <a:pt x="72542" y="3018"/>
                  </a:moveTo>
                  <a:lnTo>
                    <a:pt x="13394" y="63363"/>
                  </a:lnTo>
                  <a:lnTo>
                    <a:pt x="85900" y="63363"/>
                  </a:lnTo>
                  <a:lnTo>
                    <a:pt x="145048" y="3018"/>
                  </a:lnTo>
                  <a:close/>
                  <a:moveTo>
                    <a:pt x="11064" y="0"/>
                  </a:moveTo>
                  <a:lnTo>
                    <a:pt x="433099" y="0"/>
                  </a:lnTo>
                  <a:cubicBezTo>
                    <a:pt x="439209" y="0"/>
                    <a:pt x="444163" y="4954"/>
                    <a:pt x="444163" y="11064"/>
                  </a:cubicBezTo>
                  <a:lnTo>
                    <a:pt x="444163" y="55316"/>
                  </a:lnTo>
                  <a:cubicBezTo>
                    <a:pt x="444163" y="61426"/>
                    <a:pt x="439209" y="66380"/>
                    <a:pt x="433099" y="66380"/>
                  </a:cubicBezTo>
                  <a:lnTo>
                    <a:pt x="11064" y="66380"/>
                  </a:lnTo>
                  <a:cubicBezTo>
                    <a:pt x="4954" y="66380"/>
                    <a:pt x="0" y="61426"/>
                    <a:pt x="0" y="55316"/>
                  </a:cubicBezTo>
                  <a:lnTo>
                    <a:pt x="0" y="11064"/>
                  </a:lnTo>
                  <a:cubicBezTo>
                    <a:pt x="0" y="4954"/>
                    <a:pt x="4954" y="0"/>
                    <a:pt x="1106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>
                <a:solidFill>
                  <a:schemeClr val="accent1"/>
                </a:solidFill>
                <a:latin typeface="+mn-lt"/>
                <a:ea typeface=""/>
                <a:cs typeface=""/>
              </a:endParaRPr>
            </a:p>
          </p:txBody>
        </p:sp>
        <p:sp>
          <p:nvSpPr>
            <p:cNvPr id="76" name="Freeform 75"/>
            <p:cNvSpPr/>
            <p:nvPr/>
          </p:nvSpPr>
          <p:spPr>
            <a:xfrm rot="20729993">
              <a:off x="162021" y="2184488"/>
              <a:ext cx="414118" cy="60892"/>
            </a:xfrm>
            <a:custGeom>
              <a:avLst/>
              <a:gdLst>
                <a:gd name="connsiteX0" fmla="*/ 147463 w 451563"/>
                <a:gd name="connsiteY0" fmla="*/ 3018 h 66380"/>
                <a:gd name="connsiteX1" fmla="*/ 72764 w 451563"/>
                <a:gd name="connsiteY1" fmla="*/ 3018 h 66380"/>
                <a:gd name="connsiteX2" fmla="*/ 13617 w 451563"/>
                <a:gd name="connsiteY2" fmla="*/ 63363 h 66380"/>
                <a:gd name="connsiteX3" fmla="*/ 88316 w 451563"/>
                <a:gd name="connsiteY3" fmla="*/ 63363 h 66380"/>
                <a:gd name="connsiteX4" fmla="*/ 295015 w 451563"/>
                <a:gd name="connsiteY4" fmla="*/ 3019 h 66380"/>
                <a:gd name="connsiteX5" fmla="*/ 220316 w 451563"/>
                <a:gd name="connsiteY5" fmla="*/ 3019 h 66380"/>
                <a:gd name="connsiteX6" fmla="*/ 161168 w 451563"/>
                <a:gd name="connsiteY6" fmla="*/ 63363 h 66380"/>
                <a:gd name="connsiteX7" fmla="*/ 235867 w 451563"/>
                <a:gd name="connsiteY7" fmla="*/ 63363 h 66380"/>
                <a:gd name="connsiteX8" fmla="*/ 442684 w 451563"/>
                <a:gd name="connsiteY8" fmla="*/ 3018 h 66380"/>
                <a:gd name="connsiteX9" fmla="*/ 367985 w 451563"/>
                <a:gd name="connsiteY9" fmla="*/ 3018 h 66380"/>
                <a:gd name="connsiteX10" fmla="*/ 308837 w 451563"/>
                <a:gd name="connsiteY10" fmla="*/ 63363 h 66380"/>
                <a:gd name="connsiteX11" fmla="*/ 383536 w 451563"/>
                <a:gd name="connsiteY11" fmla="*/ 63363 h 66380"/>
                <a:gd name="connsiteX12" fmla="*/ 440499 w 451563"/>
                <a:gd name="connsiteY12" fmla="*/ 0 h 66380"/>
                <a:gd name="connsiteX13" fmla="*/ 451563 w 451563"/>
                <a:gd name="connsiteY13" fmla="*/ 11064 h 66380"/>
                <a:gd name="connsiteX14" fmla="*/ 451563 w 451563"/>
                <a:gd name="connsiteY14" fmla="*/ 55316 h 66380"/>
                <a:gd name="connsiteX15" fmla="*/ 440499 w 451563"/>
                <a:gd name="connsiteY15" fmla="*/ 66380 h 66380"/>
                <a:gd name="connsiteX16" fmla="*/ 11064 w 451563"/>
                <a:gd name="connsiteY16" fmla="*/ 66380 h 66380"/>
                <a:gd name="connsiteX17" fmla="*/ 0 w 451563"/>
                <a:gd name="connsiteY17" fmla="*/ 55316 h 66380"/>
                <a:gd name="connsiteX18" fmla="*/ 0 w 451563"/>
                <a:gd name="connsiteY18" fmla="*/ 11064 h 66380"/>
                <a:gd name="connsiteX19" fmla="*/ 11064 w 451563"/>
                <a:gd name="connsiteY19" fmla="*/ 0 h 66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1563" h="66380">
                  <a:moveTo>
                    <a:pt x="147463" y="3018"/>
                  </a:moveTo>
                  <a:lnTo>
                    <a:pt x="72764" y="3018"/>
                  </a:lnTo>
                  <a:lnTo>
                    <a:pt x="13617" y="63363"/>
                  </a:lnTo>
                  <a:lnTo>
                    <a:pt x="88316" y="63363"/>
                  </a:lnTo>
                  <a:close/>
                  <a:moveTo>
                    <a:pt x="295015" y="3019"/>
                  </a:moveTo>
                  <a:lnTo>
                    <a:pt x="220316" y="3019"/>
                  </a:lnTo>
                  <a:lnTo>
                    <a:pt x="161168" y="63363"/>
                  </a:lnTo>
                  <a:lnTo>
                    <a:pt x="235867" y="63363"/>
                  </a:lnTo>
                  <a:close/>
                  <a:moveTo>
                    <a:pt x="442684" y="3018"/>
                  </a:moveTo>
                  <a:lnTo>
                    <a:pt x="367985" y="3018"/>
                  </a:lnTo>
                  <a:lnTo>
                    <a:pt x="308837" y="63363"/>
                  </a:lnTo>
                  <a:lnTo>
                    <a:pt x="383536" y="63363"/>
                  </a:lnTo>
                  <a:close/>
                  <a:moveTo>
                    <a:pt x="440499" y="0"/>
                  </a:moveTo>
                  <a:cubicBezTo>
                    <a:pt x="446609" y="0"/>
                    <a:pt x="451563" y="4954"/>
                    <a:pt x="451563" y="11064"/>
                  </a:cubicBezTo>
                  <a:lnTo>
                    <a:pt x="451563" y="55316"/>
                  </a:lnTo>
                  <a:cubicBezTo>
                    <a:pt x="451563" y="61426"/>
                    <a:pt x="446609" y="66380"/>
                    <a:pt x="440499" y="66380"/>
                  </a:cubicBezTo>
                  <a:lnTo>
                    <a:pt x="11064" y="66380"/>
                  </a:lnTo>
                  <a:cubicBezTo>
                    <a:pt x="4954" y="66380"/>
                    <a:pt x="0" y="61426"/>
                    <a:pt x="0" y="55316"/>
                  </a:cubicBezTo>
                  <a:lnTo>
                    <a:pt x="0" y="11064"/>
                  </a:lnTo>
                  <a:cubicBezTo>
                    <a:pt x="0" y="4954"/>
                    <a:pt x="4954" y="0"/>
                    <a:pt x="11064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457098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>
                <a:solidFill>
                  <a:schemeClr val="accent1"/>
                </a:solidFill>
                <a:latin typeface="+mn-lt"/>
                <a:ea typeface=""/>
                <a:cs typeface=""/>
              </a:endParaRPr>
            </a:p>
          </p:txBody>
        </p:sp>
      </p:grpSp>
      <p:sp>
        <p:nvSpPr>
          <p:cNvPr id="77" name="TextBox 76"/>
          <p:cNvSpPr txBox="1"/>
          <p:nvPr/>
        </p:nvSpPr>
        <p:spPr>
          <a:xfrm>
            <a:off x="834683" y="2835250"/>
            <a:ext cx="9606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900" dirty="0">
                <a:solidFill>
                  <a:srgbClr val="333333"/>
                </a:solidFill>
                <a:latin typeface="+mn-lt"/>
                <a:ea typeface=""/>
                <a:cs typeface=""/>
              </a:rPr>
              <a:t>CONTENT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566531" y="1071521"/>
            <a:ext cx="9522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3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2"/>
                </a:solidFill>
                <a:latin typeface="+mn-lt"/>
                <a:ea typeface=""/>
                <a:cs typeface=""/>
              </a:rPr>
              <a:t>EMPLOYEE DATA</a:t>
            </a:r>
          </a:p>
        </p:txBody>
      </p:sp>
      <p:sp>
        <p:nvSpPr>
          <p:cNvPr id="79" name="Freeform 22"/>
          <p:cNvSpPr>
            <a:spLocks noEditPoints="1"/>
          </p:cNvSpPr>
          <p:nvPr/>
        </p:nvSpPr>
        <p:spPr bwMode="auto">
          <a:xfrm>
            <a:off x="5587846" y="1071521"/>
            <a:ext cx="398560" cy="379188"/>
          </a:xfrm>
          <a:custGeom>
            <a:avLst/>
            <a:gdLst>
              <a:gd name="T0" fmla="*/ 28 w 399"/>
              <a:gd name="T1" fmla="*/ 1 h 362"/>
              <a:gd name="T2" fmla="*/ 33 w 399"/>
              <a:gd name="T3" fmla="*/ 69 h 362"/>
              <a:gd name="T4" fmla="*/ 21 w 399"/>
              <a:gd name="T5" fmla="*/ 15 h 362"/>
              <a:gd name="T6" fmla="*/ 6 w 399"/>
              <a:gd name="T7" fmla="*/ 13 h 362"/>
              <a:gd name="T8" fmla="*/ 83 w 399"/>
              <a:gd name="T9" fmla="*/ 70 h 362"/>
              <a:gd name="T10" fmla="*/ 93 w 399"/>
              <a:gd name="T11" fmla="*/ 35 h 362"/>
              <a:gd name="T12" fmla="*/ 128 w 399"/>
              <a:gd name="T13" fmla="*/ 20 h 362"/>
              <a:gd name="T14" fmla="*/ 137 w 399"/>
              <a:gd name="T15" fmla="*/ 55 h 362"/>
              <a:gd name="T16" fmla="*/ 144 w 399"/>
              <a:gd name="T17" fmla="*/ 1 h 362"/>
              <a:gd name="T18" fmla="*/ 123 w 399"/>
              <a:gd name="T19" fmla="*/ 18 h 362"/>
              <a:gd name="T20" fmla="*/ 195 w 399"/>
              <a:gd name="T21" fmla="*/ 15 h 362"/>
              <a:gd name="T22" fmla="*/ 211 w 399"/>
              <a:gd name="T23" fmla="*/ 5 h 362"/>
              <a:gd name="T24" fmla="*/ 183 w 399"/>
              <a:gd name="T25" fmla="*/ 8 h 362"/>
              <a:gd name="T26" fmla="*/ 267 w 399"/>
              <a:gd name="T27" fmla="*/ 25 h 362"/>
              <a:gd name="T28" fmla="*/ 249 w 399"/>
              <a:gd name="T29" fmla="*/ 21 h 362"/>
              <a:gd name="T30" fmla="*/ 399 w 399"/>
              <a:gd name="T31" fmla="*/ 35 h 362"/>
              <a:gd name="T32" fmla="*/ 374 w 399"/>
              <a:gd name="T33" fmla="*/ 58 h 362"/>
              <a:gd name="T34" fmla="*/ 7 w 399"/>
              <a:gd name="T35" fmla="*/ 143 h 362"/>
              <a:gd name="T36" fmla="*/ 21 w 399"/>
              <a:gd name="T37" fmla="*/ 145 h 362"/>
              <a:gd name="T38" fmla="*/ 37 w 399"/>
              <a:gd name="T39" fmla="*/ 191 h 362"/>
              <a:gd name="T40" fmla="*/ 20 w 399"/>
              <a:gd name="T41" fmla="*/ 128 h 362"/>
              <a:gd name="T42" fmla="*/ 83 w 399"/>
              <a:gd name="T43" fmla="*/ 196 h 362"/>
              <a:gd name="T44" fmla="*/ 74 w 399"/>
              <a:gd name="T45" fmla="*/ 161 h 362"/>
              <a:gd name="T46" fmla="*/ 94 w 399"/>
              <a:gd name="T47" fmla="*/ 128 h 362"/>
              <a:gd name="T48" fmla="*/ 165 w 399"/>
              <a:gd name="T49" fmla="*/ 178 h 362"/>
              <a:gd name="T50" fmla="*/ 207 w 399"/>
              <a:gd name="T51" fmla="*/ 127 h 362"/>
              <a:gd name="T52" fmla="*/ 180 w 399"/>
              <a:gd name="T53" fmla="*/ 139 h 362"/>
              <a:gd name="T54" fmla="*/ 195 w 399"/>
              <a:gd name="T55" fmla="*/ 141 h 362"/>
              <a:gd name="T56" fmla="*/ 207 w 399"/>
              <a:gd name="T57" fmla="*/ 195 h 362"/>
              <a:gd name="T58" fmla="*/ 283 w 399"/>
              <a:gd name="T59" fmla="*/ 160 h 362"/>
              <a:gd name="T60" fmla="*/ 283 w 399"/>
              <a:gd name="T61" fmla="*/ 160 h 362"/>
              <a:gd name="T62" fmla="*/ 258 w 399"/>
              <a:gd name="T63" fmla="*/ 184 h 362"/>
              <a:gd name="T64" fmla="*/ 366 w 399"/>
              <a:gd name="T65" fmla="*/ 144 h 362"/>
              <a:gd name="T66" fmla="*/ 366 w 399"/>
              <a:gd name="T67" fmla="*/ 176 h 362"/>
              <a:gd name="T68" fmla="*/ 374 w 399"/>
              <a:gd name="T69" fmla="*/ 125 h 362"/>
              <a:gd name="T70" fmla="*/ 26 w 399"/>
              <a:gd name="T71" fmla="*/ 251 h 362"/>
              <a:gd name="T72" fmla="*/ 16 w 399"/>
              <a:gd name="T73" fmla="*/ 286 h 362"/>
              <a:gd name="T74" fmla="*/ 141 w 399"/>
              <a:gd name="T75" fmla="*/ 320 h 362"/>
              <a:gd name="T76" fmla="*/ 137 w 399"/>
              <a:gd name="T77" fmla="*/ 311 h 362"/>
              <a:gd name="T78" fmla="*/ 174 w 399"/>
              <a:gd name="T79" fmla="*/ 285 h 362"/>
              <a:gd name="T80" fmla="*/ 209 w 399"/>
              <a:gd name="T81" fmla="*/ 295 h 362"/>
              <a:gd name="T82" fmla="*/ 265 w 399"/>
              <a:gd name="T83" fmla="*/ 320 h 362"/>
              <a:gd name="T84" fmla="*/ 253 w 399"/>
              <a:gd name="T85" fmla="*/ 316 h 362"/>
              <a:gd name="T86" fmla="*/ 311 w 399"/>
              <a:gd name="T87" fmla="*/ 316 h 362"/>
              <a:gd name="T88" fmla="*/ 327 w 399"/>
              <a:gd name="T89" fmla="*/ 256 h 362"/>
              <a:gd name="T90" fmla="*/ 373 w 399"/>
              <a:gd name="T91" fmla="*/ 321 h 362"/>
              <a:gd name="T92" fmla="*/ 383 w 399"/>
              <a:gd name="T93" fmla="*/ 286 h 362"/>
              <a:gd name="T94" fmla="*/ 383 w 399"/>
              <a:gd name="T95" fmla="*/ 286 h 362"/>
              <a:gd name="T96" fmla="*/ 71 w 399"/>
              <a:gd name="T97" fmla="*/ 354 h 362"/>
              <a:gd name="T98" fmla="*/ 125 w 399"/>
              <a:gd name="T99" fmla="*/ 223 h 362"/>
              <a:gd name="T100" fmla="*/ 315 w 399"/>
              <a:gd name="T101" fmla="*/ 245 h 362"/>
              <a:gd name="T102" fmla="*/ 170 w 399"/>
              <a:gd name="T103" fmla="*/ 100 h 362"/>
              <a:gd name="T104" fmla="*/ 312 w 399"/>
              <a:gd name="T105" fmla="*/ 158 h 362"/>
              <a:gd name="T106" fmla="*/ 311 w 399"/>
              <a:gd name="T107" fmla="*/ 15 h 362"/>
              <a:gd name="T108" fmla="*/ 327 w 399"/>
              <a:gd name="T109" fmla="*/ 61 h 362"/>
              <a:gd name="T110" fmla="*/ 310 w 399"/>
              <a:gd name="T111" fmla="*/ 3 h 3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99" h="362">
                <a:moveTo>
                  <a:pt x="6" y="13"/>
                </a:moveTo>
                <a:cubicBezTo>
                  <a:pt x="6" y="11"/>
                  <a:pt x="7" y="9"/>
                  <a:pt x="9" y="8"/>
                </a:cubicBezTo>
                <a:cubicBezTo>
                  <a:pt x="20" y="3"/>
                  <a:pt x="20" y="3"/>
                  <a:pt x="20" y="3"/>
                </a:cubicBezTo>
                <a:cubicBezTo>
                  <a:pt x="22" y="2"/>
                  <a:pt x="25" y="1"/>
                  <a:pt x="28" y="1"/>
                </a:cubicBezTo>
                <a:cubicBezTo>
                  <a:pt x="33" y="1"/>
                  <a:pt x="33" y="1"/>
                  <a:pt x="33" y="1"/>
                </a:cubicBezTo>
                <a:cubicBezTo>
                  <a:pt x="35" y="1"/>
                  <a:pt x="37" y="3"/>
                  <a:pt x="37" y="5"/>
                </a:cubicBezTo>
                <a:cubicBezTo>
                  <a:pt x="37" y="65"/>
                  <a:pt x="37" y="65"/>
                  <a:pt x="37" y="65"/>
                </a:cubicBezTo>
                <a:cubicBezTo>
                  <a:pt x="37" y="67"/>
                  <a:pt x="35" y="69"/>
                  <a:pt x="33" y="69"/>
                </a:cubicBezTo>
                <a:cubicBezTo>
                  <a:pt x="25" y="69"/>
                  <a:pt x="25" y="69"/>
                  <a:pt x="25" y="69"/>
                </a:cubicBezTo>
                <a:cubicBezTo>
                  <a:pt x="23" y="69"/>
                  <a:pt x="21" y="67"/>
                  <a:pt x="21" y="65"/>
                </a:cubicBezTo>
                <a:cubicBezTo>
                  <a:pt x="21" y="19"/>
                  <a:pt x="21" y="19"/>
                  <a:pt x="21" y="19"/>
                </a:cubicBezTo>
                <a:cubicBezTo>
                  <a:pt x="21" y="17"/>
                  <a:pt x="21" y="15"/>
                  <a:pt x="21" y="15"/>
                </a:cubicBezTo>
                <a:cubicBezTo>
                  <a:pt x="21" y="15"/>
                  <a:pt x="19" y="16"/>
                  <a:pt x="18" y="17"/>
                </a:cubicBezTo>
                <a:cubicBezTo>
                  <a:pt x="12" y="20"/>
                  <a:pt x="12" y="20"/>
                  <a:pt x="12" y="20"/>
                </a:cubicBezTo>
                <a:cubicBezTo>
                  <a:pt x="10" y="21"/>
                  <a:pt x="8" y="20"/>
                  <a:pt x="7" y="18"/>
                </a:cubicBezTo>
                <a:lnTo>
                  <a:pt x="6" y="13"/>
                </a:lnTo>
                <a:close/>
                <a:moveTo>
                  <a:pt x="58" y="35"/>
                </a:moveTo>
                <a:cubicBezTo>
                  <a:pt x="58" y="16"/>
                  <a:pt x="66" y="0"/>
                  <a:pt x="84" y="0"/>
                </a:cubicBezTo>
                <a:cubicBezTo>
                  <a:pt x="102" y="0"/>
                  <a:pt x="109" y="16"/>
                  <a:pt x="109" y="35"/>
                </a:cubicBezTo>
                <a:cubicBezTo>
                  <a:pt x="109" y="56"/>
                  <a:pt x="101" y="70"/>
                  <a:pt x="83" y="70"/>
                </a:cubicBezTo>
                <a:cubicBezTo>
                  <a:pt x="66" y="70"/>
                  <a:pt x="58" y="55"/>
                  <a:pt x="58" y="35"/>
                </a:cubicBezTo>
                <a:close/>
                <a:moveTo>
                  <a:pt x="74" y="35"/>
                </a:moveTo>
                <a:cubicBezTo>
                  <a:pt x="74" y="51"/>
                  <a:pt x="78" y="58"/>
                  <a:pt x="84" y="58"/>
                </a:cubicBezTo>
                <a:cubicBezTo>
                  <a:pt x="90" y="58"/>
                  <a:pt x="93" y="51"/>
                  <a:pt x="93" y="35"/>
                </a:cubicBezTo>
                <a:cubicBezTo>
                  <a:pt x="93" y="20"/>
                  <a:pt x="90" y="12"/>
                  <a:pt x="84" y="12"/>
                </a:cubicBezTo>
                <a:cubicBezTo>
                  <a:pt x="78" y="12"/>
                  <a:pt x="74" y="20"/>
                  <a:pt x="74" y="35"/>
                </a:cubicBezTo>
                <a:close/>
                <a:moveTo>
                  <a:pt x="123" y="18"/>
                </a:moveTo>
                <a:cubicBezTo>
                  <a:pt x="124" y="20"/>
                  <a:pt x="126" y="21"/>
                  <a:pt x="128" y="20"/>
                </a:cubicBezTo>
                <a:cubicBezTo>
                  <a:pt x="134" y="17"/>
                  <a:pt x="134" y="17"/>
                  <a:pt x="134" y="17"/>
                </a:cubicBezTo>
                <a:cubicBezTo>
                  <a:pt x="135" y="16"/>
                  <a:pt x="137" y="15"/>
                  <a:pt x="137" y="15"/>
                </a:cubicBezTo>
                <a:cubicBezTo>
                  <a:pt x="137" y="15"/>
                  <a:pt x="137" y="17"/>
                  <a:pt x="137" y="19"/>
                </a:cubicBezTo>
                <a:cubicBezTo>
                  <a:pt x="137" y="55"/>
                  <a:pt x="137" y="55"/>
                  <a:pt x="137" y="55"/>
                </a:cubicBezTo>
                <a:cubicBezTo>
                  <a:pt x="142" y="50"/>
                  <a:pt x="147" y="46"/>
                  <a:pt x="153" y="43"/>
                </a:cubicBezTo>
                <a:cubicBezTo>
                  <a:pt x="153" y="5"/>
                  <a:pt x="153" y="5"/>
                  <a:pt x="153" y="5"/>
                </a:cubicBezTo>
                <a:cubicBezTo>
                  <a:pt x="153" y="3"/>
                  <a:pt x="151" y="1"/>
                  <a:pt x="149" y="1"/>
                </a:cubicBezTo>
                <a:cubicBezTo>
                  <a:pt x="144" y="1"/>
                  <a:pt x="144" y="1"/>
                  <a:pt x="144" y="1"/>
                </a:cubicBezTo>
                <a:cubicBezTo>
                  <a:pt x="141" y="1"/>
                  <a:pt x="138" y="2"/>
                  <a:pt x="136" y="3"/>
                </a:cubicBezTo>
                <a:cubicBezTo>
                  <a:pt x="125" y="8"/>
                  <a:pt x="125" y="8"/>
                  <a:pt x="125" y="8"/>
                </a:cubicBezTo>
                <a:cubicBezTo>
                  <a:pt x="123" y="9"/>
                  <a:pt x="122" y="11"/>
                  <a:pt x="122" y="13"/>
                </a:cubicBezTo>
                <a:lnTo>
                  <a:pt x="123" y="18"/>
                </a:lnTo>
                <a:close/>
                <a:moveTo>
                  <a:pt x="181" y="18"/>
                </a:moveTo>
                <a:cubicBezTo>
                  <a:pt x="182" y="20"/>
                  <a:pt x="184" y="21"/>
                  <a:pt x="186" y="20"/>
                </a:cubicBezTo>
                <a:cubicBezTo>
                  <a:pt x="192" y="17"/>
                  <a:pt x="192" y="17"/>
                  <a:pt x="192" y="17"/>
                </a:cubicBezTo>
                <a:cubicBezTo>
                  <a:pt x="194" y="16"/>
                  <a:pt x="195" y="15"/>
                  <a:pt x="195" y="15"/>
                </a:cubicBezTo>
                <a:cubicBezTo>
                  <a:pt x="195" y="15"/>
                  <a:pt x="195" y="17"/>
                  <a:pt x="195" y="19"/>
                </a:cubicBezTo>
                <a:cubicBezTo>
                  <a:pt x="195" y="24"/>
                  <a:pt x="195" y="24"/>
                  <a:pt x="195" y="24"/>
                </a:cubicBezTo>
                <a:cubicBezTo>
                  <a:pt x="200" y="23"/>
                  <a:pt x="206" y="22"/>
                  <a:pt x="211" y="21"/>
                </a:cubicBezTo>
                <a:cubicBezTo>
                  <a:pt x="211" y="5"/>
                  <a:pt x="211" y="5"/>
                  <a:pt x="211" y="5"/>
                </a:cubicBezTo>
                <a:cubicBezTo>
                  <a:pt x="211" y="3"/>
                  <a:pt x="209" y="1"/>
                  <a:pt x="207" y="1"/>
                </a:cubicBezTo>
                <a:cubicBezTo>
                  <a:pt x="202" y="1"/>
                  <a:pt x="202" y="1"/>
                  <a:pt x="202" y="1"/>
                </a:cubicBezTo>
                <a:cubicBezTo>
                  <a:pt x="199" y="1"/>
                  <a:pt x="196" y="2"/>
                  <a:pt x="194" y="3"/>
                </a:cubicBezTo>
                <a:cubicBezTo>
                  <a:pt x="183" y="8"/>
                  <a:pt x="183" y="8"/>
                  <a:pt x="183" y="8"/>
                </a:cubicBezTo>
                <a:cubicBezTo>
                  <a:pt x="181" y="9"/>
                  <a:pt x="180" y="11"/>
                  <a:pt x="180" y="13"/>
                </a:cubicBezTo>
                <a:lnTo>
                  <a:pt x="181" y="18"/>
                </a:lnTo>
                <a:close/>
                <a:moveTo>
                  <a:pt x="258" y="12"/>
                </a:moveTo>
                <a:cubicBezTo>
                  <a:pt x="263" y="12"/>
                  <a:pt x="266" y="17"/>
                  <a:pt x="267" y="25"/>
                </a:cubicBezTo>
                <a:cubicBezTo>
                  <a:pt x="272" y="27"/>
                  <a:pt x="278" y="29"/>
                  <a:pt x="283" y="31"/>
                </a:cubicBezTo>
                <a:cubicBezTo>
                  <a:pt x="282" y="14"/>
                  <a:pt x="275" y="0"/>
                  <a:pt x="258" y="0"/>
                </a:cubicBezTo>
                <a:cubicBezTo>
                  <a:pt x="245" y="0"/>
                  <a:pt x="237" y="8"/>
                  <a:pt x="234" y="20"/>
                </a:cubicBezTo>
                <a:cubicBezTo>
                  <a:pt x="239" y="20"/>
                  <a:pt x="244" y="21"/>
                  <a:pt x="249" y="21"/>
                </a:cubicBezTo>
                <a:cubicBezTo>
                  <a:pt x="251" y="15"/>
                  <a:pt x="254" y="12"/>
                  <a:pt x="258" y="12"/>
                </a:cubicBezTo>
                <a:close/>
                <a:moveTo>
                  <a:pt x="348" y="35"/>
                </a:moveTo>
                <a:cubicBezTo>
                  <a:pt x="348" y="16"/>
                  <a:pt x="356" y="0"/>
                  <a:pt x="374" y="0"/>
                </a:cubicBezTo>
                <a:cubicBezTo>
                  <a:pt x="392" y="0"/>
                  <a:pt x="399" y="16"/>
                  <a:pt x="399" y="35"/>
                </a:cubicBezTo>
                <a:cubicBezTo>
                  <a:pt x="399" y="56"/>
                  <a:pt x="391" y="70"/>
                  <a:pt x="373" y="70"/>
                </a:cubicBezTo>
                <a:cubicBezTo>
                  <a:pt x="356" y="70"/>
                  <a:pt x="348" y="55"/>
                  <a:pt x="348" y="35"/>
                </a:cubicBezTo>
                <a:close/>
                <a:moveTo>
                  <a:pt x="364" y="35"/>
                </a:moveTo>
                <a:cubicBezTo>
                  <a:pt x="364" y="51"/>
                  <a:pt x="368" y="58"/>
                  <a:pt x="374" y="58"/>
                </a:cubicBezTo>
                <a:cubicBezTo>
                  <a:pt x="380" y="58"/>
                  <a:pt x="383" y="51"/>
                  <a:pt x="383" y="35"/>
                </a:cubicBezTo>
                <a:cubicBezTo>
                  <a:pt x="383" y="20"/>
                  <a:pt x="380" y="12"/>
                  <a:pt x="374" y="12"/>
                </a:cubicBezTo>
                <a:cubicBezTo>
                  <a:pt x="368" y="12"/>
                  <a:pt x="364" y="20"/>
                  <a:pt x="364" y="35"/>
                </a:cubicBezTo>
                <a:close/>
                <a:moveTo>
                  <a:pt x="7" y="143"/>
                </a:moveTo>
                <a:cubicBezTo>
                  <a:pt x="8" y="145"/>
                  <a:pt x="10" y="146"/>
                  <a:pt x="12" y="145"/>
                </a:cubicBezTo>
                <a:cubicBezTo>
                  <a:pt x="18" y="142"/>
                  <a:pt x="18" y="142"/>
                  <a:pt x="18" y="142"/>
                </a:cubicBezTo>
                <a:cubicBezTo>
                  <a:pt x="19" y="142"/>
                  <a:pt x="21" y="141"/>
                  <a:pt x="21" y="141"/>
                </a:cubicBezTo>
                <a:cubicBezTo>
                  <a:pt x="21" y="141"/>
                  <a:pt x="21" y="143"/>
                  <a:pt x="21" y="145"/>
                </a:cubicBezTo>
                <a:cubicBezTo>
                  <a:pt x="21" y="191"/>
                  <a:pt x="21" y="191"/>
                  <a:pt x="21" y="191"/>
                </a:cubicBezTo>
                <a:cubicBezTo>
                  <a:pt x="21" y="193"/>
                  <a:pt x="23" y="195"/>
                  <a:pt x="25" y="195"/>
                </a:cubicBezTo>
                <a:cubicBezTo>
                  <a:pt x="33" y="195"/>
                  <a:pt x="33" y="195"/>
                  <a:pt x="33" y="195"/>
                </a:cubicBezTo>
                <a:cubicBezTo>
                  <a:pt x="35" y="195"/>
                  <a:pt x="37" y="193"/>
                  <a:pt x="37" y="191"/>
                </a:cubicBezTo>
                <a:cubicBezTo>
                  <a:pt x="37" y="131"/>
                  <a:pt x="37" y="131"/>
                  <a:pt x="37" y="131"/>
                </a:cubicBezTo>
                <a:cubicBezTo>
                  <a:pt x="37" y="128"/>
                  <a:pt x="35" y="127"/>
                  <a:pt x="33" y="127"/>
                </a:cubicBezTo>
                <a:cubicBezTo>
                  <a:pt x="28" y="127"/>
                  <a:pt x="28" y="127"/>
                  <a:pt x="28" y="127"/>
                </a:cubicBezTo>
                <a:cubicBezTo>
                  <a:pt x="25" y="127"/>
                  <a:pt x="22" y="127"/>
                  <a:pt x="20" y="128"/>
                </a:cubicBezTo>
                <a:cubicBezTo>
                  <a:pt x="9" y="133"/>
                  <a:pt x="9" y="133"/>
                  <a:pt x="9" y="133"/>
                </a:cubicBezTo>
                <a:cubicBezTo>
                  <a:pt x="7" y="134"/>
                  <a:pt x="6" y="137"/>
                  <a:pt x="6" y="139"/>
                </a:cubicBezTo>
                <a:lnTo>
                  <a:pt x="7" y="143"/>
                </a:lnTo>
                <a:close/>
                <a:moveTo>
                  <a:pt x="83" y="196"/>
                </a:moveTo>
                <a:cubicBezTo>
                  <a:pt x="88" y="196"/>
                  <a:pt x="92" y="195"/>
                  <a:pt x="95" y="193"/>
                </a:cubicBezTo>
                <a:cubicBezTo>
                  <a:pt x="94" y="187"/>
                  <a:pt x="92" y="181"/>
                  <a:pt x="92" y="175"/>
                </a:cubicBezTo>
                <a:cubicBezTo>
                  <a:pt x="90" y="181"/>
                  <a:pt x="88" y="184"/>
                  <a:pt x="84" y="184"/>
                </a:cubicBezTo>
                <a:cubicBezTo>
                  <a:pt x="78" y="184"/>
                  <a:pt x="74" y="176"/>
                  <a:pt x="74" y="161"/>
                </a:cubicBezTo>
                <a:cubicBezTo>
                  <a:pt x="74" y="145"/>
                  <a:pt x="78" y="138"/>
                  <a:pt x="84" y="138"/>
                </a:cubicBezTo>
                <a:cubicBezTo>
                  <a:pt x="87" y="138"/>
                  <a:pt x="90" y="140"/>
                  <a:pt x="91" y="144"/>
                </a:cubicBezTo>
                <a:cubicBezTo>
                  <a:pt x="91" y="144"/>
                  <a:pt x="91" y="144"/>
                  <a:pt x="91" y="143"/>
                </a:cubicBezTo>
                <a:cubicBezTo>
                  <a:pt x="92" y="138"/>
                  <a:pt x="93" y="133"/>
                  <a:pt x="94" y="128"/>
                </a:cubicBezTo>
                <a:cubicBezTo>
                  <a:pt x="91" y="126"/>
                  <a:pt x="88" y="125"/>
                  <a:pt x="84" y="125"/>
                </a:cubicBezTo>
                <a:cubicBezTo>
                  <a:pt x="66" y="125"/>
                  <a:pt x="58" y="141"/>
                  <a:pt x="58" y="161"/>
                </a:cubicBezTo>
                <a:cubicBezTo>
                  <a:pt x="58" y="180"/>
                  <a:pt x="66" y="196"/>
                  <a:pt x="83" y="196"/>
                </a:cubicBezTo>
                <a:close/>
                <a:moveTo>
                  <a:pt x="165" y="178"/>
                </a:moveTo>
                <a:cubicBezTo>
                  <a:pt x="166" y="173"/>
                  <a:pt x="167" y="167"/>
                  <a:pt x="167" y="160"/>
                </a:cubicBezTo>
                <a:cubicBezTo>
                  <a:pt x="167" y="153"/>
                  <a:pt x="166" y="147"/>
                  <a:pt x="164" y="141"/>
                </a:cubicBezTo>
                <a:cubicBezTo>
                  <a:pt x="161" y="153"/>
                  <a:pt x="161" y="166"/>
                  <a:pt x="165" y="178"/>
                </a:cubicBezTo>
                <a:close/>
                <a:moveTo>
                  <a:pt x="207" y="127"/>
                </a:moveTo>
                <a:cubicBezTo>
                  <a:pt x="202" y="127"/>
                  <a:pt x="202" y="127"/>
                  <a:pt x="202" y="127"/>
                </a:cubicBezTo>
                <a:cubicBezTo>
                  <a:pt x="199" y="127"/>
                  <a:pt x="196" y="127"/>
                  <a:pt x="194" y="128"/>
                </a:cubicBezTo>
                <a:cubicBezTo>
                  <a:pt x="183" y="133"/>
                  <a:pt x="183" y="133"/>
                  <a:pt x="183" y="133"/>
                </a:cubicBezTo>
                <a:cubicBezTo>
                  <a:pt x="181" y="134"/>
                  <a:pt x="180" y="137"/>
                  <a:pt x="180" y="139"/>
                </a:cubicBezTo>
                <a:cubicBezTo>
                  <a:pt x="181" y="143"/>
                  <a:pt x="181" y="143"/>
                  <a:pt x="181" y="143"/>
                </a:cubicBezTo>
                <a:cubicBezTo>
                  <a:pt x="182" y="145"/>
                  <a:pt x="184" y="146"/>
                  <a:pt x="186" y="145"/>
                </a:cubicBezTo>
                <a:cubicBezTo>
                  <a:pt x="192" y="142"/>
                  <a:pt x="192" y="142"/>
                  <a:pt x="192" y="142"/>
                </a:cubicBezTo>
                <a:cubicBezTo>
                  <a:pt x="194" y="142"/>
                  <a:pt x="195" y="141"/>
                  <a:pt x="195" y="141"/>
                </a:cubicBezTo>
                <a:cubicBezTo>
                  <a:pt x="195" y="141"/>
                  <a:pt x="195" y="143"/>
                  <a:pt x="195" y="145"/>
                </a:cubicBezTo>
                <a:cubicBezTo>
                  <a:pt x="195" y="191"/>
                  <a:pt x="195" y="191"/>
                  <a:pt x="195" y="191"/>
                </a:cubicBezTo>
                <a:cubicBezTo>
                  <a:pt x="195" y="193"/>
                  <a:pt x="197" y="195"/>
                  <a:pt x="199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9" y="195"/>
                  <a:pt x="211" y="193"/>
                  <a:pt x="211" y="191"/>
                </a:cubicBezTo>
                <a:cubicBezTo>
                  <a:pt x="211" y="131"/>
                  <a:pt x="211" y="131"/>
                  <a:pt x="211" y="131"/>
                </a:cubicBezTo>
                <a:cubicBezTo>
                  <a:pt x="211" y="128"/>
                  <a:pt x="209" y="127"/>
                  <a:pt x="207" y="127"/>
                </a:cubicBezTo>
                <a:close/>
                <a:moveTo>
                  <a:pt x="283" y="160"/>
                </a:moveTo>
                <a:cubicBezTo>
                  <a:pt x="283" y="181"/>
                  <a:pt x="275" y="196"/>
                  <a:pt x="257" y="196"/>
                </a:cubicBezTo>
                <a:cubicBezTo>
                  <a:pt x="240" y="196"/>
                  <a:pt x="232" y="180"/>
                  <a:pt x="232" y="161"/>
                </a:cubicBezTo>
                <a:cubicBezTo>
                  <a:pt x="232" y="141"/>
                  <a:pt x="240" y="125"/>
                  <a:pt x="258" y="125"/>
                </a:cubicBezTo>
                <a:cubicBezTo>
                  <a:pt x="276" y="125"/>
                  <a:pt x="283" y="142"/>
                  <a:pt x="283" y="160"/>
                </a:cubicBezTo>
                <a:close/>
                <a:moveTo>
                  <a:pt x="267" y="160"/>
                </a:moveTo>
                <a:cubicBezTo>
                  <a:pt x="267" y="145"/>
                  <a:pt x="264" y="138"/>
                  <a:pt x="258" y="138"/>
                </a:cubicBezTo>
                <a:cubicBezTo>
                  <a:pt x="252" y="138"/>
                  <a:pt x="248" y="145"/>
                  <a:pt x="248" y="161"/>
                </a:cubicBezTo>
                <a:cubicBezTo>
                  <a:pt x="248" y="176"/>
                  <a:pt x="252" y="184"/>
                  <a:pt x="258" y="184"/>
                </a:cubicBezTo>
                <a:cubicBezTo>
                  <a:pt x="264" y="184"/>
                  <a:pt x="267" y="176"/>
                  <a:pt x="267" y="160"/>
                </a:cubicBezTo>
                <a:close/>
                <a:moveTo>
                  <a:pt x="374" y="125"/>
                </a:moveTo>
                <a:cubicBezTo>
                  <a:pt x="370" y="125"/>
                  <a:pt x="367" y="126"/>
                  <a:pt x="364" y="128"/>
                </a:cubicBezTo>
                <a:cubicBezTo>
                  <a:pt x="365" y="133"/>
                  <a:pt x="366" y="139"/>
                  <a:pt x="366" y="144"/>
                </a:cubicBezTo>
                <a:cubicBezTo>
                  <a:pt x="368" y="140"/>
                  <a:pt x="371" y="138"/>
                  <a:pt x="374" y="138"/>
                </a:cubicBezTo>
                <a:cubicBezTo>
                  <a:pt x="380" y="138"/>
                  <a:pt x="383" y="145"/>
                  <a:pt x="383" y="160"/>
                </a:cubicBezTo>
                <a:cubicBezTo>
                  <a:pt x="383" y="176"/>
                  <a:pt x="380" y="184"/>
                  <a:pt x="374" y="184"/>
                </a:cubicBezTo>
                <a:cubicBezTo>
                  <a:pt x="370" y="184"/>
                  <a:pt x="368" y="181"/>
                  <a:pt x="366" y="176"/>
                </a:cubicBezTo>
                <a:cubicBezTo>
                  <a:pt x="365" y="182"/>
                  <a:pt x="364" y="188"/>
                  <a:pt x="363" y="193"/>
                </a:cubicBezTo>
                <a:cubicBezTo>
                  <a:pt x="366" y="195"/>
                  <a:pt x="369" y="196"/>
                  <a:pt x="373" y="196"/>
                </a:cubicBezTo>
                <a:cubicBezTo>
                  <a:pt x="391" y="196"/>
                  <a:pt x="399" y="181"/>
                  <a:pt x="399" y="160"/>
                </a:cubicBezTo>
                <a:cubicBezTo>
                  <a:pt x="399" y="142"/>
                  <a:pt x="392" y="125"/>
                  <a:pt x="374" y="125"/>
                </a:cubicBezTo>
                <a:close/>
                <a:moveTo>
                  <a:pt x="35" y="286"/>
                </a:moveTo>
                <a:cubicBezTo>
                  <a:pt x="35" y="288"/>
                  <a:pt x="35" y="289"/>
                  <a:pt x="35" y="291"/>
                </a:cubicBezTo>
                <a:cubicBezTo>
                  <a:pt x="50" y="275"/>
                  <a:pt x="50" y="275"/>
                  <a:pt x="50" y="275"/>
                </a:cubicBezTo>
                <a:cubicBezTo>
                  <a:pt x="48" y="261"/>
                  <a:pt x="41" y="251"/>
                  <a:pt x="26" y="251"/>
                </a:cubicBezTo>
                <a:cubicBezTo>
                  <a:pt x="8" y="251"/>
                  <a:pt x="0" y="266"/>
                  <a:pt x="0" y="286"/>
                </a:cubicBezTo>
                <a:cubicBezTo>
                  <a:pt x="0" y="300"/>
                  <a:pt x="4" y="312"/>
                  <a:pt x="13" y="318"/>
                </a:cubicBezTo>
                <a:cubicBezTo>
                  <a:pt x="14" y="313"/>
                  <a:pt x="17" y="309"/>
                  <a:pt x="20" y="306"/>
                </a:cubicBezTo>
                <a:cubicBezTo>
                  <a:pt x="17" y="302"/>
                  <a:pt x="16" y="296"/>
                  <a:pt x="16" y="286"/>
                </a:cubicBezTo>
                <a:cubicBezTo>
                  <a:pt x="16" y="270"/>
                  <a:pt x="20" y="263"/>
                  <a:pt x="26" y="263"/>
                </a:cubicBezTo>
                <a:cubicBezTo>
                  <a:pt x="32" y="263"/>
                  <a:pt x="35" y="271"/>
                  <a:pt x="35" y="286"/>
                </a:cubicBezTo>
                <a:close/>
                <a:moveTo>
                  <a:pt x="137" y="316"/>
                </a:moveTo>
                <a:cubicBezTo>
                  <a:pt x="137" y="318"/>
                  <a:pt x="139" y="320"/>
                  <a:pt x="141" y="320"/>
                </a:cubicBezTo>
                <a:cubicBezTo>
                  <a:pt x="149" y="320"/>
                  <a:pt x="149" y="320"/>
                  <a:pt x="149" y="320"/>
                </a:cubicBezTo>
                <a:cubicBezTo>
                  <a:pt x="151" y="320"/>
                  <a:pt x="153" y="318"/>
                  <a:pt x="153" y="316"/>
                </a:cubicBezTo>
                <a:cubicBezTo>
                  <a:pt x="153" y="296"/>
                  <a:pt x="153" y="296"/>
                  <a:pt x="153" y="296"/>
                </a:cubicBezTo>
                <a:cubicBezTo>
                  <a:pt x="137" y="311"/>
                  <a:pt x="137" y="311"/>
                  <a:pt x="137" y="311"/>
                </a:cubicBezTo>
                <a:lnTo>
                  <a:pt x="137" y="316"/>
                </a:lnTo>
                <a:close/>
                <a:moveTo>
                  <a:pt x="200" y="309"/>
                </a:moveTo>
                <a:cubicBezTo>
                  <a:pt x="194" y="309"/>
                  <a:pt x="191" y="303"/>
                  <a:pt x="190" y="291"/>
                </a:cubicBezTo>
                <a:cubicBezTo>
                  <a:pt x="185" y="289"/>
                  <a:pt x="179" y="287"/>
                  <a:pt x="174" y="285"/>
                </a:cubicBezTo>
                <a:cubicBezTo>
                  <a:pt x="174" y="285"/>
                  <a:pt x="174" y="286"/>
                  <a:pt x="174" y="286"/>
                </a:cubicBezTo>
                <a:cubicBezTo>
                  <a:pt x="174" y="305"/>
                  <a:pt x="182" y="321"/>
                  <a:pt x="199" y="321"/>
                </a:cubicBezTo>
                <a:cubicBezTo>
                  <a:pt x="214" y="321"/>
                  <a:pt x="222" y="311"/>
                  <a:pt x="224" y="296"/>
                </a:cubicBezTo>
                <a:cubicBezTo>
                  <a:pt x="219" y="296"/>
                  <a:pt x="214" y="296"/>
                  <a:pt x="209" y="295"/>
                </a:cubicBezTo>
                <a:cubicBezTo>
                  <a:pt x="208" y="304"/>
                  <a:pt x="205" y="309"/>
                  <a:pt x="200" y="309"/>
                </a:cubicBezTo>
                <a:close/>
                <a:moveTo>
                  <a:pt x="253" y="316"/>
                </a:moveTo>
                <a:cubicBezTo>
                  <a:pt x="253" y="318"/>
                  <a:pt x="255" y="320"/>
                  <a:pt x="257" y="320"/>
                </a:cubicBezTo>
                <a:cubicBezTo>
                  <a:pt x="265" y="320"/>
                  <a:pt x="265" y="320"/>
                  <a:pt x="265" y="320"/>
                </a:cubicBezTo>
                <a:cubicBezTo>
                  <a:pt x="267" y="320"/>
                  <a:pt x="269" y="318"/>
                  <a:pt x="269" y="316"/>
                </a:cubicBezTo>
                <a:cubicBezTo>
                  <a:pt x="269" y="291"/>
                  <a:pt x="269" y="291"/>
                  <a:pt x="269" y="291"/>
                </a:cubicBezTo>
                <a:cubicBezTo>
                  <a:pt x="264" y="292"/>
                  <a:pt x="259" y="293"/>
                  <a:pt x="253" y="294"/>
                </a:cubicBezTo>
                <a:lnTo>
                  <a:pt x="253" y="316"/>
                </a:lnTo>
                <a:close/>
                <a:moveTo>
                  <a:pt x="327" y="256"/>
                </a:moveTo>
                <a:cubicBezTo>
                  <a:pt x="322" y="261"/>
                  <a:pt x="317" y="265"/>
                  <a:pt x="311" y="269"/>
                </a:cubicBezTo>
                <a:cubicBezTo>
                  <a:pt x="311" y="269"/>
                  <a:pt x="311" y="270"/>
                  <a:pt x="311" y="270"/>
                </a:cubicBezTo>
                <a:cubicBezTo>
                  <a:pt x="311" y="316"/>
                  <a:pt x="311" y="316"/>
                  <a:pt x="311" y="316"/>
                </a:cubicBezTo>
                <a:cubicBezTo>
                  <a:pt x="311" y="318"/>
                  <a:pt x="313" y="320"/>
                  <a:pt x="315" y="320"/>
                </a:cubicBezTo>
                <a:cubicBezTo>
                  <a:pt x="323" y="320"/>
                  <a:pt x="323" y="320"/>
                  <a:pt x="323" y="320"/>
                </a:cubicBezTo>
                <a:cubicBezTo>
                  <a:pt x="325" y="320"/>
                  <a:pt x="327" y="318"/>
                  <a:pt x="327" y="316"/>
                </a:cubicBezTo>
                <a:cubicBezTo>
                  <a:pt x="327" y="256"/>
                  <a:pt x="327" y="256"/>
                  <a:pt x="327" y="256"/>
                </a:cubicBezTo>
                <a:cubicBezTo>
                  <a:pt x="327" y="256"/>
                  <a:pt x="327" y="256"/>
                  <a:pt x="327" y="256"/>
                </a:cubicBezTo>
                <a:cubicBezTo>
                  <a:pt x="327" y="256"/>
                  <a:pt x="327" y="256"/>
                  <a:pt x="327" y="256"/>
                </a:cubicBezTo>
                <a:close/>
                <a:moveTo>
                  <a:pt x="399" y="286"/>
                </a:moveTo>
                <a:cubicBezTo>
                  <a:pt x="399" y="307"/>
                  <a:pt x="391" y="321"/>
                  <a:pt x="373" y="321"/>
                </a:cubicBezTo>
                <a:cubicBezTo>
                  <a:pt x="356" y="321"/>
                  <a:pt x="348" y="305"/>
                  <a:pt x="348" y="286"/>
                </a:cubicBezTo>
                <a:cubicBezTo>
                  <a:pt x="348" y="266"/>
                  <a:pt x="356" y="251"/>
                  <a:pt x="374" y="251"/>
                </a:cubicBezTo>
                <a:cubicBezTo>
                  <a:pt x="392" y="251"/>
                  <a:pt x="399" y="267"/>
                  <a:pt x="399" y="286"/>
                </a:cubicBezTo>
                <a:close/>
                <a:moveTo>
                  <a:pt x="383" y="286"/>
                </a:moveTo>
                <a:cubicBezTo>
                  <a:pt x="383" y="271"/>
                  <a:pt x="380" y="263"/>
                  <a:pt x="374" y="263"/>
                </a:cubicBezTo>
                <a:cubicBezTo>
                  <a:pt x="368" y="263"/>
                  <a:pt x="364" y="270"/>
                  <a:pt x="364" y="286"/>
                </a:cubicBezTo>
                <a:cubicBezTo>
                  <a:pt x="364" y="302"/>
                  <a:pt x="368" y="309"/>
                  <a:pt x="374" y="309"/>
                </a:cubicBezTo>
                <a:cubicBezTo>
                  <a:pt x="380" y="309"/>
                  <a:pt x="383" y="301"/>
                  <a:pt x="383" y="286"/>
                </a:cubicBezTo>
                <a:close/>
                <a:moveTo>
                  <a:pt x="315" y="245"/>
                </a:moveTo>
                <a:cubicBezTo>
                  <a:pt x="291" y="268"/>
                  <a:pt x="260" y="280"/>
                  <a:pt x="229" y="280"/>
                </a:cubicBezTo>
                <a:cubicBezTo>
                  <a:pt x="206" y="280"/>
                  <a:pt x="184" y="274"/>
                  <a:pt x="164" y="262"/>
                </a:cubicBezTo>
                <a:cubicBezTo>
                  <a:pt x="71" y="354"/>
                  <a:pt x="71" y="354"/>
                  <a:pt x="71" y="354"/>
                </a:cubicBezTo>
                <a:cubicBezTo>
                  <a:pt x="64" y="362"/>
                  <a:pt x="51" y="362"/>
                  <a:pt x="43" y="354"/>
                </a:cubicBezTo>
                <a:cubicBezTo>
                  <a:pt x="33" y="344"/>
                  <a:pt x="33" y="344"/>
                  <a:pt x="33" y="344"/>
                </a:cubicBezTo>
                <a:cubicBezTo>
                  <a:pt x="25" y="336"/>
                  <a:pt x="25" y="323"/>
                  <a:pt x="33" y="316"/>
                </a:cubicBezTo>
                <a:cubicBezTo>
                  <a:pt x="125" y="223"/>
                  <a:pt x="125" y="223"/>
                  <a:pt x="125" y="223"/>
                </a:cubicBezTo>
                <a:cubicBezTo>
                  <a:pt x="96" y="176"/>
                  <a:pt x="101" y="113"/>
                  <a:pt x="142" y="72"/>
                </a:cubicBezTo>
                <a:cubicBezTo>
                  <a:pt x="166" y="48"/>
                  <a:pt x="198" y="36"/>
                  <a:pt x="229" y="36"/>
                </a:cubicBezTo>
                <a:cubicBezTo>
                  <a:pt x="260" y="36"/>
                  <a:pt x="291" y="48"/>
                  <a:pt x="315" y="72"/>
                </a:cubicBezTo>
                <a:cubicBezTo>
                  <a:pt x="363" y="119"/>
                  <a:pt x="363" y="197"/>
                  <a:pt x="315" y="245"/>
                </a:cubicBezTo>
                <a:close/>
                <a:moveTo>
                  <a:pt x="312" y="158"/>
                </a:moveTo>
                <a:cubicBezTo>
                  <a:pt x="312" y="136"/>
                  <a:pt x="303" y="115"/>
                  <a:pt x="287" y="100"/>
                </a:cubicBezTo>
                <a:cubicBezTo>
                  <a:pt x="272" y="84"/>
                  <a:pt x="251" y="75"/>
                  <a:pt x="229" y="75"/>
                </a:cubicBezTo>
                <a:cubicBezTo>
                  <a:pt x="207" y="75"/>
                  <a:pt x="186" y="84"/>
                  <a:pt x="170" y="100"/>
                </a:cubicBezTo>
                <a:cubicBezTo>
                  <a:pt x="138" y="132"/>
                  <a:pt x="138" y="184"/>
                  <a:pt x="170" y="217"/>
                </a:cubicBezTo>
                <a:cubicBezTo>
                  <a:pt x="186" y="232"/>
                  <a:pt x="207" y="241"/>
                  <a:pt x="229" y="241"/>
                </a:cubicBezTo>
                <a:cubicBezTo>
                  <a:pt x="251" y="241"/>
                  <a:pt x="272" y="232"/>
                  <a:pt x="287" y="217"/>
                </a:cubicBezTo>
                <a:cubicBezTo>
                  <a:pt x="303" y="201"/>
                  <a:pt x="312" y="180"/>
                  <a:pt x="312" y="158"/>
                </a:cubicBezTo>
                <a:close/>
                <a:moveTo>
                  <a:pt x="297" y="18"/>
                </a:moveTo>
                <a:cubicBezTo>
                  <a:pt x="298" y="20"/>
                  <a:pt x="300" y="21"/>
                  <a:pt x="302" y="20"/>
                </a:cubicBezTo>
                <a:cubicBezTo>
                  <a:pt x="308" y="17"/>
                  <a:pt x="308" y="17"/>
                  <a:pt x="308" y="17"/>
                </a:cubicBezTo>
                <a:cubicBezTo>
                  <a:pt x="310" y="16"/>
                  <a:pt x="311" y="15"/>
                  <a:pt x="311" y="15"/>
                </a:cubicBezTo>
                <a:cubicBezTo>
                  <a:pt x="311" y="15"/>
                  <a:pt x="311" y="17"/>
                  <a:pt x="311" y="19"/>
                </a:cubicBezTo>
                <a:cubicBezTo>
                  <a:pt x="311" y="47"/>
                  <a:pt x="311" y="47"/>
                  <a:pt x="311" y="47"/>
                </a:cubicBezTo>
                <a:cubicBezTo>
                  <a:pt x="317" y="51"/>
                  <a:pt x="322" y="56"/>
                  <a:pt x="327" y="60"/>
                </a:cubicBezTo>
                <a:cubicBezTo>
                  <a:pt x="327" y="60"/>
                  <a:pt x="327" y="60"/>
                  <a:pt x="327" y="61"/>
                </a:cubicBezTo>
                <a:cubicBezTo>
                  <a:pt x="327" y="5"/>
                  <a:pt x="327" y="5"/>
                  <a:pt x="327" y="5"/>
                </a:cubicBezTo>
                <a:cubicBezTo>
                  <a:pt x="327" y="3"/>
                  <a:pt x="325" y="1"/>
                  <a:pt x="323" y="1"/>
                </a:cubicBezTo>
                <a:cubicBezTo>
                  <a:pt x="318" y="1"/>
                  <a:pt x="318" y="1"/>
                  <a:pt x="318" y="1"/>
                </a:cubicBezTo>
                <a:cubicBezTo>
                  <a:pt x="315" y="1"/>
                  <a:pt x="312" y="2"/>
                  <a:pt x="310" y="3"/>
                </a:cubicBezTo>
                <a:cubicBezTo>
                  <a:pt x="299" y="8"/>
                  <a:pt x="299" y="8"/>
                  <a:pt x="299" y="8"/>
                </a:cubicBezTo>
                <a:cubicBezTo>
                  <a:pt x="297" y="9"/>
                  <a:pt x="296" y="11"/>
                  <a:pt x="296" y="13"/>
                </a:cubicBezTo>
                <a:lnTo>
                  <a:pt x="297" y="18"/>
                </a:lnTo>
                <a:close/>
              </a:path>
            </a:pathLst>
          </a:cu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lIns="51431" tIns="25715" rIns="51431" bIns="25715" anchor="ctr"/>
          <a:lstStyle/>
          <a:p>
            <a:pPr algn="ctr" defTabSz="507806">
              <a:defRPr/>
            </a:pPr>
            <a:endParaRPr lang="en-US" kern="0" dirty="0" smtClean="0">
              <a:solidFill>
                <a:srgbClr val="0096D6"/>
              </a:solidFill>
              <a:latin typeface="+mn-lt"/>
              <a:ea typeface=""/>
              <a:cs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924643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/>
          <p:cNvSpPr/>
          <p:nvPr/>
        </p:nvSpPr>
        <p:spPr>
          <a:xfrm>
            <a:off x="1645920" y="3760109"/>
            <a:ext cx="1259840" cy="3791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368" y="441780"/>
            <a:ext cx="2847332" cy="1579902"/>
          </a:xfrm>
        </p:spPr>
        <p:txBody>
          <a:bodyPr/>
          <a:lstStyle/>
          <a:p>
            <a:r>
              <a:rPr lang="en-US" sz="2800" dirty="0" smtClean="0"/>
              <a:t>Where are you in your Digital Transformation journey? </a:t>
            </a:r>
            <a:endParaRPr lang="en-US" sz="2800" dirty="0"/>
          </a:p>
        </p:txBody>
      </p:sp>
      <p:sp>
        <p:nvSpPr>
          <p:cNvPr id="32" name="Freeform 37"/>
          <p:cNvSpPr>
            <a:spLocks noEditPoints="1"/>
          </p:cNvSpPr>
          <p:nvPr/>
        </p:nvSpPr>
        <p:spPr bwMode="auto">
          <a:xfrm flipH="1">
            <a:off x="1565835" y="1231731"/>
            <a:ext cx="5633390" cy="3001291"/>
          </a:xfrm>
          <a:custGeom>
            <a:avLst/>
            <a:gdLst>
              <a:gd name="T0" fmla="*/ 3016 w 3891"/>
              <a:gd name="T1" fmla="*/ 1830 h 2073"/>
              <a:gd name="T2" fmla="*/ 3088 w 3891"/>
              <a:gd name="T3" fmla="*/ 1965 h 2073"/>
              <a:gd name="T4" fmla="*/ 3608 w 3891"/>
              <a:gd name="T5" fmla="*/ 1993 h 2073"/>
              <a:gd name="T6" fmla="*/ 3824 w 3891"/>
              <a:gd name="T7" fmla="*/ 1865 h 2073"/>
              <a:gd name="T8" fmla="*/ 3477 w 3891"/>
              <a:gd name="T9" fmla="*/ 1754 h 2073"/>
              <a:gd name="T10" fmla="*/ 139 w 3891"/>
              <a:gd name="T11" fmla="*/ 1456 h 2073"/>
              <a:gd name="T12" fmla="*/ 139 w 3891"/>
              <a:gd name="T13" fmla="*/ 1592 h 2073"/>
              <a:gd name="T14" fmla="*/ 636 w 3891"/>
              <a:gd name="T15" fmla="*/ 1645 h 2073"/>
              <a:gd name="T16" fmla="*/ 920 w 3891"/>
              <a:gd name="T17" fmla="*/ 1524 h 2073"/>
              <a:gd name="T18" fmla="*/ 636 w 3891"/>
              <a:gd name="T19" fmla="*/ 1403 h 2073"/>
              <a:gd name="T20" fmla="*/ 1058 w 3891"/>
              <a:gd name="T21" fmla="*/ 108 h 2073"/>
              <a:gd name="T22" fmla="*/ 985 w 3891"/>
              <a:gd name="T23" fmla="*/ 243 h 2073"/>
              <a:gd name="T24" fmla="*/ 1445 w 3891"/>
              <a:gd name="T25" fmla="*/ 319 h 2073"/>
              <a:gd name="T26" fmla="*/ 1792 w 3891"/>
              <a:gd name="T27" fmla="*/ 208 h 2073"/>
              <a:gd name="T28" fmla="*/ 1577 w 3891"/>
              <a:gd name="T29" fmla="*/ 80 h 2073"/>
              <a:gd name="T30" fmla="*/ 1586 w 3891"/>
              <a:gd name="T31" fmla="*/ 19 h 2073"/>
              <a:gd name="T32" fmla="*/ 1855 w 3891"/>
              <a:gd name="T33" fmla="*/ 164 h 2073"/>
              <a:gd name="T34" fmla="*/ 1963 w 3891"/>
              <a:gd name="T35" fmla="*/ 205 h 2073"/>
              <a:gd name="T36" fmla="*/ 2332 w 3891"/>
              <a:gd name="T37" fmla="*/ 250 h 2073"/>
              <a:gd name="T38" fmla="*/ 2691 w 3891"/>
              <a:gd name="T39" fmla="*/ 371 h 2073"/>
              <a:gd name="T40" fmla="*/ 2716 w 3891"/>
              <a:gd name="T41" fmla="*/ 582 h 2073"/>
              <a:gd name="T42" fmla="*/ 2434 w 3891"/>
              <a:gd name="T43" fmla="*/ 789 h 2073"/>
              <a:gd name="T44" fmla="*/ 2073 w 3891"/>
              <a:gd name="T45" fmla="*/ 913 h 2073"/>
              <a:gd name="T46" fmla="*/ 1531 w 3891"/>
              <a:gd name="T47" fmla="*/ 1065 h 2073"/>
              <a:gd name="T48" fmla="*/ 1075 w 3891"/>
              <a:gd name="T49" fmla="*/ 1195 h 2073"/>
              <a:gd name="T50" fmla="*/ 688 w 3891"/>
              <a:gd name="T51" fmla="*/ 1348 h 2073"/>
              <a:gd name="T52" fmla="*/ 966 w 3891"/>
              <a:gd name="T53" fmla="*/ 1473 h 2073"/>
              <a:gd name="T54" fmla="*/ 857 w 3891"/>
              <a:gd name="T55" fmla="*/ 1654 h 2073"/>
              <a:gd name="T56" fmla="*/ 799 w 3891"/>
              <a:gd name="T57" fmla="*/ 1776 h 2073"/>
              <a:gd name="T58" fmla="*/ 1471 w 3891"/>
              <a:gd name="T59" fmla="*/ 1885 h 2073"/>
              <a:gd name="T60" fmla="*/ 2414 w 3891"/>
              <a:gd name="T61" fmla="*/ 1897 h 2073"/>
              <a:gd name="T62" fmla="*/ 2908 w 3891"/>
              <a:gd name="T63" fmla="*/ 1865 h 2073"/>
              <a:gd name="T64" fmla="*/ 3043 w 3891"/>
              <a:gd name="T65" fmla="*/ 1748 h 2073"/>
              <a:gd name="T66" fmla="*/ 3455 w 3891"/>
              <a:gd name="T67" fmla="*/ 1691 h 2073"/>
              <a:gd name="T68" fmla="*/ 3827 w 3891"/>
              <a:gd name="T69" fmla="*/ 1783 h 2073"/>
              <a:gd name="T70" fmla="*/ 3827 w 3891"/>
              <a:gd name="T71" fmla="*/ 1980 h 2073"/>
              <a:gd name="T72" fmla="*/ 3455 w 3891"/>
              <a:gd name="T73" fmla="*/ 2071 h 2073"/>
              <a:gd name="T74" fmla="*/ 3039 w 3891"/>
              <a:gd name="T75" fmla="*/ 2013 h 2073"/>
              <a:gd name="T76" fmla="*/ 2914 w 3891"/>
              <a:gd name="T77" fmla="*/ 1921 h 2073"/>
              <a:gd name="T78" fmla="*/ 2310 w 3891"/>
              <a:gd name="T79" fmla="*/ 1984 h 2073"/>
              <a:gd name="T80" fmla="*/ 1360 w 3891"/>
              <a:gd name="T81" fmla="*/ 1996 h 2073"/>
              <a:gd name="T82" fmla="*/ 553 w 3891"/>
              <a:gd name="T83" fmla="*/ 1837 h 2073"/>
              <a:gd name="T84" fmla="*/ 165 w 3891"/>
              <a:gd name="T85" fmla="*/ 1662 h 2073"/>
              <a:gd name="T86" fmla="*/ 2 w 3891"/>
              <a:gd name="T87" fmla="*/ 1511 h 2073"/>
              <a:gd name="T88" fmla="*/ 168 w 3891"/>
              <a:gd name="T89" fmla="*/ 1378 h 2073"/>
              <a:gd name="T90" fmla="*/ 606 w 3891"/>
              <a:gd name="T91" fmla="*/ 1188 h 2073"/>
              <a:gd name="T92" fmla="*/ 1084 w 3891"/>
              <a:gd name="T93" fmla="*/ 1032 h 2073"/>
              <a:gd name="T94" fmla="*/ 1615 w 3891"/>
              <a:gd name="T95" fmla="*/ 905 h 2073"/>
              <a:gd name="T96" fmla="*/ 2120 w 3891"/>
              <a:gd name="T97" fmla="*/ 782 h 2073"/>
              <a:gd name="T98" fmla="*/ 2523 w 3891"/>
              <a:gd name="T99" fmla="*/ 617 h 2073"/>
              <a:gd name="T100" fmla="*/ 2546 w 3891"/>
              <a:gd name="T101" fmla="*/ 419 h 2073"/>
              <a:gd name="T102" fmla="*/ 2155 w 3891"/>
              <a:gd name="T103" fmla="*/ 278 h 2073"/>
              <a:gd name="T104" fmla="*/ 1845 w 3891"/>
              <a:gd name="T105" fmla="*/ 243 h 2073"/>
              <a:gd name="T106" fmla="*/ 1550 w 3891"/>
              <a:gd name="T107" fmla="*/ 370 h 2073"/>
              <a:gd name="T108" fmla="*/ 1104 w 3891"/>
              <a:gd name="T109" fmla="*/ 354 h 2073"/>
              <a:gd name="T110" fmla="*/ 879 w 3891"/>
              <a:gd name="T111" fmla="*/ 191 h 2073"/>
              <a:gd name="T112" fmla="*/ 1104 w 3891"/>
              <a:gd name="T113" fmla="*/ 29 h 20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891" h="2073">
                <a:moveTo>
                  <a:pt x="3401" y="1753"/>
                </a:moveTo>
                <a:lnTo>
                  <a:pt x="3326" y="1754"/>
                </a:lnTo>
                <a:lnTo>
                  <a:pt x="3256" y="1761"/>
                </a:lnTo>
                <a:lnTo>
                  <a:pt x="3193" y="1770"/>
                </a:lnTo>
                <a:lnTo>
                  <a:pt x="3138" y="1783"/>
                </a:lnTo>
                <a:lnTo>
                  <a:pt x="3088" y="1798"/>
                </a:lnTo>
                <a:lnTo>
                  <a:pt x="3048" y="1814"/>
                </a:lnTo>
                <a:lnTo>
                  <a:pt x="3016" y="1830"/>
                </a:lnTo>
                <a:lnTo>
                  <a:pt x="2992" y="1847"/>
                </a:lnTo>
                <a:lnTo>
                  <a:pt x="2978" y="1865"/>
                </a:lnTo>
                <a:lnTo>
                  <a:pt x="2972" y="1881"/>
                </a:lnTo>
                <a:lnTo>
                  <a:pt x="2978" y="1898"/>
                </a:lnTo>
                <a:lnTo>
                  <a:pt x="2992" y="1914"/>
                </a:lnTo>
                <a:lnTo>
                  <a:pt x="3016" y="1932"/>
                </a:lnTo>
                <a:lnTo>
                  <a:pt x="3048" y="1949"/>
                </a:lnTo>
                <a:lnTo>
                  <a:pt x="3088" y="1965"/>
                </a:lnTo>
                <a:lnTo>
                  <a:pt x="3138" y="1980"/>
                </a:lnTo>
                <a:lnTo>
                  <a:pt x="3193" y="1993"/>
                </a:lnTo>
                <a:lnTo>
                  <a:pt x="3256" y="2001"/>
                </a:lnTo>
                <a:lnTo>
                  <a:pt x="3326" y="2007"/>
                </a:lnTo>
                <a:lnTo>
                  <a:pt x="3401" y="2010"/>
                </a:lnTo>
                <a:lnTo>
                  <a:pt x="3477" y="2007"/>
                </a:lnTo>
                <a:lnTo>
                  <a:pt x="3545" y="2001"/>
                </a:lnTo>
                <a:lnTo>
                  <a:pt x="3608" y="1993"/>
                </a:lnTo>
                <a:lnTo>
                  <a:pt x="3664" y="1980"/>
                </a:lnTo>
                <a:lnTo>
                  <a:pt x="3712" y="1965"/>
                </a:lnTo>
                <a:lnTo>
                  <a:pt x="3753" y="1949"/>
                </a:lnTo>
                <a:lnTo>
                  <a:pt x="3785" y="1932"/>
                </a:lnTo>
                <a:lnTo>
                  <a:pt x="3810" y="1914"/>
                </a:lnTo>
                <a:lnTo>
                  <a:pt x="3824" y="1898"/>
                </a:lnTo>
                <a:lnTo>
                  <a:pt x="3829" y="1881"/>
                </a:lnTo>
                <a:lnTo>
                  <a:pt x="3824" y="1865"/>
                </a:lnTo>
                <a:lnTo>
                  <a:pt x="3810" y="1847"/>
                </a:lnTo>
                <a:lnTo>
                  <a:pt x="3785" y="1830"/>
                </a:lnTo>
                <a:lnTo>
                  <a:pt x="3753" y="1814"/>
                </a:lnTo>
                <a:lnTo>
                  <a:pt x="3712" y="1798"/>
                </a:lnTo>
                <a:lnTo>
                  <a:pt x="3664" y="1783"/>
                </a:lnTo>
                <a:lnTo>
                  <a:pt x="3608" y="1770"/>
                </a:lnTo>
                <a:lnTo>
                  <a:pt x="3545" y="1761"/>
                </a:lnTo>
                <a:lnTo>
                  <a:pt x="3477" y="1754"/>
                </a:lnTo>
                <a:lnTo>
                  <a:pt x="3401" y="1753"/>
                </a:lnTo>
                <a:close/>
                <a:moveTo>
                  <a:pt x="491" y="1394"/>
                </a:moveTo>
                <a:lnTo>
                  <a:pt x="416" y="1397"/>
                </a:lnTo>
                <a:lnTo>
                  <a:pt x="347" y="1403"/>
                </a:lnTo>
                <a:lnTo>
                  <a:pt x="284" y="1413"/>
                </a:lnTo>
                <a:lnTo>
                  <a:pt x="227" y="1425"/>
                </a:lnTo>
                <a:lnTo>
                  <a:pt x="179" y="1440"/>
                </a:lnTo>
                <a:lnTo>
                  <a:pt x="139" y="1456"/>
                </a:lnTo>
                <a:lnTo>
                  <a:pt x="107" y="1473"/>
                </a:lnTo>
                <a:lnTo>
                  <a:pt x="83" y="1491"/>
                </a:lnTo>
                <a:lnTo>
                  <a:pt x="69" y="1508"/>
                </a:lnTo>
                <a:lnTo>
                  <a:pt x="63" y="1524"/>
                </a:lnTo>
                <a:lnTo>
                  <a:pt x="69" y="1540"/>
                </a:lnTo>
                <a:lnTo>
                  <a:pt x="83" y="1558"/>
                </a:lnTo>
                <a:lnTo>
                  <a:pt x="107" y="1575"/>
                </a:lnTo>
                <a:lnTo>
                  <a:pt x="139" y="1592"/>
                </a:lnTo>
                <a:lnTo>
                  <a:pt x="179" y="1608"/>
                </a:lnTo>
                <a:lnTo>
                  <a:pt x="227" y="1623"/>
                </a:lnTo>
                <a:lnTo>
                  <a:pt x="284" y="1635"/>
                </a:lnTo>
                <a:lnTo>
                  <a:pt x="347" y="1645"/>
                </a:lnTo>
                <a:lnTo>
                  <a:pt x="416" y="1651"/>
                </a:lnTo>
                <a:lnTo>
                  <a:pt x="491" y="1652"/>
                </a:lnTo>
                <a:lnTo>
                  <a:pt x="566" y="1651"/>
                </a:lnTo>
                <a:lnTo>
                  <a:pt x="636" y="1645"/>
                </a:lnTo>
                <a:lnTo>
                  <a:pt x="699" y="1635"/>
                </a:lnTo>
                <a:lnTo>
                  <a:pt x="755" y="1623"/>
                </a:lnTo>
                <a:lnTo>
                  <a:pt x="803" y="1608"/>
                </a:lnTo>
                <a:lnTo>
                  <a:pt x="844" y="1592"/>
                </a:lnTo>
                <a:lnTo>
                  <a:pt x="876" y="1575"/>
                </a:lnTo>
                <a:lnTo>
                  <a:pt x="899" y="1558"/>
                </a:lnTo>
                <a:lnTo>
                  <a:pt x="914" y="1540"/>
                </a:lnTo>
                <a:lnTo>
                  <a:pt x="920" y="1524"/>
                </a:lnTo>
                <a:lnTo>
                  <a:pt x="914" y="1508"/>
                </a:lnTo>
                <a:lnTo>
                  <a:pt x="899" y="1491"/>
                </a:lnTo>
                <a:lnTo>
                  <a:pt x="876" y="1473"/>
                </a:lnTo>
                <a:lnTo>
                  <a:pt x="844" y="1456"/>
                </a:lnTo>
                <a:lnTo>
                  <a:pt x="803" y="1440"/>
                </a:lnTo>
                <a:lnTo>
                  <a:pt x="755" y="1425"/>
                </a:lnTo>
                <a:lnTo>
                  <a:pt x="699" y="1413"/>
                </a:lnTo>
                <a:lnTo>
                  <a:pt x="636" y="1403"/>
                </a:lnTo>
                <a:lnTo>
                  <a:pt x="566" y="1397"/>
                </a:lnTo>
                <a:lnTo>
                  <a:pt x="491" y="1394"/>
                </a:lnTo>
                <a:close/>
                <a:moveTo>
                  <a:pt x="1369" y="63"/>
                </a:moveTo>
                <a:lnTo>
                  <a:pt x="1295" y="64"/>
                </a:lnTo>
                <a:lnTo>
                  <a:pt x="1225" y="71"/>
                </a:lnTo>
                <a:lnTo>
                  <a:pt x="1163" y="80"/>
                </a:lnTo>
                <a:lnTo>
                  <a:pt x="1106" y="93"/>
                </a:lnTo>
                <a:lnTo>
                  <a:pt x="1058" y="108"/>
                </a:lnTo>
                <a:lnTo>
                  <a:pt x="1017" y="124"/>
                </a:lnTo>
                <a:lnTo>
                  <a:pt x="985" y="140"/>
                </a:lnTo>
                <a:lnTo>
                  <a:pt x="962" y="157"/>
                </a:lnTo>
                <a:lnTo>
                  <a:pt x="947" y="175"/>
                </a:lnTo>
                <a:lnTo>
                  <a:pt x="942" y="191"/>
                </a:lnTo>
                <a:lnTo>
                  <a:pt x="947" y="208"/>
                </a:lnTo>
                <a:lnTo>
                  <a:pt x="962" y="226"/>
                </a:lnTo>
                <a:lnTo>
                  <a:pt x="985" y="243"/>
                </a:lnTo>
                <a:lnTo>
                  <a:pt x="1017" y="259"/>
                </a:lnTo>
                <a:lnTo>
                  <a:pt x="1058" y="275"/>
                </a:lnTo>
                <a:lnTo>
                  <a:pt x="1106" y="290"/>
                </a:lnTo>
                <a:lnTo>
                  <a:pt x="1163" y="303"/>
                </a:lnTo>
                <a:lnTo>
                  <a:pt x="1225" y="311"/>
                </a:lnTo>
                <a:lnTo>
                  <a:pt x="1295" y="319"/>
                </a:lnTo>
                <a:lnTo>
                  <a:pt x="1369" y="320"/>
                </a:lnTo>
                <a:lnTo>
                  <a:pt x="1445" y="319"/>
                </a:lnTo>
                <a:lnTo>
                  <a:pt x="1515" y="311"/>
                </a:lnTo>
                <a:lnTo>
                  <a:pt x="1577" y="303"/>
                </a:lnTo>
                <a:lnTo>
                  <a:pt x="1634" y="290"/>
                </a:lnTo>
                <a:lnTo>
                  <a:pt x="1682" y="275"/>
                </a:lnTo>
                <a:lnTo>
                  <a:pt x="1723" y="259"/>
                </a:lnTo>
                <a:lnTo>
                  <a:pt x="1755" y="243"/>
                </a:lnTo>
                <a:lnTo>
                  <a:pt x="1778" y="226"/>
                </a:lnTo>
                <a:lnTo>
                  <a:pt x="1792" y="208"/>
                </a:lnTo>
                <a:lnTo>
                  <a:pt x="1798" y="191"/>
                </a:lnTo>
                <a:lnTo>
                  <a:pt x="1792" y="175"/>
                </a:lnTo>
                <a:lnTo>
                  <a:pt x="1778" y="157"/>
                </a:lnTo>
                <a:lnTo>
                  <a:pt x="1755" y="140"/>
                </a:lnTo>
                <a:lnTo>
                  <a:pt x="1723" y="124"/>
                </a:lnTo>
                <a:lnTo>
                  <a:pt x="1682" y="108"/>
                </a:lnTo>
                <a:lnTo>
                  <a:pt x="1634" y="93"/>
                </a:lnTo>
                <a:lnTo>
                  <a:pt x="1577" y="80"/>
                </a:lnTo>
                <a:lnTo>
                  <a:pt x="1515" y="71"/>
                </a:lnTo>
                <a:lnTo>
                  <a:pt x="1445" y="64"/>
                </a:lnTo>
                <a:lnTo>
                  <a:pt x="1369" y="63"/>
                </a:lnTo>
                <a:close/>
                <a:moveTo>
                  <a:pt x="1369" y="0"/>
                </a:moveTo>
                <a:lnTo>
                  <a:pt x="1424" y="1"/>
                </a:lnTo>
                <a:lnTo>
                  <a:pt x="1480" y="4"/>
                </a:lnTo>
                <a:lnTo>
                  <a:pt x="1534" y="10"/>
                </a:lnTo>
                <a:lnTo>
                  <a:pt x="1586" y="19"/>
                </a:lnTo>
                <a:lnTo>
                  <a:pt x="1635" y="29"/>
                </a:lnTo>
                <a:lnTo>
                  <a:pt x="1682" y="42"/>
                </a:lnTo>
                <a:lnTo>
                  <a:pt x="1726" y="57"/>
                </a:lnTo>
                <a:lnTo>
                  <a:pt x="1763" y="74"/>
                </a:lnTo>
                <a:lnTo>
                  <a:pt x="1797" y="93"/>
                </a:lnTo>
                <a:lnTo>
                  <a:pt x="1823" y="115"/>
                </a:lnTo>
                <a:lnTo>
                  <a:pt x="1843" y="138"/>
                </a:lnTo>
                <a:lnTo>
                  <a:pt x="1855" y="164"/>
                </a:lnTo>
                <a:lnTo>
                  <a:pt x="1859" y="191"/>
                </a:lnTo>
                <a:lnTo>
                  <a:pt x="1861" y="194"/>
                </a:lnTo>
                <a:lnTo>
                  <a:pt x="1862" y="196"/>
                </a:lnTo>
                <a:lnTo>
                  <a:pt x="1864" y="198"/>
                </a:lnTo>
                <a:lnTo>
                  <a:pt x="1867" y="199"/>
                </a:lnTo>
                <a:lnTo>
                  <a:pt x="1891" y="199"/>
                </a:lnTo>
                <a:lnTo>
                  <a:pt x="1925" y="202"/>
                </a:lnTo>
                <a:lnTo>
                  <a:pt x="1963" y="205"/>
                </a:lnTo>
                <a:lnTo>
                  <a:pt x="2008" y="210"/>
                </a:lnTo>
                <a:lnTo>
                  <a:pt x="2056" y="215"/>
                </a:lnTo>
                <a:lnTo>
                  <a:pt x="2105" y="221"/>
                </a:lnTo>
                <a:lnTo>
                  <a:pt x="2155" y="227"/>
                </a:lnTo>
                <a:lnTo>
                  <a:pt x="2204" y="233"/>
                </a:lnTo>
                <a:lnTo>
                  <a:pt x="2251" y="240"/>
                </a:lnTo>
                <a:lnTo>
                  <a:pt x="2294" y="246"/>
                </a:lnTo>
                <a:lnTo>
                  <a:pt x="2332" y="250"/>
                </a:lnTo>
                <a:lnTo>
                  <a:pt x="2361" y="256"/>
                </a:lnTo>
                <a:lnTo>
                  <a:pt x="2384" y="259"/>
                </a:lnTo>
                <a:lnTo>
                  <a:pt x="2456" y="274"/>
                </a:lnTo>
                <a:lnTo>
                  <a:pt x="2518" y="290"/>
                </a:lnTo>
                <a:lnTo>
                  <a:pt x="2574" y="309"/>
                </a:lnTo>
                <a:lnTo>
                  <a:pt x="2620" y="327"/>
                </a:lnTo>
                <a:lnTo>
                  <a:pt x="2659" y="349"/>
                </a:lnTo>
                <a:lnTo>
                  <a:pt x="2691" y="371"/>
                </a:lnTo>
                <a:lnTo>
                  <a:pt x="2718" y="396"/>
                </a:lnTo>
                <a:lnTo>
                  <a:pt x="2735" y="421"/>
                </a:lnTo>
                <a:lnTo>
                  <a:pt x="2747" y="445"/>
                </a:lnTo>
                <a:lnTo>
                  <a:pt x="2751" y="473"/>
                </a:lnTo>
                <a:lnTo>
                  <a:pt x="2751" y="499"/>
                </a:lnTo>
                <a:lnTo>
                  <a:pt x="2745" y="527"/>
                </a:lnTo>
                <a:lnTo>
                  <a:pt x="2734" y="555"/>
                </a:lnTo>
                <a:lnTo>
                  <a:pt x="2716" y="582"/>
                </a:lnTo>
                <a:lnTo>
                  <a:pt x="2694" y="610"/>
                </a:lnTo>
                <a:lnTo>
                  <a:pt x="2670" y="638"/>
                </a:lnTo>
                <a:lnTo>
                  <a:pt x="2639" y="664"/>
                </a:lnTo>
                <a:lnTo>
                  <a:pt x="2604" y="691"/>
                </a:lnTo>
                <a:lnTo>
                  <a:pt x="2566" y="716"/>
                </a:lnTo>
                <a:lnTo>
                  <a:pt x="2526" y="742"/>
                </a:lnTo>
                <a:lnTo>
                  <a:pt x="2482" y="766"/>
                </a:lnTo>
                <a:lnTo>
                  <a:pt x="2434" y="789"/>
                </a:lnTo>
                <a:lnTo>
                  <a:pt x="2386" y="811"/>
                </a:lnTo>
                <a:lnTo>
                  <a:pt x="2334" y="831"/>
                </a:lnTo>
                <a:lnTo>
                  <a:pt x="2280" y="850"/>
                </a:lnTo>
                <a:lnTo>
                  <a:pt x="2254" y="859"/>
                </a:lnTo>
                <a:lnTo>
                  <a:pt x="2219" y="869"/>
                </a:lnTo>
                <a:lnTo>
                  <a:pt x="2176" y="882"/>
                </a:lnTo>
                <a:lnTo>
                  <a:pt x="2128" y="897"/>
                </a:lnTo>
                <a:lnTo>
                  <a:pt x="2073" y="913"/>
                </a:lnTo>
                <a:lnTo>
                  <a:pt x="2015" y="929"/>
                </a:lnTo>
                <a:lnTo>
                  <a:pt x="1952" y="948"/>
                </a:lnTo>
                <a:lnTo>
                  <a:pt x="1886" y="966"/>
                </a:lnTo>
                <a:lnTo>
                  <a:pt x="1817" y="985"/>
                </a:lnTo>
                <a:lnTo>
                  <a:pt x="1746" y="1006"/>
                </a:lnTo>
                <a:lnTo>
                  <a:pt x="1675" y="1026"/>
                </a:lnTo>
                <a:lnTo>
                  <a:pt x="1602" y="1047"/>
                </a:lnTo>
                <a:lnTo>
                  <a:pt x="1531" y="1065"/>
                </a:lnTo>
                <a:lnTo>
                  <a:pt x="1461" y="1086"/>
                </a:lnTo>
                <a:lnTo>
                  <a:pt x="1394" y="1105"/>
                </a:lnTo>
                <a:lnTo>
                  <a:pt x="1328" y="1122"/>
                </a:lnTo>
                <a:lnTo>
                  <a:pt x="1267" y="1140"/>
                </a:lnTo>
                <a:lnTo>
                  <a:pt x="1211" y="1156"/>
                </a:lnTo>
                <a:lnTo>
                  <a:pt x="1160" y="1170"/>
                </a:lnTo>
                <a:lnTo>
                  <a:pt x="1113" y="1183"/>
                </a:lnTo>
                <a:lnTo>
                  <a:pt x="1075" y="1195"/>
                </a:lnTo>
                <a:lnTo>
                  <a:pt x="1043" y="1204"/>
                </a:lnTo>
                <a:lnTo>
                  <a:pt x="1020" y="1211"/>
                </a:lnTo>
                <a:lnTo>
                  <a:pt x="971" y="1227"/>
                </a:lnTo>
                <a:lnTo>
                  <a:pt x="917" y="1245"/>
                </a:lnTo>
                <a:lnTo>
                  <a:pt x="860" y="1266"/>
                </a:lnTo>
                <a:lnTo>
                  <a:pt x="802" y="1291"/>
                </a:lnTo>
                <a:lnTo>
                  <a:pt x="744" y="1319"/>
                </a:lnTo>
                <a:lnTo>
                  <a:pt x="688" y="1348"/>
                </a:lnTo>
                <a:lnTo>
                  <a:pt x="736" y="1357"/>
                </a:lnTo>
                <a:lnTo>
                  <a:pt x="782" y="1368"/>
                </a:lnTo>
                <a:lnTo>
                  <a:pt x="824" y="1381"/>
                </a:lnTo>
                <a:lnTo>
                  <a:pt x="862" y="1396"/>
                </a:lnTo>
                <a:lnTo>
                  <a:pt x="896" y="1412"/>
                </a:lnTo>
                <a:lnTo>
                  <a:pt x="926" y="1431"/>
                </a:lnTo>
                <a:lnTo>
                  <a:pt x="949" y="1451"/>
                </a:lnTo>
                <a:lnTo>
                  <a:pt x="966" y="1473"/>
                </a:lnTo>
                <a:lnTo>
                  <a:pt x="978" y="1498"/>
                </a:lnTo>
                <a:lnTo>
                  <a:pt x="981" y="1524"/>
                </a:lnTo>
                <a:lnTo>
                  <a:pt x="978" y="1550"/>
                </a:lnTo>
                <a:lnTo>
                  <a:pt x="966" y="1575"/>
                </a:lnTo>
                <a:lnTo>
                  <a:pt x="947" y="1597"/>
                </a:lnTo>
                <a:lnTo>
                  <a:pt x="923" y="1619"/>
                </a:lnTo>
                <a:lnTo>
                  <a:pt x="894" y="1636"/>
                </a:lnTo>
                <a:lnTo>
                  <a:pt x="857" y="1654"/>
                </a:lnTo>
                <a:lnTo>
                  <a:pt x="818" y="1668"/>
                </a:lnTo>
                <a:lnTo>
                  <a:pt x="776" y="1681"/>
                </a:lnTo>
                <a:lnTo>
                  <a:pt x="729" y="1691"/>
                </a:lnTo>
                <a:lnTo>
                  <a:pt x="680" y="1700"/>
                </a:lnTo>
                <a:lnTo>
                  <a:pt x="629" y="1707"/>
                </a:lnTo>
                <a:lnTo>
                  <a:pt x="677" y="1731"/>
                </a:lnTo>
                <a:lnTo>
                  <a:pt x="732" y="1751"/>
                </a:lnTo>
                <a:lnTo>
                  <a:pt x="799" y="1776"/>
                </a:lnTo>
                <a:lnTo>
                  <a:pt x="870" y="1796"/>
                </a:lnTo>
                <a:lnTo>
                  <a:pt x="946" y="1814"/>
                </a:lnTo>
                <a:lnTo>
                  <a:pt x="1024" y="1830"/>
                </a:lnTo>
                <a:lnTo>
                  <a:pt x="1103" y="1843"/>
                </a:lnTo>
                <a:lnTo>
                  <a:pt x="1183" y="1854"/>
                </a:lnTo>
                <a:lnTo>
                  <a:pt x="1263" y="1865"/>
                </a:lnTo>
                <a:lnTo>
                  <a:pt x="1340" y="1873"/>
                </a:lnTo>
                <a:lnTo>
                  <a:pt x="1471" y="1885"/>
                </a:lnTo>
                <a:lnTo>
                  <a:pt x="1599" y="1892"/>
                </a:lnTo>
                <a:lnTo>
                  <a:pt x="1726" y="1898"/>
                </a:lnTo>
                <a:lnTo>
                  <a:pt x="1845" y="1902"/>
                </a:lnTo>
                <a:lnTo>
                  <a:pt x="1960" y="1905"/>
                </a:lnTo>
                <a:lnTo>
                  <a:pt x="2046" y="1907"/>
                </a:lnTo>
                <a:lnTo>
                  <a:pt x="2169" y="1905"/>
                </a:lnTo>
                <a:lnTo>
                  <a:pt x="2293" y="1901"/>
                </a:lnTo>
                <a:lnTo>
                  <a:pt x="2414" y="1897"/>
                </a:lnTo>
                <a:lnTo>
                  <a:pt x="2531" y="1891"/>
                </a:lnTo>
                <a:lnTo>
                  <a:pt x="2643" y="1884"/>
                </a:lnTo>
                <a:lnTo>
                  <a:pt x="2750" y="1878"/>
                </a:lnTo>
                <a:lnTo>
                  <a:pt x="2827" y="1873"/>
                </a:lnTo>
                <a:lnTo>
                  <a:pt x="2899" y="1869"/>
                </a:lnTo>
                <a:lnTo>
                  <a:pt x="2902" y="1868"/>
                </a:lnTo>
                <a:lnTo>
                  <a:pt x="2905" y="1866"/>
                </a:lnTo>
                <a:lnTo>
                  <a:pt x="2908" y="1865"/>
                </a:lnTo>
                <a:lnTo>
                  <a:pt x="2911" y="1862"/>
                </a:lnTo>
                <a:lnTo>
                  <a:pt x="2914" y="1859"/>
                </a:lnTo>
                <a:lnTo>
                  <a:pt x="2914" y="1857"/>
                </a:lnTo>
                <a:lnTo>
                  <a:pt x="2926" y="1831"/>
                </a:lnTo>
                <a:lnTo>
                  <a:pt x="2946" y="1806"/>
                </a:lnTo>
                <a:lnTo>
                  <a:pt x="2972" y="1785"/>
                </a:lnTo>
                <a:lnTo>
                  <a:pt x="3004" y="1766"/>
                </a:lnTo>
                <a:lnTo>
                  <a:pt x="3043" y="1748"/>
                </a:lnTo>
                <a:lnTo>
                  <a:pt x="3086" y="1732"/>
                </a:lnTo>
                <a:lnTo>
                  <a:pt x="3132" y="1721"/>
                </a:lnTo>
                <a:lnTo>
                  <a:pt x="3183" y="1709"/>
                </a:lnTo>
                <a:lnTo>
                  <a:pt x="3235" y="1700"/>
                </a:lnTo>
                <a:lnTo>
                  <a:pt x="3289" y="1694"/>
                </a:lnTo>
                <a:lnTo>
                  <a:pt x="3344" y="1691"/>
                </a:lnTo>
                <a:lnTo>
                  <a:pt x="3401" y="1690"/>
                </a:lnTo>
                <a:lnTo>
                  <a:pt x="3455" y="1691"/>
                </a:lnTo>
                <a:lnTo>
                  <a:pt x="3510" y="1694"/>
                </a:lnTo>
                <a:lnTo>
                  <a:pt x="3564" y="1700"/>
                </a:lnTo>
                <a:lnTo>
                  <a:pt x="3616" y="1709"/>
                </a:lnTo>
                <a:lnTo>
                  <a:pt x="3666" y="1719"/>
                </a:lnTo>
                <a:lnTo>
                  <a:pt x="3712" y="1732"/>
                </a:lnTo>
                <a:lnTo>
                  <a:pt x="3756" y="1747"/>
                </a:lnTo>
                <a:lnTo>
                  <a:pt x="3794" y="1764"/>
                </a:lnTo>
                <a:lnTo>
                  <a:pt x="3827" y="1783"/>
                </a:lnTo>
                <a:lnTo>
                  <a:pt x="3854" y="1805"/>
                </a:lnTo>
                <a:lnTo>
                  <a:pt x="3874" y="1828"/>
                </a:lnTo>
                <a:lnTo>
                  <a:pt x="3887" y="1853"/>
                </a:lnTo>
                <a:lnTo>
                  <a:pt x="3891" y="1881"/>
                </a:lnTo>
                <a:lnTo>
                  <a:pt x="3887" y="1908"/>
                </a:lnTo>
                <a:lnTo>
                  <a:pt x="3874" y="1935"/>
                </a:lnTo>
                <a:lnTo>
                  <a:pt x="3854" y="1958"/>
                </a:lnTo>
                <a:lnTo>
                  <a:pt x="3827" y="1980"/>
                </a:lnTo>
                <a:lnTo>
                  <a:pt x="3794" y="1999"/>
                </a:lnTo>
                <a:lnTo>
                  <a:pt x="3756" y="2016"/>
                </a:lnTo>
                <a:lnTo>
                  <a:pt x="3712" y="2031"/>
                </a:lnTo>
                <a:lnTo>
                  <a:pt x="3666" y="2044"/>
                </a:lnTo>
                <a:lnTo>
                  <a:pt x="3616" y="2054"/>
                </a:lnTo>
                <a:lnTo>
                  <a:pt x="3564" y="2061"/>
                </a:lnTo>
                <a:lnTo>
                  <a:pt x="3510" y="2067"/>
                </a:lnTo>
                <a:lnTo>
                  <a:pt x="3455" y="2071"/>
                </a:lnTo>
                <a:lnTo>
                  <a:pt x="3401" y="2073"/>
                </a:lnTo>
                <a:lnTo>
                  <a:pt x="3344" y="2071"/>
                </a:lnTo>
                <a:lnTo>
                  <a:pt x="3289" y="2067"/>
                </a:lnTo>
                <a:lnTo>
                  <a:pt x="3234" y="2061"/>
                </a:lnTo>
                <a:lnTo>
                  <a:pt x="3180" y="2052"/>
                </a:lnTo>
                <a:lnTo>
                  <a:pt x="3131" y="2042"/>
                </a:lnTo>
                <a:lnTo>
                  <a:pt x="3083" y="2029"/>
                </a:lnTo>
                <a:lnTo>
                  <a:pt x="3039" y="2013"/>
                </a:lnTo>
                <a:lnTo>
                  <a:pt x="3001" y="1996"/>
                </a:lnTo>
                <a:lnTo>
                  <a:pt x="2969" y="1975"/>
                </a:lnTo>
                <a:lnTo>
                  <a:pt x="2943" y="1952"/>
                </a:lnTo>
                <a:lnTo>
                  <a:pt x="2924" y="1929"/>
                </a:lnTo>
                <a:lnTo>
                  <a:pt x="2923" y="1926"/>
                </a:lnTo>
                <a:lnTo>
                  <a:pt x="2920" y="1924"/>
                </a:lnTo>
                <a:lnTo>
                  <a:pt x="2917" y="1923"/>
                </a:lnTo>
                <a:lnTo>
                  <a:pt x="2914" y="1921"/>
                </a:lnTo>
                <a:lnTo>
                  <a:pt x="2911" y="1920"/>
                </a:lnTo>
                <a:lnTo>
                  <a:pt x="2908" y="1920"/>
                </a:lnTo>
                <a:lnTo>
                  <a:pt x="2834" y="1930"/>
                </a:lnTo>
                <a:lnTo>
                  <a:pt x="2748" y="1940"/>
                </a:lnTo>
                <a:lnTo>
                  <a:pt x="2654" y="1952"/>
                </a:lnTo>
                <a:lnTo>
                  <a:pt x="2547" y="1964"/>
                </a:lnTo>
                <a:lnTo>
                  <a:pt x="2434" y="1974"/>
                </a:lnTo>
                <a:lnTo>
                  <a:pt x="2310" y="1984"/>
                </a:lnTo>
                <a:lnTo>
                  <a:pt x="2178" y="1993"/>
                </a:lnTo>
                <a:lnTo>
                  <a:pt x="2038" y="2001"/>
                </a:lnTo>
                <a:lnTo>
                  <a:pt x="1931" y="2004"/>
                </a:lnTo>
                <a:lnTo>
                  <a:pt x="1830" y="2007"/>
                </a:lnTo>
                <a:lnTo>
                  <a:pt x="1736" y="2007"/>
                </a:lnTo>
                <a:lnTo>
                  <a:pt x="1606" y="2006"/>
                </a:lnTo>
                <a:lnTo>
                  <a:pt x="1483" y="2001"/>
                </a:lnTo>
                <a:lnTo>
                  <a:pt x="1360" y="1996"/>
                </a:lnTo>
                <a:lnTo>
                  <a:pt x="1232" y="1985"/>
                </a:lnTo>
                <a:lnTo>
                  <a:pt x="1112" y="1971"/>
                </a:lnTo>
                <a:lnTo>
                  <a:pt x="997" y="1955"/>
                </a:lnTo>
                <a:lnTo>
                  <a:pt x="889" y="1935"/>
                </a:lnTo>
                <a:lnTo>
                  <a:pt x="787" y="1911"/>
                </a:lnTo>
                <a:lnTo>
                  <a:pt x="690" y="1885"/>
                </a:lnTo>
                <a:lnTo>
                  <a:pt x="595" y="1853"/>
                </a:lnTo>
                <a:lnTo>
                  <a:pt x="553" y="1837"/>
                </a:lnTo>
                <a:lnTo>
                  <a:pt x="508" y="1817"/>
                </a:lnTo>
                <a:lnTo>
                  <a:pt x="463" y="1793"/>
                </a:lnTo>
                <a:lnTo>
                  <a:pt x="418" y="1767"/>
                </a:lnTo>
                <a:lnTo>
                  <a:pt x="376" y="1737"/>
                </a:lnTo>
                <a:lnTo>
                  <a:pt x="336" y="1703"/>
                </a:lnTo>
                <a:lnTo>
                  <a:pt x="275" y="1693"/>
                </a:lnTo>
                <a:lnTo>
                  <a:pt x="219" y="1678"/>
                </a:lnTo>
                <a:lnTo>
                  <a:pt x="165" y="1662"/>
                </a:lnTo>
                <a:lnTo>
                  <a:pt x="117" y="1642"/>
                </a:lnTo>
                <a:lnTo>
                  <a:pt x="76" y="1620"/>
                </a:lnTo>
                <a:lnTo>
                  <a:pt x="41" y="1597"/>
                </a:lnTo>
                <a:lnTo>
                  <a:pt x="15" y="1571"/>
                </a:lnTo>
                <a:lnTo>
                  <a:pt x="5" y="1555"/>
                </a:lnTo>
                <a:lnTo>
                  <a:pt x="0" y="1539"/>
                </a:lnTo>
                <a:lnTo>
                  <a:pt x="0" y="1524"/>
                </a:lnTo>
                <a:lnTo>
                  <a:pt x="2" y="1511"/>
                </a:lnTo>
                <a:lnTo>
                  <a:pt x="3" y="1504"/>
                </a:lnTo>
                <a:lnTo>
                  <a:pt x="5" y="1499"/>
                </a:lnTo>
                <a:lnTo>
                  <a:pt x="16" y="1475"/>
                </a:lnTo>
                <a:lnTo>
                  <a:pt x="35" y="1451"/>
                </a:lnTo>
                <a:lnTo>
                  <a:pt x="60" y="1429"/>
                </a:lnTo>
                <a:lnTo>
                  <a:pt x="91" y="1410"/>
                </a:lnTo>
                <a:lnTo>
                  <a:pt x="127" y="1393"/>
                </a:lnTo>
                <a:lnTo>
                  <a:pt x="168" y="1378"/>
                </a:lnTo>
                <a:lnTo>
                  <a:pt x="213" y="1365"/>
                </a:lnTo>
                <a:lnTo>
                  <a:pt x="261" y="1354"/>
                </a:lnTo>
                <a:lnTo>
                  <a:pt x="310" y="1345"/>
                </a:lnTo>
                <a:lnTo>
                  <a:pt x="363" y="1339"/>
                </a:lnTo>
                <a:lnTo>
                  <a:pt x="415" y="1295"/>
                </a:lnTo>
                <a:lnTo>
                  <a:pt x="475" y="1256"/>
                </a:lnTo>
                <a:lnTo>
                  <a:pt x="539" y="1220"/>
                </a:lnTo>
                <a:lnTo>
                  <a:pt x="606" y="1188"/>
                </a:lnTo>
                <a:lnTo>
                  <a:pt x="675" y="1157"/>
                </a:lnTo>
                <a:lnTo>
                  <a:pt x="748" y="1131"/>
                </a:lnTo>
                <a:lnTo>
                  <a:pt x="821" y="1106"/>
                </a:lnTo>
                <a:lnTo>
                  <a:pt x="894" y="1084"/>
                </a:lnTo>
                <a:lnTo>
                  <a:pt x="965" y="1064"/>
                </a:lnTo>
                <a:lnTo>
                  <a:pt x="997" y="1054"/>
                </a:lnTo>
                <a:lnTo>
                  <a:pt x="1038" y="1044"/>
                </a:lnTo>
                <a:lnTo>
                  <a:pt x="1084" y="1032"/>
                </a:lnTo>
                <a:lnTo>
                  <a:pt x="1138" y="1019"/>
                </a:lnTo>
                <a:lnTo>
                  <a:pt x="1198" y="1004"/>
                </a:lnTo>
                <a:lnTo>
                  <a:pt x="1260" y="990"/>
                </a:lnTo>
                <a:lnTo>
                  <a:pt x="1327" y="974"/>
                </a:lnTo>
                <a:lnTo>
                  <a:pt x="1397" y="958"/>
                </a:lnTo>
                <a:lnTo>
                  <a:pt x="1468" y="940"/>
                </a:lnTo>
                <a:lnTo>
                  <a:pt x="1541" y="923"/>
                </a:lnTo>
                <a:lnTo>
                  <a:pt x="1615" y="905"/>
                </a:lnTo>
                <a:lnTo>
                  <a:pt x="1688" y="888"/>
                </a:lnTo>
                <a:lnTo>
                  <a:pt x="1759" y="872"/>
                </a:lnTo>
                <a:lnTo>
                  <a:pt x="1829" y="854"/>
                </a:lnTo>
                <a:lnTo>
                  <a:pt x="1896" y="838"/>
                </a:lnTo>
                <a:lnTo>
                  <a:pt x="1960" y="822"/>
                </a:lnTo>
                <a:lnTo>
                  <a:pt x="2019" y="808"/>
                </a:lnTo>
                <a:lnTo>
                  <a:pt x="2073" y="795"/>
                </a:lnTo>
                <a:lnTo>
                  <a:pt x="2120" y="782"/>
                </a:lnTo>
                <a:lnTo>
                  <a:pt x="2160" y="771"/>
                </a:lnTo>
                <a:lnTo>
                  <a:pt x="2194" y="761"/>
                </a:lnTo>
                <a:lnTo>
                  <a:pt x="2219" y="753"/>
                </a:lnTo>
                <a:lnTo>
                  <a:pt x="2300" y="725"/>
                </a:lnTo>
                <a:lnTo>
                  <a:pt x="2371" y="699"/>
                </a:lnTo>
                <a:lnTo>
                  <a:pt x="2431" y="671"/>
                </a:lnTo>
                <a:lnTo>
                  <a:pt x="2482" y="643"/>
                </a:lnTo>
                <a:lnTo>
                  <a:pt x="2523" y="617"/>
                </a:lnTo>
                <a:lnTo>
                  <a:pt x="2555" y="591"/>
                </a:lnTo>
                <a:lnTo>
                  <a:pt x="2576" y="565"/>
                </a:lnTo>
                <a:lnTo>
                  <a:pt x="2591" y="539"/>
                </a:lnTo>
                <a:lnTo>
                  <a:pt x="2597" y="514"/>
                </a:lnTo>
                <a:lnTo>
                  <a:pt x="2595" y="489"/>
                </a:lnTo>
                <a:lnTo>
                  <a:pt x="2587" y="466"/>
                </a:lnTo>
                <a:lnTo>
                  <a:pt x="2569" y="442"/>
                </a:lnTo>
                <a:lnTo>
                  <a:pt x="2546" y="419"/>
                </a:lnTo>
                <a:lnTo>
                  <a:pt x="2517" y="399"/>
                </a:lnTo>
                <a:lnTo>
                  <a:pt x="2480" y="378"/>
                </a:lnTo>
                <a:lnTo>
                  <a:pt x="2438" y="358"/>
                </a:lnTo>
                <a:lnTo>
                  <a:pt x="2392" y="339"/>
                </a:lnTo>
                <a:lnTo>
                  <a:pt x="2339" y="322"/>
                </a:lnTo>
                <a:lnTo>
                  <a:pt x="2281" y="306"/>
                </a:lnTo>
                <a:lnTo>
                  <a:pt x="2220" y="291"/>
                </a:lnTo>
                <a:lnTo>
                  <a:pt x="2155" y="278"/>
                </a:lnTo>
                <a:lnTo>
                  <a:pt x="2085" y="265"/>
                </a:lnTo>
                <a:lnTo>
                  <a:pt x="2012" y="255"/>
                </a:lnTo>
                <a:lnTo>
                  <a:pt x="1936" y="244"/>
                </a:lnTo>
                <a:lnTo>
                  <a:pt x="1858" y="237"/>
                </a:lnTo>
                <a:lnTo>
                  <a:pt x="1855" y="237"/>
                </a:lnTo>
                <a:lnTo>
                  <a:pt x="1852" y="239"/>
                </a:lnTo>
                <a:lnTo>
                  <a:pt x="1848" y="240"/>
                </a:lnTo>
                <a:lnTo>
                  <a:pt x="1845" y="243"/>
                </a:lnTo>
                <a:lnTo>
                  <a:pt x="1843" y="244"/>
                </a:lnTo>
                <a:lnTo>
                  <a:pt x="1820" y="271"/>
                </a:lnTo>
                <a:lnTo>
                  <a:pt x="1790" y="294"/>
                </a:lnTo>
                <a:lnTo>
                  <a:pt x="1752" y="314"/>
                </a:lnTo>
                <a:lnTo>
                  <a:pt x="1708" y="332"/>
                </a:lnTo>
                <a:lnTo>
                  <a:pt x="1659" y="348"/>
                </a:lnTo>
                <a:lnTo>
                  <a:pt x="1606" y="359"/>
                </a:lnTo>
                <a:lnTo>
                  <a:pt x="1550" y="370"/>
                </a:lnTo>
                <a:lnTo>
                  <a:pt x="1490" y="377"/>
                </a:lnTo>
                <a:lnTo>
                  <a:pt x="1430" y="381"/>
                </a:lnTo>
                <a:lnTo>
                  <a:pt x="1369" y="383"/>
                </a:lnTo>
                <a:lnTo>
                  <a:pt x="1315" y="381"/>
                </a:lnTo>
                <a:lnTo>
                  <a:pt x="1260" y="378"/>
                </a:lnTo>
                <a:lnTo>
                  <a:pt x="1206" y="373"/>
                </a:lnTo>
                <a:lnTo>
                  <a:pt x="1154" y="364"/>
                </a:lnTo>
                <a:lnTo>
                  <a:pt x="1104" y="354"/>
                </a:lnTo>
                <a:lnTo>
                  <a:pt x="1058" y="341"/>
                </a:lnTo>
                <a:lnTo>
                  <a:pt x="1014" y="326"/>
                </a:lnTo>
                <a:lnTo>
                  <a:pt x="976" y="309"/>
                </a:lnTo>
                <a:lnTo>
                  <a:pt x="943" y="290"/>
                </a:lnTo>
                <a:lnTo>
                  <a:pt x="917" y="268"/>
                </a:lnTo>
                <a:lnTo>
                  <a:pt x="896" y="244"/>
                </a:lnTo>
                <a:lnTo>
                  <a:pt x="883" y="218"/>
                </a:lnTo>
                <a:lnTo>
                  <a:pt x="879" y="191"/>
                </a:lnTo>
                <a:lnTo>
                  <a:pt x="883" y="164"/>
                </a:lnTo>
                <a:lnTo>
                  <a:pt x="896" y="138"/>
                </a:lnTo>
                <a:lnTo>
                  <a:pt x="917" y="115"/>
                </a:lnTo>
                <a:lnTo>
                  <a:pt x="943" y="93"/>
                </a:lnTo>
                <a:lnTo>
                  <a:pt x="976" y="74"/>
                </a:lnTo>
                <a:lnTo>
                  <a:pt x="1014" y="57"/>
                </a:lnTo>
                <a:lnTo>
                  <a:pt x="1058" y="42"/>
                </a:lnTo>
                <a:lnTo>
                  <a:pt x="1104" y="29"/>
                </a:lnTo>
                <a:lnTo>
                  <a:pt x="1154" y="19"/>
                </a:lnTo>
                <a:lnTo>
                  <a:pt x="1206" y="10"/>
                </a:lnTo>
                <a:lnTo>
                  <a:pt x="1260" y="4"/>
                </a:lnTo>
                <a:lnTo>
                  <a:pt x="1315" y="1"/>
                </a:lnTo>
                <a:lnTo>
                  <a:pt x="1369" y="0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1891034" y="2865816"/>
            <a:ext cx="775096" cy="1099799"/>
            <a:chOff x="1891034" y="2889803"/>
            <a:chExt cx="775096" cy="1099799"/>
          </a:xfrm>
        </p:grpSpPr>
        <p:grpSp>
          <p:nvGrpSpPr>
            <p:cNvPr id="38" name="Group 37"/>
            <p:cNvGrpSpPr>
              <a:grpSpLocks noChangeAspect="1"/>
            </p:cNvGrpSpPr>
            <p:nvPr/>
          </p:nvGrpSpPr>
          <p:grpSpPr>
            <a:xfrm>
              <a:off x="1891034" y="2889803"/>
              <a:ext cx="775096" cy="1099799"/>
              <a:chOff x="3574665" y="4349496"/>
              <a:chExt cx="295991" cy="419987"/>
            </a:xfrm>
            <a:solidFill>
              <a:schemeClr val="accent1"/>
            </a:solidFill>
          </p:grpSpPr>
          <p:sp>
            <p:nvSpPr>
              <p:cNvPr id="40" name="Freeform 609"/>
              <p:cNvSpPr>
                <a:spLocks/>
              </p:cNvSpPr>
              <p:nvPr/>
            </p:nvSpPr>
            <p:spPr bwMode="auto">
              <a:xfrm>
                <a:off x="3574665" y="4349496"/>
                <a:ext cx="295991" cy="419987"/>
              </a:xfrm>
              <a:custGeom>
                <a:avLst/>
                <a:gdLst>
                  <a:gd name="T0" fmla="*/ 63 w 125"/>
                  <a:gd name="T1" fmla="*/ 178 h 178"/>
                  <a:gd name="T2" fmla="*/ 0 w 125"/>
                  <a:gd name="T3" fmla="*/ 62 h 178"/>
                  <a:gd name="T4" fmla="*/ 63 w 125"/>
                  <a:gd name="T5" fmla="*/ 0 h 178"/>
                  <a:gd name="T6" fmla="*/ 125 w 125"/>
                  <a:gd name="T7" fmla="*/ 62 h 178"/>
                  <a:gd name="T8" fmla="*/ 63 w 12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78">
                    <a:moveTo>
                      <a:pt x="63" y="178"/>
                    </a:moveTo>
                    <a:cubicBezTo>
                      <a:pt x="63" y="178"/>
                      <a:pt x="0" y="96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97" y="0"/>
                      <a:pt x="125" y="28"/>
                      <a:pt x="125" y="62"/>
                    </a:cubicBezTo>
                    <a:cubicBezTo>
                      <a:pt x="125" y="96"/>
                      <a:pt x="63" y="178"/>
                      <a:pt x="63" y="17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Oval 610"/>
              <p:cNvSpPr>
                <a:spLocks noChangeArrowheads="1"/>
              </p:cNvSpPr>
              <p:nvPr/>
            </p:nvSpPr>
            <p:spPr bwMode="auto">
              <a:xfrm>
                <a:off x="3648662" y="4410494"/>
                <a:ext cx="150995" cy="1489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9052" y="2991906"/>
              <a:ext cx="519060" cy="519060"/>
            </a:xfrm>
            <a:prstGeom prst="rect">
              <a:avLst/>
            </a:prstGeom>
          </p:spPr>
        </p:pic>
      </p:grpSp>
      <p:sp>
        <p:nvSpPr>
          <p:cNvPr id="30" name="Rectangle 29"/>
          <p:cNvSpPr/>
          <p:nvPr/>
        </p:nvSpPr>
        <p:spPr>
          <a:xfrm>
            <a:off x="408898" y="2811633"/>
            <a:ext cx="13523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CiscoSansTT ExtraLight"/>
              </a:rPr>
              <a:t>Evaluating</a:t>
            </a:r>
            <a:r>
              <a:rPr lang="en-US" dirty="0">
                <a:solidFill>
                  <a:srgbClr val="282828"/>
                </a:solidFill>
                <a:latin typeface="CiscoSansTT ExtraLight"/>
              </a:rPr>
              <a:t> </a:t>
            </a:r>
            <a:r>
              <a:rPr lang="en-US" dirty="0">
                <a:solidFill>
                  <a:schemeClr val="bg1"/>
                </a:solidFill>
                <a:latin typeface="CiscoSansTT ExtraLight"/>
              </a:rPr>
              <a:t>if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 are </a:t>
            </a:r>
            <a:r>
              <a:rPr lang="en-US" dirty="0">
                <a:solidFill>
                  <a:schemeClr val="bg1"/>
                </a:solidFill>
                <a:latin typeface="CiscoSansTT ExtraLight"/>
              </a:rPr>
              <a:t>ready?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7258231" y="2343991"/>
            <a:ext cx="1658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  <a:latin typeface="CiscoSansTT ExtraLight"/>
              </a:rPr>
              <a:t>Building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&amp;</a:t>
            </a:r>
            <a:r>
              <a:rPr lang="en-US" dirty="0" smtClean="0">
                <a:solidFill>
                  <a:schemeClr val="accent2"/>
                </a:solidFill>
                <a:latin typeface="CiscoSansTT ExtraLight"/>
              </a:rPr>
              <a:t> Assessing </a:t>
            </a:r>
          </a:p>
          <a:p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r secure foundation?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926824" y="361909"/>
            <a:ext cx="22575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Maintaining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your</a:t>
            </a:r>
            <a:r>
              <a:rPr lang="en-US" dirty="0" smtClean="0">
                <a:solidFill>
                  <a:schemeClr val="accent5"/>
                </a:solidFill>
                <a:latin typeface="CiscoSansTT ExtraLight"/>
              </a:rPr>
              <a:t> </a:t>
            </a:r>
            <a:r>
              <a:rPr lang="en-US" dirty="0" smtClean="0">
                <a:solidFill>
                  <a:schemeClr val="bg1"/>
                </a:solidFill>
                <a:latin typeface="CiscoSansTT ExtraLight"/>
              </a:rPr>
              <a:t>digital solution?  </a:t>
            </a:r>
            <a:endParaRPr lang="en-US" dirty="0">
              <a:solidFill>
                <a:schemeClr val="bg1"/>
              </a:solidFill>
              <a:latin typeface="CiscoSansTT Extra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834274" y="441780"/>
            <a:ext cx="775096" cy="1099799"/>
            <a:chOff x="4834274" y="441780"/>
            <a:chExt cx="775096" cy="1099799"/>
          </a:xfrm>
        </p:grpSpPr>
        <p:grpSp>
          <p:nvGrpSpPr>
            <p:cNvPr id="48" name="Group 47"/>
            <p:cNvGrpSpPr>
              <a:grpSpLocks noChangeAspect="1"/>
            </p:cNvGrpSpPr>
            <p:nvPr/>
          </p:nvGrpSpPr>
          <p:grpSpPr>
            <a:xfrm>
              <a:off x="4834274" y="441780"/>
              <a:ext cx="775096" cy="1099799"/>
              <a:chOff x="3574665" y="4349496"/>
              <a:chExt cx="295991" cy="419987"/>
            </a:xfrm>
            <a:solidFill>
              <a:schemeClr val="accent1"/>
            </a:solidFill>
          </p:grpSpPr>
          <p:sp>
            <p:nvSpPr>
              <p:cNvPr id="49" name="Freeform 609"/>
              <p:cNvSpPr>
                <a:spLocks/>
              </p:cNvSpPr>
              <p:nvPr/>
            </p:nvSpPr>
            <p:spPr bwMode="auto">
              <a:xfrm>
                <a:off x="3574665" y="4349496"/>
                <a:ext cx="295991" cy="419987"/>
              </a:xfrm>
              <a:custGeom>
                <a:avLst/>
                <a:gdLst>
                  <a:gd name="T0" fmla="*/ 63 w 125"/>
                  <a:gd name="T1" fmla="*/ 178 h 178"/>
                  <a:gd name="T2" fmla="*/ 0 w 125"/>
                  <a:gd name="T3" fmla="*/ 62 h 178"/>
                  <a:gd name="T4" fmla="*/ 63 w 125"/>
                  <a:gd name="T5" fmla="*/ 0 h 178"/>
                  <a:gd name="T6" fmla="*/ 125 w 125"/>
                  <a:gd name="T7" fmla="*/ 62 h 178"/>
                  <a:gd name="T8" fmla="*/ 63 w 125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78">
                    <a:moveTo>
                      <a:pt x="63" y="178"/>
                    </a:moveTo>
                    <a:cubicBezTo>
                      <a:pt x="63" y="178"/>
                      <a:pt x="0" y="96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97" y="0"/>
                      <a:pt x="125" y="28"/>
                      <a:pt x="125" y="62"/>
                    </a:cubicBezTo>
                    <a:cubicBezTo>
                      <a:pt x="125" y="96"/>
                      <a:pt x="63" y="178"/>
                      <a:pt x="63" y="178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Oval 610"/>
              <p:cNvSpPr>
                <a:spLocks noChangeArrowheads="1"/>
              </p:cNvSpPr>
              <p:nvPr/>
            </p:nvSpPr>
            <p:spPr bwMode="auto">
              <a:xfrm>
                <a:off x="3648662" y="4410494"/>
                <a:ext cx="150995" cy="148995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57141" y="539432"/>
              <a:ext cx="541250" cy="574327"/>
            </a:xfrm>
            <a:prstGeom prst="rect">
              <a:avLst/>
            </a:prstGeom>
            <a:solidFill>
              <a:schemeClr val="accent5"/>
            </a:solidFill>
          </p:spPr>
        </p:pic>
      </p:grpSp>
      <p:grpSp>
        <p:nvGrpSpPr>
          <p:cNvPr id="23" name="Group 22"/>
          <p:cNvGrpSpPr/>
          <p:nvPr/>
        </p:nvGrpSpPr>
        <p:grpSpPr>
          <a:xfrm>
            <a:off x="6100590" y="2336609"/>
            <a:ext cx="775096" cy="1099799"/>
            <a:chOff x="6100590" y="2343991"/>
            <a:chExt cx="775096" cy="1099799"/>
          </a:xfrm>
        </p:grpSpPr>
        <p:grpSp>
          <p:nvGrpSpPr>
            <p:cNvPr id="25" name="Group 24"/>
            <p:cNvGrpSpPr/>
            <p:nvPr/>
          </p:nvGrpSpPr>
          <p:grpSpPr>
            <a:xfrm>
              <a:off x="6100590" y="2343991"/>
              <a:ext cx="775096" cy="1099799"/>
              <a:chOff x="6123791" y="2343991"/>
              <a:chExt cx="775096" cy="1099799"/>
            </a:xfrm>
          </p:grpSpPr>
          <p:grpSp>
            <p:nvGrpSpPr>
              <p:cNvPr id="70" name="Group 69"/>
              <p:cNvGrpSpPr>
                <a:grpSpLocks noChangeAspect="1"/>
              </p:cNvGrpSpPr>
              <p:nvPr/>
            </p:nvGrpSpPr>
            <p:grpSpPr>
              <a:xfrm>
                <a:off x="6123791" y="2343991"/>
                <a:ext cx="775096" cy="1099799"/>
                <a:chOff x="3574665" y="4349496"/>
                <a:chExt cx="295991" cy="419987"/>
              </a:xfrm>
              <a:solidFill>
                <a:schemeClr val="accent1"/>
              </a:solidFill>
            </p:grpSpPr>
            <p:sp>
              <p:nvSpPr>
                <p:cNvPr id="72" name="Freeform 609"/>
                <p:cNvSpPr>
                  <a:spLocks/>
                </p:cNvSpPr>
                <p:nvPr/>
              </p:nvSpPr>
              <p:spPr bwMode="auto">
                <a:xfrm>
                  <a:off x="3574665" y="4349496"/>
                  <a:ext cx="295991" cy="419987"/>
                </a:xfrm>
                <a:custGeom>
                  <a:avLst/>
                  <a:gdLst>
                    <a:gd name="T0" fmla="*/ 63 w 125"/>
                    <a:gd name="T1" fmla="*/ 178 h 178"/>
                    <a:gd name="T2" fmla="*/ 0 w 125"/>
                    <a:gd name="T3" fmla="*/ 62 h 178"/>
                    <a:gd name="T4" fmla="*/ 63 w 125"/>
                    <a:gd name="T5" fmla="*/ 0 h 178"/>
                    <a:gd name="T6" fmla="*/ 125 w 125"/>
                    <a:gd name="T7" fmla="*/ 62 h 178"/>
                    <a:gd name="T8" fmla="*/ 63 w 125"/>
                    <a:gd name="T9" fmla="*/ 178 h 1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25" h="178">
                      <a:moveTo>
                        <a:pt x="63" y="178"/>
                      </a:moveTo>
                      <a:cubicBezTo>
                        <a:pt x="63" y="178"/>
                        <a:pt x="0" y="96"/>
                        <a:pt x="0" y="62"/>
                      </a:cubicBezTo>
                      <a:cubicBezTo>
                        <a:pt x="0" y="28"/>
                        <a:pt x="28" y="0"/>
                        <a:pt x="63" y="0"/>
                      </a:cubicBezTo>
                      <a:cubicBezTo>
                        <a:pt x="97" y="0"/>
                        <a:pt x="125" y="28"/>
                        <a:pt x="125" y="62"/>
                      </a:cubicBezTo>
                      <a:cubicBezTo>
                        <a:pt x="125" y="96"/>
                        <a:pt x="63" y="178"/>
                        <a:pt x="63" y="178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73" name="Oval 610"/>
                <p:cNvSpPr>
                  <a:spLocks noChangeArrowheads="1"/>
                </p:cNvSpPr>
                <p:nvPr/>
              </p:nvSpPr>
              <p:spPr bwMode="auto">
                <a:xfrm>
                  <a:off x="3648662" y="4410494"/>
                  <a:ext cx="150995" cy="148995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pic>
            <p:nvPicPr>
              <p:cNvPr id="71" name="Picture 7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252417" y="2472846"/>
                <a:ext cx="519060" cy="519060"/>
              </a:xfrm>
              <a:prstGeom prst="rect">
                <a:avLst/>
              </a:prstGeom>
            </p:spPr>
          </p:pic>
        </p:grpSp>
        <p:grpSp>
          <p:nvGrpSpPr>
            <p:cNvPr id="26" name="Group 10"/>
            <p:cNvGrpSpPr>
              <a:grpSpLocks noChangeAspect="1"/>
            </p:cNvGrpSpPr>
            <p:nvPr/>
          </p:nvGrpSpPr>
          <p:grpSpPr bwMode="auto">
            <a:xfrm>
              <a:off x="6229491" y="2472495"/>
              <a:ext cx="519040" cy="519765"/>
              <a:chOff x="2546" y="1891"/>
              <a:chExt cx="717" cy="718"/>
            </a:xfrm>
            <a:solidFill>
              <a:schemeClr val="bg2"/>
            </a:solidFill>
          </p:grpSpPr>
          <p:sp>
            <p:nvSpPr>
              <p:cNvPr id="27" name="Freeform 13"/>
              <p:cNvSpPr>
                <a:spLocks/>
              </p:cNvSpPr>
              <p:nvPr/>
            </p:nvSpPr>
            <p:spPr bwMode="auto">
              <a:xfrm>
                <a:off x="2546" y="1891"/>
                <a:ext cx="717" cy="71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3"/>
              <p:cNvSpPr>
                <a:spLocks/>
              </p:cNvSpPr>
              <p:nvPr/>
            </p:nvSpPr>
            <p:spPr bwMode="auto">
              <a:xfrm>
                <a:off x="2594" y="1936"/>
                <a:ext cx="628" cy="628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14"/>
              <p:cNvSpPr>
                <a:spLocks/>
              </p:cNvSpPr>
              <p:nvPr/>
            </p:nvSpPr>
            <p:spPr bwMode="auto">
              <a:xfrm>
                <a:off x="2806" y="2122"/>
                <a:ext cx="70" cy="71"/>
              </a:xfrm>
              <a:custGeom>
                <a:avLst/>
                <a:gdLst>
                  <a:gd name="T0" fmla="*/ 105 w 140"/>
                  <a:gd name="T1" fmla="*/ 9 h 140"/>
                  <a:gd name="T2" fmla="*/ 105 w 140"/>
                  <a:gd name="T3" fmla="*/ 9 h 140"/>
                  <a:gd name="T4" fmla="*/ 118 w 140"/>
                  <a:gd name="T5" fmla="*/ 17 h 140"/>
                  <a:gd name="T6" fmla="*/ 127 w 140"/>
                  <a:gd name="T7" fmla="*/ 27 h 140"/>
                  <a:gd name="T8" fmla="*/ 134 w 140"/>
                  <a:gd name="T9" fmla="*/ 40 h 140"/>
                  <a:gd name="T10" fmla="*/ 139 w 140"/>
                  <a:gd name="T11" fmla="*/ 53 h 140"/>
                  <a:gd name="T12" fmla="*/ 140 w 140"/>
                  <a:gd name="T13" fmla="*/ 65 h 140"/>
                  <a:gd name="T14" fmla="*/ 140 w 140"/>
                  <a:gd name="T15" fmla="*/ 80 h 140"/>
                  <a:gd name="T16" fmla="*/ 137 w 140"/>
                  <a:gd name="T17" fmla="*/ 92 h 140"/>
                  <a:gd name="T18" fmla="*/ 132 w 140"/>
                  <a:gd name="T19" fmla="*/ 105 h 140"/>
                  <a:gd name="T20" fmla="*/ 132 w 140"/>
                  <a:gd name="T21" fmla="*/ 105 h 140"/>
                  <a:gd name="T22" fmla="*/ 123 w 140"/>
                  <a:gd name="T23" fmla="*/ 116 h 140"/>
                  <a:gd name="T24" fmla="*/ 113 w 140"/>
                  <a:gd name="T25" fmla="*/ 126 h 140"/>
                  <a:gd name="T26" fmla="*/ 102 w 140"/>
                  <a:gd name="T27" fmla="*/ 134 h 140"/>
                  <a:gd name="T28" fmla="*/ 89 w 140"/>
                  <a:gd name="T29" fmla="*/ 139 h 140"/>
                  <a:gd name="T30" fmla="*/ 75 w 140"/>
                  <a:gd name="T31" fmla="*/ 140 h 140"/>
                  <a:gd name="T32" fmla="*/ 62 w 140"/>
                  <a:gd name="T33" fmla="*/ 140 h 140"/>
                  <a:gd name="T34" fmla="*/ 48 w 140"/>
                  <a:gd name="T35" fmla="*/ 137 h 140"/>
                  <a:gd name="T36" fmla="*/ 35 w 140"/>
                  <a:gd name="T37" fmla="*/ 131 h 140"/>
                  <a:gd name="T38" fmla="*/ 35 w 140"/>
                  <a:gd name="T39" fmla="*/ 131 h 140"/>
                  <a:gd name="T40" fmla="*/ 24 w 140"/>
                  <a:gd name="T41" fmla="*/ 123 h 140"/>
                  <a:gd name="T42" fmla="*/ 14 w 140"/>
                  <a:gd name="T43" fmla="*/ 113 h 140"/>
                  <a:gd name="T44" fmla="*/ 8 w 140"/>
                  <a:gd name="T45" fmla="*/ 100 h 140"/>
                  <a:gd name="T46" fmla="*/ 3 w 140"/>
                  <a:gd name="T47" fmla="*/ 88 h 140"/>
                  <a:gd name="T48" fmla="*/ 0 w 140"/>
                  <a:gd name="T49" fmla="*/ 75 h 140"/>
                  <a:gd name="T50" fmla="*/ 0 w 140"/>
                  <a:gd name="T51" fmla="*/ 62 h 140"/>
                  <a:gd name="T52" fmla="*/ 3 w 140"/>
                  <a:gd name="T53" fmla="*/ 48 h 140"/>
                  <a:gd name="T54" fmla="*/ 9 w 140"/>
                  <a:gd name="T55" fmla="*/ 35 h 140"/>
                  <a:gd name="T56" fmla="*/ 9 w 140"/>
                  <a:gd name="T57" fmla="*/ 35 h 140"/>
                  <a:gd name="T58" fmla="*/ 17 w 140"/>
                  <a:gd name="T59" fmla="*/ 24 h 140"/>
                  <a:gd name="T60" fmla="*/ 29 w 140"/>
                  <a:gd name="T61" fmla="*/ 14 h 140"/>
                  <a:gd name="T62" fmla="*/ 40 w 140"/>
                  <a:gd name="T63" fmla="*/ 6 h 140"/>
                  <a:gd name="T64" fmla="*/ 53 w 140"/>
                  <a:gd name="T65" fmla="*/ 1 h 140"/>
                  <a:gd name="T66" fmla="*/ 65 w 140"/>
                  <a:gd name="T67" fmla="*/ 0 h 140"/>
                  <a:gd name="T68" fmla="*/ 80 w 140"/>
                  <a:gd name="T69" fmla="*/ 0 h 140"/>
                  <a:gd name="T70" fmla="*/ 92 w 140"/>
                  <a:gd name="T71" fmla="*/ 3 h 140"/>
                  <a:gd name="T72" fmla="*/ 105 w 140"/>
                  <a:gd name="T73" fmla="*/ 9 h 140"/>
                  <a:gd name="T74" fmla="*/ 105 w 140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0">
                    <a:moveTo>
                      <a:pt x="105" y="9"/>
                    </a:moveTo>
                    <a:lnTo>
                      <a:pt x="105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40"/>
                    </a:lnTo>
                    <a:lnTo>
                      <a:pt x="139" y="53"/>
                    </a:lnTo>
                    <a:lnTo>
                      <a:pt x="140" y="65"/>
                    </a:lnTo>
                    <a:lnTo>
                      <a:pt x="140" y="80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3" y="116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8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3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5"/>
              <p:cNvSpPr>
                <a:spLocks/>
              </p:cNvSpPr>
              <p:nvPr/>
            </p:nvSpPr>
            <p:spPr bwMode="auto">
              <a:xfrm>
                <a:off x="2834" y="2391"/>
                <a:ext cx="70" cy="70"/>
              </a:xfrm>
              <a:custGeom>
                <a:avLst/>
                <a:gdLst>
                  <a:gd name="T0" fmla="*/ 105 w 140"/>
                  <a:gd name="T1" fmla="*/ 10 h 141"/>
                  <a:gd name="T2" fmla="*/ 105 w 140"/>
                  <a:gd name="T3" fmla="*/ 10 h 141"/>
                  <a:gd name="T4" fmla="*/ 118 w 140"/>
                  <a:gd name="T5" fmla="*/ 18 h 141"/>
                  <a:gd name="T6" fmla="*/ 126 w 140"/>
                  <a:gd name="T7" fmla="*/ 27 h 141"/>
                  <a:gd name="T8" fmla="*/ 134 w 140"/>
                  <a:gd name="T9" fmla="*/ 40 h 141"/>
                  <a:gd name="T10" fmla="*/ 138 w 140"/>
                  <a:gd name="T11" fmla="*/ 51 h 141"/>
                  <a:gd name="T12" fmla="*/ 140 w 140"/>
                  <a:gd name="T13" fmla="*/ 66 h 141"/>
                  <a:gd name="T14" fmla="*/ 140 w 140"/>
                  <a:gd name="T15" fmla="*/ 78 h 141"/>
                  <a:gd name="T16" fmla="*/ 137 w 140"/>
                  <a:gd name="T17" fmla="*/ 93 h 141"/>
                  <a:gd name="T18" fmla="*/ 130 w 140"/>
                  <a:gd name="T19" fmla="*/ 105 h 141"/>
                  <a:gd name="T20" fmla="*/ 130 w 140"/>
                  <a:gd name="T21" fmla="*/ 105 h 141"/>
                  <a:gd name="T22" fmla="*/ 122 w 140"/>
                  <a:gd name="T23" fmla="*/ 117 h 141"/>
                  <a:gd name="T24" fmla="*/ 113 w 140"/>
                  <a:gd name="T25" fmla="*/ 126 h 141"/>
                  <a:gd name="T26" fmla="*/ 102 w 140"/>
                  <a:gd name="T27" fmla="*/ 134 h 141"/>
                  <a:gd name="T28" fmla="*/ 89 w 140"/>
                  <a:gd name="T29" fmla="*/ 139 h 141"/>
                  <a:gd name="T30" fmla="*/ 75 w 140"/>
                  <a:gd name="T31" fmla="*/ 141 h 141"/>
                  <a:gd name="T32" fmla="*/ 62 w 140"/>
                  <a:gd name="T33" fmla="*/ 141 h 141"/>
                  <a:gd name="T34" fmla="*/ 48 w 140"/>
                  <a:gd name="T35" fmla="*/ 137 h 141"/>
                  <a:gd name="T36" fmla="*/ 35 w 140"/>
                  <a:gd name="T37" fmla="*/ 131 h 141"/>
                  <a:gd name="T38" fmla="*/ 35 w 140"/>
                  <a:gd name="T39" fmla="*/ 131 h 141"/>
                  <a:gd name="T40" fmla="*/ 24 w 140"/>
                  <a:gd name="T41" fmla="*/ 123 h 141"/>
                  <a:gd name="T42" fmla="*/ 14 w 140"/>
                  <a:gd name="T43" fmla="*/ 113 h 141"/>
                  <a:gd name="T44" fmla="*/ 6 w 140"/>
                  <a:gd name="T45" fmla="*/ 101 h 141"/>
                  <a:gd name="T46" fmla="*/ 1 w 140"/>
                  <a:gd name="T47" fmla="*/ 88 h 141"/>
                  <a:gd name="T48" fmla="*/ 0 w 140"/>
                  <a:gd name="T49" fmla="*/ 75 h 141"/>
                  <a:gd name="T50" fmla="*/ 0 w 140"/>
                  <a:gd name="T51" fmla="*/ 61 h 141"/>
                  <a:gd name="T52" fmla="*/ 3 w 140"/>
                  <a:gd name="T53" fmla="*/ 48 h 141"/>
                  <a:gd name="T54" fmla="*/ 9 w 140"/>
                  <a:gd name="T55" fmla="*/ 35 h 141"/>
                  <a:gd name="T56" fmla="*/ 9 w 140"/>
                  <a:gd name="T57" fmla="*/ 35 h 141"/>
                  <a:gd name="T58" fmla="*/ 17 w 140"/>
                  <a:gd name="T59" fmla="*/ 24 h 141"/>
                  <a:gd name="T60" fmla="*/ 27 w 140"/>
                  <a:gd name="T61" fmla="*/ 15 h 141"/>
                  <a:gd name="T62" fmla="*/ 40 w 140"/>
                  <a:gd name="T63" fmla="*/ 7 h 141"/>
                  <a:gd name="T64" fmla="*/ 52 w 140"/>
                  <a:gd name="T65" fmla="*/ 2 h 141"/>
                  <a:gd name="T66" fmla="*/ 65 w 140"/>
                  <a:gd name="T67" fmla="*/ 0 h 141"/>
                  <a:gd name="T68" fmla="*/ 79 w 140"/>
                  <a:gd name="T69" fmla="*/ 0 h 141"/>
                  <a:gd name="T70" fmla="*/ 92 w 140"/>
                  <a:gd name="T71" fmla="*/ 3 h 141"/>
                  <a:gd name="T72" fmla="*/ 105 w 140"/>
                  <a:gd name="T73" fmla="*/ 10 h 141"/>
                  <a:gd name="T74" fmla="*/ 105 w 140"/>
                  <a:gd name="T75" fmla="*/ 1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1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6" y="27"/>
                    </a:lnTo>
                    <a:lnTo>
                      <a:pt x="134" y="40"/>
                    </a:lnTo>
                    <a:lnTo>
                      <a:pt x="138" y="51"/>
                    </a:lnTo>
                    <a:lnTo>
                      <a:pt x="140" y="66"/>
                    </a:lnTo>
                    <a:lnTo>
                      <a:pt x="140" y="78"/>
                    </a:lnTo>
                    <a:lnTo>
                      <a:pt x="137" y="93"/>
                    </a:lnTo>
                    <a:lnTo>
                      <a:pt x="130" y="105"/>
                    </a:lnTo>
                    <a:lnTo>
                      <a:pt x="130" y="105"/>
                    </a:lnTo>
                    <a:lnTo>
                      <a:pt x="122" y="117"/>
                    </a:lnTo>
                    <a:lnTo>
                      <a:pt x="113" y="126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1"/>
                    </a:lnTo>
                    <a:lnTo>
                      <a:pt x="62" y="141"/>
                    </a:lnTo>
                    <a:lnTo>
                      <a:pt x="48" y="137"/>
                    </a:lnTo>
                    <a:lnTo>
                      <a:pt x="35" y="131"/>
                    </a:lnTo>
                    <a:lnTo>
                      <a:pt x="35" y="131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1"/>
                    </a:lnTo>
                    <a:lnTo>
                      <a:pt x="1" y="88"/>
                    </a:lnTo>
                    <a:lnTo>
                      <a:pt x="0" y="75"/>
                    </a:lnTo>
                    <a:lnTo>
                      <a:pt x="0" y="61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7" y="15"/>
                    </a:lnTo>
                    <a:lnTo>
                      <a:pt x="40" y="7"/>
                    </a:lnTo>
                    <a:lnTo>
                      <a:pt x="52" y="2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16"/>
              <p:cNvSpPr>
                <a:spLocks/>
              </p:cNvSpPr>
              <p:nvPr/>
            </p:nvSpPr>
            <p:spPr bwMode="auto">
              <a:xfrm>
                <a:off x="2674" y="2282"/>
                <a:ext cx="70" cy="71"/>
              </a:xfrm>
              <a:custGeom>
                <a:avLst/>
                <a:gdLst>
                  <a:gd name="T0" fmla="*/ 105 w 141"/>
                  <a:gd name="T1" fmla="*/ 9 h 142"/>
                  <a:gd name="T2" fmla="*/ 105 w 141"/>
                  <a:gd name="T3" fmla="*/ 9 h 142"/>
                  <a:gd name="T4" fmla="*/ 117 w 141"/>
                  <a:gd name="T5" fmla="*/ 17 h 142"/>
                  <a:gd name="T6" fmla="*/ 126 w 141"/>
                  <a:gd name="T7" fmla="*/ 28 h 142"/>
                  <a:gd name="T8" fmla="*/ 134 w 141"/>
                  <a:gd name="T9" fmla="*/ 40 h 142"/>
                  <a:gd name="T10" fmla="*/ 139 w 141"/>
                  <a:gd name="T11" fmla="*/ 52 h 142"/>
                  <a:gd name="T12" fmla="*/ 141 w 141"/>
                  <a:gd name="T13" fmla="*/ 65 h 142"/>
                  <a:gd name="T14" fmla="*/ 141 w 141"/>
                  <a:gd name="T15" fmla="*/ 80 h 142"/>
                  <a:gd name="T16" fmla="*/ 137 w 141"/>
                  <a:gd name="T17" fmla="*/ 92 h 142"/>
                  <a:gd name="T18" fmla="*/ 131 w 141"/>
                  <a:gd name="T19" fmla="*/ 107 h 142"/>
                  <a:gd name="T20" fmla="*/ 131 w 141"/>
                  <a:gd name="T21" fmla="*/ 107 h 142"/>
                  <a:gd name="T22" fmla="*/ 123 w 141"/>
                  <a:gd name="T23" fmla="*/ 118 h 142"/>
                  <a:gd name="T24" fmla="*/ 113 w 141"/>
                  <a:gd name="T25" fmla="*/ 127 h 142"/>
                  <a:gd name="T26" fmla="*/ 101 w 141"/>
                  <a:gd name="T27" fmla="*/ 134 h 142"/>
                  <a:gd name="T28" fmla="*/ 88 w 141"/>
                  <a:gd name="T29" fmla="*/ 139 h 142"/>
                  <a:gd name="T30" fmla="*/ 75 w 141"/>
                  <a:gd name="T31" fmla="*/ 142 h 142"/>
                  <a:gd name="T32" fmla="*/ 62 w 141"/>
                  <a:gd name="T33" fmla="*/ 140 h 142"/>
                  <a:gd name="T34" fmla="*/ 48 w 141"/>
                  <a:gd name="T35" fmla="*/ 139 h 142"/>
                  <a:gd name="T36" fmla="*/ 35 w 141"/>
                  <a:gd name="T37" fmla="*/ 132 h 142"/>
                  <a:gd name="T38" fmla="*/ 35 w 141"/>
                  <a:gd name="T39" fmla="*/ 132 h 142"/>
                  <a:gd name="T40" fmla="*/ 24 w 141"/>
                  <a:gd name="T41" fmla="*/ 124 h 142"/>
                  <a:gd name="T42" fmla="*/ 15 w 141"/>
                  <a:gd name="T43" fmla="*/ 113 h 142"/>
                  <a:gd name="T44" fmla="*/ 7 w 141"/>
                  <a:gd name="T45" fmla="*/ 102 h 142"/>
                  <a:gd name="T46" fmla="*/ 2 w 141"/>
                  <a:gd name="T47" fmla="*/ 89 h 142"/>
                  <a:gd name="T48" fmla="*/ 0 w 141"/>
                  <a:gd name="T49" fmla="*/ 76 h 142"/>
                  <a:gd name="T50" fmla="*/ 0 w 141"/>
                  <a:gd name="T51" fmla="*/ 62 h 142"/>
                  <a:gd name="T52" fmla="*/ 3 w 141"/>
                  <a:gd name="T53" fmla="*/ 49 h 142"/>
                  <a:gd name="T54" fmla="*/ 10 w 141"/>
                  <a:gd name="T55" fmla="*/ 35 h 142"/>
                  <a:gd name="T56" fmla="*/ 10 w 141"/>
                  <a:gd name="T57" fmla="*/ 35 h 142"/>
                  <a:gd name="T58" fmla="*/ 18 w 141"/>
                  <a:gd name="T59" fmla="*/ 24 h 142"/>
                  <a:gd name="T60" fmla="*/ 27 w 141"/>
                  <a:gd name="T61" fmla="*/ 14 h 142"/>
                  <a:gd name="T62" fmla="*/ 40 w 141"/>
                  <a:gd name="T63" fmla="*/ 8 h 142"/>
                  <a:gd name="T64" fmla="*/ 53 w 141"/>
                  <a:gd name="T65" fmla="*/ 3 h 142"/>
                  <a:gd name="T66" fmla="*/ 66 w 141"/>
                  <a:gd name="T67" fmla="*/ 0 h 142"/>
                  <a:gd name="T68" fmla="*/ 78 w 141"/>
                  <a:gd name="T69" fmla="*/ 1 h 142"/>
                  <a:gd name="T70" fmla="*/ 93 w 141"/>
                  <a:gd name="T71" fmla="*/ 5 h 142"/>
                  <a:gd name="T72" fmla="*/ 105 w 141"/>
                  <a:gd name="T73" fmla="*/ 9 h 142"/>
                  <a:gd name="T74" fmla="*/ 105 w 141"/>
                  <a:gd name="T75" fmla="*/ 9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1" h="142">
                    <a:moveTo>
                      <a:pt x="105" y="9"/>
                    </a:moveTo>
                    <a:lnTo>
                      <a:pt x="105" y="9"/>
                    </a:lnTo>
                    <a:lnTo>
                      <a:pt x="117" y="17"/>
                    </a:lnTo>
                    <a:lnTo>
                      <a:pt x="126" y="28"/>
                    </a:lnTo>
                    <a:lnTo>
                      <a:pt x="134" y="40"/>
                    </a:lnTo>
                    <a:lnTo>
                      <a:pt x="139" y="52"/>
                    </a:lnTo>
                    <a:lnTo>
                      <a:pt x="141" y="65"/>
                    </a:lnTo>
                    <a:lnTo>
                      <a:pt x="141" y="80"/>
                    </a:lnTo>
                    <a:lnTo>
                      <a:pt x="137" y="92"/>
                    </a:lnTo>
                    <a:lnTo>
                      <a:pt x="131" y="107"/>
                    </a:lnTo>
                    <a:lnTo>
                      <a:pt x="131" y="107"/>
                    </a:lnTo>
                    <a:lnTo>
                      <a:pt x="123" y="118"/>
                    </a:lnTo>
                    <a:lnTo>
                      <a:pt x="113" y="127"/>
                    </a:lnTo>
                    <a:lnTo>
                      <a:pt x="101" y="134"/>
                    </a:lnTo>
                    <a:lnTo>
                      <a:pt x="88" y="139"/>
                    </a:lnTo>
                    <a:lnTo>
                      <a:pt x="75" y="142"/>
                    </a:lnTo>
                    <a:lnTo>
                      <a:pt x="62" y="140"/>
                    </a:lnTo>
                    <a:lnTo>
                      <a:pt x="48" y="139"/>
                    </a:lnTo>
                    <a:lnTo>
                      <a:pt x="35" y="132"/>
                    </a:lnTo>
                    <a:lnTo>
                      <a:pt x="35" y="132"/>
                    </a:lnTo>
                    <a:lnTo>
                      <a:pt x="24" y="124"/>
                    </a:lnTo>
                    <a:lnTo>
                      <a:pt x="15" y="113"/>
                    </a:lnTo>
                    <a:lnTo>
                      <a:pt x="7" y="102"/>
                    </a:lnTo>
                    <a:lnTo>
                      <a:pt x="2" y="89"/>
                    </a:lnTo>
                    <a:lnTo>
                      <a:pt x="0" y="76"/>
                    </a:lnTo>
                    <a:lnTo>
                      <a:pt x="0" y="62"/>
                    </a:lnTo>
                    <a:lnTo>
                      <a:pt x="3" y="49"/>
                    </a:lnTo>
                    <a:lnTo>
                      <a:pt x="10" y="35"/>
                    </a:lnTo>
                    <a:lnTo>
                      <a:pt x="10" y="35"/>
                    </a:lnTo>
                    <a:lnTo>
                      <a:pt x="18" y="24"/>
                    </a:lnTo>
                    <a:lnTo>
                      <a:pt x="27" y="14"/>
                    </a:lnTo>
                    <a:lnTo>
                      <a:pt x="40" y="8"/>
                    </a:lnTo>
                    <a:lnTo>
                      <a:pt x="53" y="3"/>
                    </a:lnTo>
                    <a:lnTo>
                      <a:pt x="66" y="0"/>
                    </a:lnTo>
                    <a:lnTo>
                      <a:pt x="78" y="1"/>
                    </a:lnTo>
                    <a:lnTo>
                      <a:pt x="93" y="5"/>
                    </a:lnTo>
                    <a:lnTo>
                      <a:pt x="105" y="9"/>
                    </a:lnTo>
                    <a:lnTo>
                      <a:pt x="10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7"/>
              <p:cNvSpPr>
                <a:spLocks/>
              </p:cNvSpPr>
              <p:nvPr/>
            </p:nvSpPr>
            <p:spPr bwMode="auto">
              <a:xfrm>
                <a:off x="2869" y="1968"/>
                <a:ext cx="71" cy="70"/>
              </a:xfrm>
              <a:custGeom>
                <a:avLst/>
                <a:gdLst>
                  <a:gd name="T0" fmla="*/ 107 w 142"/>
                  <a:gd name="T1" fmla="*/ 9 h 140"/>
                  <a:gd name="T2" fmla="*/ 107 w 142"/>
                  <a:gd name="T3" fmla="*/ 9 h 140"/>
                  <a:gd name="T4" fmla="*/ 118 w 142"/>
                  <a:gd name="T5" fmla="*/ 17 h 140"/>
                  <a:gd name="T6" fmla="*/ 127 w 142"/>
                  <a:gd name="T7" fmla="*/ 27 h 140"/>
                  <a:gd name="T8" fmla="*/ 134 w 142"/>
                  <a:gd name="T9" fmla="*/ 38 h 140"/>
                  <a:gd name="T10" fmla="*/ 139 w 142"/>
                  <a:gd name="T11" fmla="*/ 51 h 140"/>
                  <a:gd name="T12" fmla="*/ 142 w 142"/>
                  <a:gd name="T13" fmla="*/ 65 h 140"/>
                  <a:gd name="T14" fmla="*/ 140 w 142"/>
                  <a:gd name="T15" fmla="*/ 78 h 140"/>
                  <a:gd name="T16" fmla="*/ 137 w 142"/>
                  <a:gd name="T17" fmla="*/ 92 h 140"/>
                  <a:gd name="T18" fmla="*/ 132 w 142"/>
                  <a:gd name="T19" fmla="*/ 105 h 140"/>
                  <a:gd name="T20" fmla="*/ 132 w 142"/>
                  <a:gd name="T21" fmla="*/ 105 h 140"/>
                  <a:gd name="T22" fmla="*/ 124 w 142"/>
                  <a:gd name="T23" fmla="*/ 116 h 140"/>
                  <a:gd name="T24" fmla="*/ 113 w 142"/>
                  <a:gd name="T25" fmla="*/ 126 h 140"/>
                  <a:gd name="T26" fmla="*/ 102 w 142"/>
                  <a:gd name="T27" fmla="*/ 133 h 140"/>
                  <a:gd name="T28" fmla="*/ 89 w 142"/>
                  <a:gd name="T29" fmla="*/ 138 h 140"/>
                  <a:gd name="T30" fmla="*/ 76 w 142"/>
                  <a:gd name="T31" fmla="*/ 140 h 140"/>
                  <a:gd name="T32" fmla="*/ 62 w 142"/>
                  <a:gd name="T33" fmla="*/ 140 h 140"/>
                  <a:gd name="T34" fmla="*/ 48 w 142"/>
                  <a:gd name="T35" fmla="*/ 137 h 140"/>
                  <a:gd name="T36" fmla="*/ 35 w 142"/>
                  <a:gd name="T37" fmla="*/ 130 h 140"/>
                  <a:gd name="T38" fmla="*/ 35 w 142"/>
                  <a:gd name="T39" fmla="*/ 130 h 140"/>
                  <a:gd name="T40" fmla="*/ 24 w 142"/>
                  <a:gd name="T41" fmla="*/ 122 h 140"/>
                  <a:gd name="T42" fmla="*/ 14 w 142"/>
                  <a:gd name="T43" fmla="*/ 113 h 140"/>
                  <a:gd name="T44" fmla="*/ 8 w 142"/>
                  <a:gd name="T45" fmla="*/ 100 h 140"/>
                  <a:gd name="T46" fmla="*/ 3 w 142"/>
                  <a:gd name="T47" fmla="*/ 87 h 140"/>
                  <a:gd name="T48" fmla="*/ 0 w 142"/>
                  <a:gd name="T49" fmla="*/ 74 h 140"/>
                  <a:gd name="T50" fmla="*/ 0 w 142"/>
                  <a:gd name="T51" fmla="*/ 60 h 140"/>
                  <a:gd name="T52" fmla="*/ 3 w 142"/>
                  <a:gd name="T53" fmla="*/ 47 h 140"/>
                  <a:gd name="T54" fmla="*/ 9 w 142"/>
                  <a:gd name="T55" fmla="*/ 35 h 140"/>
                  <a:gd name="T56" fmla="*/ 9 w 142"/>
                  <a:gd name="T57" fmla="*/ 35 h 140"/>
                  <a:gd name="T58" fmla="*/ 17 w 142"/>
                  <a:gd name="T59" fmla="*/ 22 h 140"/>
                  <a:gd name="T60" fmla="*/ 29 w 142"/>
                  <a:gd name="T61" fmla="*/ 14 h 140"/>
                  <a:gd name="T62" fmla="*/ 40 w 142"/>
                  <a:gd name="T63" fmla="*/ 6 h 140"/>
                  <a:gd name="T64" fmla="*/ 52 w 142"/>
                  <a:gd name="T65" fmla="*/ 1 h 140"/>
                  <a:gd name="T66" fmla="*/ 65 w 142"/>
                  <a:gd name="T67" fmla="*/ 0 h 140"/>
                  <a:gd name="T68" fmla="*/ 80 w 142"/>
                  <a:gd name="T69" fmla="*/ 0 h 140"/>
                  <a:gd name="T70" fmla="*/ 92 w 142"/>
                  <a:gd name="T71" fmla="*/ 3 h 140"/>
                  <a:gd name="T72" fmla="*/ 107 w 142"/>
                  <a:gd name="T73" fmla="*/ 9 h 140"/>
                  <a:gd name="T74" fmla="*/ 107 w 142"/>
                  <a:gd name="T75" fmla="*/ 9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2" h="140">
                    <a:moveTo>
                      <a:pt x="107" y="9"/>
                    </a:moveTo>
                    <a:lnTo>
                      <a:pt x="107" y="9"/>
                    </a:lnTo>
                    <a:lnTo>
                      <a:pt x="118" y="17"/>
                    </a:lnTo>
                    <a:lnTo>
                      <a:pt x="127" y="27"/>
                    </a:lnTo>
                    <a:lnTo>
                      <a:pt x="134" y="38"/>
                    </a:lnTo>
                    <a:lnTo>
                      <a:pt x="139" y="51"/>
                    </a:lnTo>
                    <a:lnTo>
                      <a:pt x="142" y="65"/>
                    </a:lnTo>
                    <a:lnTo>
                      <a:pt x="140" y="78"/>
                    </a:lnTo>
                    <a:lnTo>
                      <a:pt x="137" y="92"/>
                    </a:lnTo>
                    <a:lnTo>
                      <a:pt x="132" y="105"/>
                    </a:lnTo>
                    <a:lnTo>
                      <a:pt x="132" y="105"/>
                    </a:lnTo>
                    <a:lnTo>
                      <a:pt x="124" y="116"/>
                    </a:lnTo>
                    <a:lnTo>
                      <a:pt x="113" y="126"/>
                    </a:lnTo>
                    <a:lnTo>
                      <a:pt x="102" y="133"/>
                    </a:lnTo>
                    <a:lnTo>
                      <a:pt x="89" y="138"/>
                    </a:lnTo>
                    <a:lnTo>
                      <a:pt x="76" y="140"/>
                    </a:lnTo>
                    <a:lnTo>
                      <a:pt x="62" y="140"/>
                    </a:lnTo>
                    <a:lnTo>
                      <a:pt x="48" y="137"/>
                    </a:lnTo>
                    <a:lnTo>
                      <a:pt x="35" y="130"/>
                    </a:lnTo>
                    <a:lnTo>
                      <a:pt x="35" y="130"/>
                    </a:lnTo>
                    <a:lnTo>
                      <a:pt x="24" y="122"/>
                    </a:lnTo>
                    <a:lnTo>
                      <a:pt x="14" y="113"/>
                    </a:lnTo>
                    <a:lnTo>
                      <a:pt x="8" y="100"/>
                    </a:lnTo>
                    <a:lnTo>
                      <a:pt x="3" y="87"/>
                    </a:lnTo>
                    <a:lnTo>
                      <a:pt x="0" y="74"/>
                    </a:lnTo>
                    <a:lnTo>
                      <a:pt x="0" y="60"/>
                    </a:lnTo>
                    <a:lnTo>
                      <a:pt x="3" y="47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2"/>
                    </a:lnTo>
                    <a:lnTo>
                      <a:pt x="29" y="14"/>
                    </a:lnTo>
                    <a:lnTo>
                      <a:pt x="40" y="6"/>
                    </a:lnTo>
                    <a:lnTo>
                      <a:pt x="52" y="1"/>
                    </a:lnTo>
                    <a:lnTo>
                      <a:pt x="65" y="0"/>
                    </a:lnTo>
                    <a:lnTo>
                      <a:pt x="80" y="0"/>
                    </a:lnTo>
                    <a:lnTo>
                      <a:pt x="92" y="3"/>
                    </a:lnTo>
                    <a:lnTo>
                      <a:pt x="107" y="9"/>
                    </a:lnTo>
                    <a:lnTo>
                      <a:pt x="107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18"/>
              <p:cNvSpPr>
                <a:spLocks/>
              </p:cNvSpPr>
              <p:nvPr/>
            </p:nvSpPr>
            <p:spPr bwMode="auto">
              <a:xfrm>
                <a:off x="3015" y="2045"/>
                <a:ext cx="70" cy="71"/>
              </a:xfrm>
              <a:custGeom>
                <a:avLst/>
                <a:gdLst>
                  <a:gd name="T0" fmla="*/ 105 w 140"/>
                  <a:gd name="T1" fmla="*/ 10 h 142"/>
                  <a:gd name="T2" fmla="*/ 105 w 140"/>
                  <a:gd name="T3" fmla="*/ 10 h 142"/>
                  <a:gd name="T4" fmla="*/ 118 w 140"/>
                  <a:gd name="T5" fmla="*/ 18 h 142"/>
                  <a:gd name="T6" fmla="*/ 127 w 140"/>
                  <a:gd name="T7" fmla="*/ 29 h 142"/>
                  <a:gd name="T8" fmla="*/ 134 w 140"/>
                  <a:gd name="T9" fmla="*/ 40 h 142"/>
                  <a:gd name="T10" fmla="*/ 138 w 140"/>
                  <a:gd name="T11" fmla="*/ 53 h 142"/>
                  <a:gd name="T12" fmla="*/ 140 w 140"/>
                  <a:gd name="T13" fmla="*/ 66 h 142"/>
                  <a:gd name="T14" fmla="*/ 140 w 140"/>
                  <a:gd name="T15" fmla="*/ 80 h 142"/>
                  <a:gd name="T16" fmla="*/ 137 w 140"/>
                  <a:gd name="T17" fmla="*/ 93 h 142"/>
                  <a:gd name="T18" fmla="*/ 132 w 140"/>
                  <a:gd name="T19" fmla="*/ 107 h 142"/>
                  <a:gd name="T20" fmla="*/ 132 w 140"/>
                  <a:gd name="T21" fmla="*/ 107 h 142"/>
                  <a:gd name="T22" fmla="*/ 122 w 140"/>
                  <a:gd name="T23" fmla="*/ 118 h 142"/>
                  <a:gd name="T24" fmla="*/ 113 w 140"/>
                  <a:gd name="T25" fmla="*/ 128 h 142"/>
                  <a:gd name="T26" fmla="*/ 102 w 140"/>
                  <a:gd name="T27" fmla="*/ 134 h 142"/>
                  <a:gd name="T28" fmla="*/ 89 w 140"/>
                  <a:gd name="T29" fmla="*/ 139 h 142"/>
                  <a:gd name="T30" fmla="*/ 75 w 140"/>
                  <a:gd name="T31" fmla="*/ 142 h 142"/>
                  <a:gd name="T32" fmla="*/ 62 w 140"/>
                  <a:gd name="T33" fmla="*/ 141 h 142"/>
                  <a:gd name="T34" fmla="*/ 47 w 140"/>
                  <a:gd name="T35" fmla="*/ 137 h 142"/>
                  <a:gd name="T36" fmla="*/ 35 w 140"/>
                  <a:gd name="T37" fmla="*/ 133 h 142"/>
                  <a:gd name="T38" fmla="*/ 35 w 140"/>
                  <a:gd name="T39" fmla="*/ 133 h 142"/>
                  <a:gd name="T40" fmla="*/ 24 w 140"/>
                  <a:gd name="T41" fmla="*/ 123 h 142"/>
                  <a:gd name="T42" fmla="*/ 14 w 140"/>
                  <a:gd name="T43" fmla="*/ 113 h 142"/>
                  <a:gd name="T44" fmla="*/ 6 w 140"/>
                  <a:gd name="T45" fmla="*/ 102 h 142"/>
                  <a:gd name="T46" fmla="*/ 1 w 140"/>
                  <a:gd name="T47" fmla="*/ 90 h 142"/>
                  <a:gd name="T48" fmla="*/ 0 w 140"/>
                  <a:gd name="T49" fmla="*/ 75 h 142"/>
                  <a:gd name="T50" fmla="*/ 0 w 140"/>
                  <a:gd name="T51" fmla="*/ 62 h 142"/>
                  <a:gd name="T52" fmla="*/ 3 w 140"/>
                  <a:gd name="T53" fmla="*/ 48 h 142"/>
                  <a:gd name="T54" fmla="*/ 9 w 140"/>
                  <a:gd name="T55" fmla="*/ 35 h 142"/>
                  <a:gd name="T56" fmla="*/ 9 w 140"/>
                  <a:gd name="T57" fmla="*/ 35 h 142"/>
                  <a:gd name="T58" fmla="*/ 17 w 140"/>
                  <a:gd name="T59" fmla="*/ 24 h 142"/>
                  <a:gd name="T60" fmla="*/ 28 w 140"/>
                  <a:gd name="T61" fmla="*/ 15 h 142"/>
                  <a:gd name="T62" fmla="*/ 40 w 140"/>
                  <a:gd name="T63" fmla="*/ 8 h 142"/>
                  <a:gd name="T64" fmla="*/ 52 w 140"/>
                  <a:gd name="T65" fmla="*/ 3 h 142"/>
                  <a:gd name="T66" fmla="*/ 65 w 140"/>
                  <a:gd name="T67" fmla="*/ 0 h 142"/>
                  <a:gd name="T68" fmla="*/ 79 w 140"/>
                  <a:gd name="T69" fmla="*/ 0 h 142"/>
                  <a:gd name="T70" fmla="*/ 92 w 140"/>
                  <a:gd name="T71" fmla="*/ 3 h 142"/>
                  <a:gd name="T72" fmla="*/ 105 w 140"/>
                  <a:gd name="T73" fmla="*/ 10 h 142"/>
                  <a:gd name="T74" fmla="*/ 105 w 140"/>
                  <a:gd name="T75" fmla="*/ 1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0" h="142">
                    <a:moveTo>
                      <a:pt x="105" y="10"/>
                    </a:moveTo>
                    <a:lnTo>
                      <a:pt x="105" y="10"/>
                    </a:lnTo>
                    <a:lnTo>
                      <a:pt x="118" y="18"/>
                    </a:lnTo>
                    <a:lnTo>
                      <a:pt x="127" y="29"/>
                    </a:lnTo>
                    <a:lnTo>
                      <a:pt x="134" y="40"/>
                    </a:lnTo>
                    <a:lnTo>
                      <a:pt x="138" y="53"/>
                    </a:lnTo>
                    <a:lnTo>
                      <a:pt x="140" y="66"/>
                    </a:lnTo>
                    <a:lnTo>
                      <a:pt x="140" y="80"/>
                    </a:lnTo>
                    <a:lnTo>
                      <a:pt x="137" y="93"/>
                    </a:lnTo>
                    <a:lnTo>
                      <a:pt x="132" y="107"/>
                    </a:lnTo>
                    <a:lnTo>
                      <a:pt x="132" y="107"/>
                    </a:lnTo>
                    <a:lnTo>
                      <a:pt x="122" y="118"/>
                    </a:lnTo>
                    <a:lnTo>
                      <a:pt x="113" y="128"/>
                    </a:lnTo>
                    <a:lnTo>
                      <a:pt x="102" y="134"/>
                    </a:lnTo>
                    <a:lnTo>
                      <a:pt x="89" y="139"/>
                    </a:lnTo>
                    <a:lnTo>
                      <a:pt x="75" y="142"/>
                    </a:lnTo>
                    <a:lnTo>
                      <a:pt x="62" y="141"/>
                    </a:lnTo>
                    <a:lnTo>
                      <a:pt x="47" y="137"/>
                    </a:lnTo>
                    <a:lnTo>
                      <a:pt x="35" y="133"/>
                    </a:lnTo>
                    <a:lnTo>
                      <a:pt x="35" y="133"/>
                    </a:lnTo>
                    <a:lnTo>
                      <a:pt x="24" y="123"/>
                    </a:lnTo>
                    <a:lnTo>
                      <a:pt x="14" y="113"/>
                    </a:lnTo>
                    <a:lnTo>
                      <a:pt x="6" y="102"/>
                    </a:lnTo>
                    <a:lnTo>
                      <a:pt x="1" y="90"/>
                    </a:lnTo>
                    <a:lnTo>
                      <a:pt x="0" y="75"/>
                    </a:lnTo>
                    <a:lnTo>
                      <a:pt x="0" y="62"/>
                    </a:lnTo>
                    <a:lnTo>
                      <a:pt x="3" y="48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17" y="24"/>
                    </a:lnTo>
                    <a:lnTo>
                      <a:pt x="28" y="15"/>
                    </a:lnTo>
                    <a:lnTo>
                      <a:pt x="40" y="8"/>
                    </a:lnTo>
                    <a:lnTo>
                      <a:pt x="52" y="3"/>
                    </a:lnTo>
                    <a:lnTo>
                      <a:pt x="65" y="0"/>
                    </a:lnTo>
                    <a:lnTo>
                      <a:pt x="79" y="0"/>
                    </a:lnTo>
                    <a:lnTo>
                      <a:pt x="92" y="3"/>
                    </a:lnTo>
                    <a:lnTo>
                      <a:pt x="105" y="10"/>
                    </a:lnTo>
                    <a:lnTo>
                      <a:pt x="10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19"/>
              <p:cNvSpPr>
                <a:spLocks/>
              </p:cNvSpPr>
              <p:nvPr/>
            </p:nvSpPr>
            <p:spPr bwMode="auto">
              <a:xfrm>
                <a:off x="2708" y="2153"/>
                <a:ext cx="120" cy="162"/>
              </a:xfrm>
              <a:custGeom>
                <a:avLst/>
                <a:gdLst>
                  <a:gd name="T0" fmla="*/ 225 w 241"/>
                  <a:gd name="T1" fmla="*/ 74 h 326"/>
                  <a:gd name="T2" fmla="*/ 225 w 241"/>
                  <a:gd name="T3" fmla="*/ 74 h 326"/>
                  <a:gd name="T4" fmla="*/ 233 w 241"/>
                  <a:gd name="T5" fmla="*/ 37 h 326"/>
                  <a:gd name="T6" fmla="*/ 241 w 241"/>
                  <a:gd name="T7" fmla="*/ 0 h 326"/>
                  <a:gd name="T8" fmla="*/ 241 w 241"/>
                  <a:gd name="T9" fmla="*/ 0 h 326"/>
                  <a:gd name="T10" fmla="*/ 201 w 241"/>
                  <a:gd name="T11" fmla="*/ 32 h 326"/>
                  <a:gd name="T12" fmla="*/ 164 w 241"/>
                  <a:gd name="T13" fmla="*/ 66 h 326"/>
                  <a:gd name="T14" fmla="*/ 131 w 241"/>
                  <a:gd name="T15" fmla="*/ 101 h 326"/>
                  <a:gd name="T16" fmla="*/ 100 w 241"/>
                  <a:gd name="T17" fmla="*/ 138 h 326"/>
                  <a:gd name="T18" fmla="*/ 72 w 241"/>
                  <a:gd name="T19" fmla="*/ 174 h 326"/>
                  <a:gd name="T20" fmla="*/ 44 w 241"/>
                  <a:gd name="T21" fmla="*/ 213 h 326"/>
                  <a:gd name="T22" fmla="*/ 21 w 241"/>
                  <a:gd name="T23" fmla="*/ 251 h 326"/>
                  <a:gd name="T24" fmla="*/ 0 w 241"/>
                  <a:gd name="T25" fmla="*/ 287 h 326"/>
                  <a:gd name="T26" fmla="*/ 0 w 241"/>
                  <a:gd name="T27" fmla="*/ 287 h 326"/>
                  <a:gd name="T28" fmla="*/ 33 w 241"/>
                  <a:gd name="T29" fmla="*/ 326 h 326"/>
                  <a:gd name="T30" fmla="*/ 33 w 241"/>
                  <a:gd name="T31" fmla="*/ 326 h 326"/>
                  <a:gd name="T32" fmla="*/ 51 w 241"/>
                  <a:gd name="T33" fmla="*/ 294 h 326"/>
                  <a:gd name="T34" fmla="*/ 70 w 241"/>
                  <a:gd name="T35" fmla="*/ 260 h 326"/>
                  <a:gd name="T36" fmla="*/ 92 w 241"/>
                  <a:gd name="T37" fmla="*/ 228 h 326"/>
                  <a:gd name="T38" fmla="*/ 115 w 241"/>
                  <a:gd name="T39" fmla="*/ 197 h 326"/>
                  <a:gd name="T40" fmla="*/ 140 w 241"/>
                  <a:gd name="T41" fmla="*/ 165 h 326"/>
                  <a:gd name="T42" fmla="*/ 166 w 241"/>
                  <a:gd name="T43" fmla="*/ 133 h 326"/>
                  <a:gd name="T44" fmla="*/ 194 w 241"/>
                  <a:gd name="T45" fmla="*/ 103 h 326"/>
                  <a:gd name="T46" fmla="*/ 225 w 241"/>
                  <a:gd name="T47" fmla="*/ 74 h 326"/>
                  <a:gd name="T48" fmla="*/ 225 w 241"/>
                  <a:gd name="T49" fmla="*/ 74 h 3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1" h="326">
                    <a:moveTo>
                      <a:pt x="225" y="74"/>
                    </a:moveTo>
                    <a:lnTo>
                      <a:pt x="225" y="74"/>
                    </a:lnTo>
                    <a:lnTo>
                      <a:pt x="233" y="37"/>
                    </a:lnTo>
                    <a:lnTo>
                      <a:pt x="241" y="0"/>
                    </a:lnTo>
                    <a:lnTo>
                      <a:pt x="241" y="0"/>
                    </a:lnTo>
                    <a:lnTo>
                      <a:pt x="201" y="32"/>
                    </a:lnTo>
                    <a:lnTo>
                      <a:pt x="164" y="66"/>
                    </a:lnTo>
                    <a:lnTo>
                      <a:pt x="131" y="101"/>
                    </a:lnTo>
                    <a:lnTo>
                      <a:pt x="100" y="138"/>
                    </a:lnTo>
                    <a:lnTo>
                      <a:pt x="72" y="174"/>
                    </a:lnTo>
                    <a:lnTo>
                      <a:pt x="44" y="213"/>
                    </a:lnTo>
                    <a:lnTo>
                      <a:pt x="21" y="251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33" y="326"/>
                    </a:lnTo>
                    <a:lnTo>
                      <a:pt x="33" y="326"/>
                    </a:lnTo>
                    <a:lnTo>
                      <a:pt x="51" y="294"/>
                    </a:lnTo>
                    <a:lnTo>
                      <a:pt x="70" y="260"/>
                    </a:lnTo>
                    <a:lnTo>
                      <a:pt x="92" y="228"/>
                    </a:lnTo>
                    <a:lnTo>
                      <a:pt x="115" y="197"/>
                    </a:lnTo>
                    <a:lnTo>
                      <a:pt x="140" y="165"/>
                    </a:lnTo>
                    <a:lnTo>
                      <a:pt x="166" y="133"/>
                    </a:lnTo>
                    <a:lnTo>
                      <a:pt x="194" y="103"/>
                    </a:lnTo>
                    <a:lnTo>
                      <a:pt x="225" y="74"/>
                    </a:lnTo>
                    <a:lnTo>
                      <a:pt x="225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20"/>
              <p:cNvSpPr>
                <a:spLocks/>
              </p:cNvSpPr>
              <p:nvPr/>
            </p:nvSpPr>
            <p:spPr bwMode="auto">
              <a:xfrm>
                <a:off x="2849" y="2072"/>
                <a:ext cx="195" cy="94"/>
              </a:xfrm>
              <a:custGeom>
                <a:avLst/>
                <a:gdLst>
                  <a:gd name="T0" fmla="*/ 19 w 391"/>
                  <a:gd name="T1" fmla="*/ 120 h 189"/>
                  <a:gd name="T2" fmla="*/ 19 w 391"/>
                  <a:gd name="T3" fmla="*/ 120 h 189"/>
                  <a:gd name="T4" fmla="*/ 10 w 391"/>
                  <a:gd name="T5" fmla="*/ 154 h 189"/>
                  <a:gd name="T6" fmla="*/ 0 w 391"/>
                  <a:gd name="T7" fmla="*/ 189 h 189"/>
                  <a:gd name="T8" fmla="*/ 0 w 391"/>
                  <a:gd name="T9" fmla="*/ 189 h 189"/>
                  <a:gd name="T10" fmla="*/ 24 w 391"/>
                  <a:gd name="T11" fmla="*/ 173 h 189"/>
                  <a:gd name="T12" fmla="*/ 48 w 391"/>
                  <a:gd name="T13" fmla="*/ 158 h 189"/>
                  <a:gd name="T14" fmla="*/ 72 w 391"/>
                  <a:gd name="T15" fmla="*/ 144 h 189"/>
                  <a:gd name="T16" fmla="*/ 96 w 391"/>
                  <a:gd name="T17" fmla="*/ 131 h 189"/>
                  <a:gd name="T18" fmla="*/ 145 w 391"/>
                  <a:gd name="T19" fmla="*/ 107 h 189"/>
                  <a:gd name="T20" fmla="*/ 196 w 391"/>
                  <a:gd name="T21" fmla="*/ 88 h 189"/>
                  <a:gd name="T22" fmla="*/ 246 w 391"/>
                  <a:gd name="T23" fmla="*/ 72 h 189"/>
                  <a:gd name="T24" fmla="*/ 295 w 391"/>
                  <a:gd name="T25" fmla="*/ 58 h 189"/>
                  <a:gd name="T26" fmla="*/ 344 w 391"/>
                  <a:gd name="T27" fmla="*/ 48 h 189"/>
                  <a:gd name="T28" fmla="*/ 391 w 391"/>
                  <a:gd name="T29" fmla="*/ 40 h 189"/>
                  <a:gd name="T30" fmla="*/ 391 w 391"/>
                  <a:gd name="T31" fmla="*/ 40 h 189"/>
                  <a:gd name="T32" fmla="*/ 365 w 391"/>
                  <a:gd name="T33" fmla="*/ 20 h 189"/>
                  <a:gd name="T34" fmla="*/ 340 w 391"/>
                  <a:gd name="T35" fmla="*/ 0 h 189"/>
                  <a:gd name="T36" fmla="*/ 340 w 391"/>
                  <a:gd name="T37" fmla="*/ 0 h 189"/>
                  <a:gd name="T38" fmla="*/ 301 w 391"/>
                  <a:gd name="T39" fmla="*/ 8 h 189"/>
                  <a:gd name="T40" fmla="*/ 262 w 391"/>
                  <a:gd name="T41" fmla="*/ 18 h 189"/>
                  <a:gd name="T42" fmla="*/ 220 w 391"/>
                  <a:gd name="T43" fmla="*/ 29 h 189"/>
                  <a:gd name="T44" fmla="*/ 180 w 391"/>
                  <a:gd name="T45" fmla="*/ 43 h 189"/>
                  <a:gd name="T46" fmla="*/ 139 w 391"/>
                  <a:gd name="T47" fmla="*/ 59 h 189"/>
                  <a:gd name="T48" fmla="*/ 99 w 391"/>
                  <a:gd name="T49" fmla="*/ 77 h 189"/>
                  <a:gd name="T50" fmla="*/ 59 w 391"/>
                  <a:gd name="T51" fmla="*/ 98 h 189"/>
                  <a:gd name="T52" fmla="*/ 19 w 391"/>
                  <a:gd name="T53" fmla="*/ 120 h 189"/>
                  <a:gd name="T54" fmla="*/ 19 w 391"/>
                  <a:gd name="T55" fmla="*/ 12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91" h="189">
                    <a:moveTo>
                      <a:pt x="19" y="120"/>
                    </a:moveTo>
                    <a:lnTo>
                      <a:pt x="19" y="120"/>
                    </a:lnTo>
                    <a:lnTo>
                      <a:pt x="10" y="154"/>
                    </a:lnTo>
                    <a:lnTo>
                      <a:pt x="0" y="189"/>
                    </a:lnTo>
                    <a:lnTo>
                      <a:pt x="0" y="189"/>
                    </a:lnTo>
                    <a:lnTo>
                      <a:pt x="24" y="173"/>
                    </a:lnTo>
                    <a:lnTo>
                      <a:pt x="48" y="158"/>
                    </a:lnTo>
                    <a:lnTo>
                      <a:pt x="72" y="144"/>
                    </a:lnTo>
                    <a:lnTo>
                      <a:pt x="96" y="131"/>
                    </a:lnTo>
                    <a:lnTo>
                      <a:pt x="145" y="107"/>
                    </a:lnTo>
                    <a:lnTo>
                      <a:pt x="196" y="88"/>
                    </a:lnTo>
                    <a:lnTo>
                      <a:pt x="246" y="72"/>
                    </a:lnTo>
                    <a:lnTo>
                      <a:pt x="295" y="58"/>
                    </a:lnTo>
                    <a:lnTo>
                      <a:pt x="344" y="48"/>
                    </a:lnTo>
                    <a:lnTo>
                      <a:pt x="391" y="40"/>
                    </a:lnTo>
                    <a:lnTo>
                      <a:pt x="391" y="40"/>
                    </a:lnTo>
                    <a:lnTo>
                      <a:pt x="365" y="20"/>
                    </a:lnTo>
                    <a:lnTo>
                      <a:pt x="340" y="0"/>
                    </a:lnTo>
                    <a:lnTo>
                      <a:pt x="340" y="0"/>
                    </a:lnTo>
                    <a:lnTo>
                      <a:pt x="301" y="8"/>
                    </a:lnTo>
                    <a:lnTo>
                      <a:pt x="262" y="18"/>
                    </a:lnTo>
                    <a:lnTo>
                      <a:pt x="220" y="29"/>
                    </a:lnTo>
                    <a:lnTo>
                      <a:pt x="180" y="43"/>
                    </a:lnTo>
                    <a:lnTo>
                      <a:pt x="139" y="59"/>
                    </a:lnTo>
                    <a:lnTo>
                      <a:pt x="99" y="77"/>
                    </a:lnTo>
                    <a:lnTo>
                      <a:pt x="59" y="98"/>
                    </a:lnTo>
                    <a:lnTo>
                      <a:pt x="19" y="120"/>
                    </a:lnTo>
                    <a:lnTo>
                      <a:pt x="19" y="1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1"/>
              <p:cNvSpPr>
                <a:spLocks/>
              </p:cNvSpPr>
              <p:nvPr/>
            </p:nvSpPr>
            <p:spPr bwMode="auto">
              <a:xfrm>
                <a:off x="3051" y="2061"/>
                <a:ext cx="125" cy="27"/>
              </a:xfrm>
              <a:custGeom>
                <a:avLst/>
                <a:gdLst>
                  <a:gd name="T0" fmla="*/ 0 w 251"/>
                  <a:gd name="T1" fmla="*/ 11 h 54"/>
                  <a:gd name="T2" fmla="*/ 0 w 251"/>
                  <a:gd name="T3" fmla="*/ 11 h 54"/>
                  <a:gd name="T4" fmla="*/ 34 w 251"/>
                  <a:gd name="T5" fmla="*/ 40 h 54"/>
                  <a:gd name="T6" fmla="*/ 34 w 251"/>
                  <a:gd name="T7" fmla="*/ 40 h 54"/>
                  <a:gd name="T8" fmla="*/ 48 w 251"/>
                  <a:gd name="T9" fmla="*/ 54 h 54"/>
                  <a:gd name="T10" fmla="*/ 48 w 251"/>
                  <a:gd name="T11" fmla="*/ 54 h 54"/>
                  <a:gd name="T12" fmla="*/ 83 w 251"/>
                  <a:gd name="T13" fmla="*/ 51 h 54"/>
                  <a:gd name="T14" fmla="*/ 117 w 251"/>
                  <a:gd name="T15" fmla="*/ 50 h 54"/>
                  <a:gd name="T16" fmla="*/ 174 w 251"/>
                  <a:gd name="T17" fmla="*/ 48 h 54"/>
                  <a:gd name="T18" fmla="*/ 220 w 251"/>
                  <a:gd name="T19" fmla="*/ 48 h 54"/>
                  <a:gd name="T20" fmla="*/ 251 w 251"/>
                  <a:gd name="T21" fmla="*/ 51 h 54"/>
                  <a:gd name="T22" fmla="*/ 251 w 251"/>
                  <a:gd name="T23" fmla="*/ 51 h 54"/>
                  <a:gd name="T24" fmla="*/ 235 w 251"/>
                  <a:gd name="T25" fmla="*/ 26 h 54"/>
                  <a:gd name="T26" fmla="*/ 217 w 251"/>
                  <a:gd name="T27" fmla="*/ 2 h 54"/>
                  <a:gd name="T28" fmla="*/ 217 w 251"/>
                  <a:gd name="T29" fmla="*/ 2 h 54"/>
                  <a:gd name="T30" fmla="*/ 176 w 251"/>
                  <a:gd name="T31" fmla="*/ 0 h 54"/>
                  <a:gd name="T32" fmla="*/ 125 w 251"/>
                  <a:gd name="T33" fmla="*/ 2 h 54"/>
                  <a:gd name="T34" fmla="*/ 66 w 251"/>
                  <a:gd name="T35" fmla="*/ 5 h 54"/>
                  <a:gd name="T36" fmla="*/ 0 w 251"/>
                  <a:gd name="T37" fmla="*/ 11 h 54"/>
                  <a:gd name="T38" fmla="*/ 0 w 251"/>
                  <a:gd name="T39" fmla="*/ 1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1" h="54">
                    <a:moveTo>
                      <a:pt x="0" y="11"/>
                    </a:moveTo>
                    <a:lnTo>
                      <a:pt x="0" y="11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83" y="51"/>
                    </a:lnTo>
                    <a:lnTo>
                      <a:pt x="117" y="50"/>
                    </a:lnTo>
                    <a:lnTo>
                      <a:pt x="174" y="48"/>
                    </a:lnTo>
                    <a:lnTo>
                      <a:pt x="220" y="48"/>
                    </a:lnTo>
                    <a:lnTo>
                      <a:pt x="251" y="51"/>
                    </a:lnTo>
                    <a:lnTo>
                      <a:pt x="251" y="51"/>
                    </a:lnTo>
                    <a:lnTo>
                      <a:pt x="235" y="26"/>
                    </a:lnTo>
                    <a:lnTo>
                      <a:pt x="217" y="2"/>
                    </a:lnTo>
                    <a:lnTo>
                      <a:pt x="217" y="2"/>
                    </a:lnTo>
                    <a:lnTo>
                      <a:pt x="176" y="0"/>
                    </a:lnTo>
                    <a:lnTo>
                      <a:pt x="125" y="2"/>
                    </a:lnTo>
                    <a:lnTo>
                      <a:pt x="66" y="5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22"/>
              <p:cNvSpPr>
                <a:spLocks/>
              </p:cNvSpPr>
              <p:nvPr/>
            </p:nvSpPr>
            <p:spPr bwMode="auto">
              <a:xfrm>
                <a:off x="2653" y="2319"/>
                <a:ext cx="60" cy="138"/>
              </a:xfrm>
              <a:custGeom>
                <a:avLst/>
                <a:gdLst>
                  <a:gd name="T0" fmla="*/ 86 w 121"/>
                  <a:gd name="T1" fmla="*/ 0 h 276"/>
                  <a:gd name="T2" fmla="*/ 86 w 121"/>
                  <a:gd name="T3" fmla="*/ 0 h 276"/>
                  <a:gd name="T4" fmla="*/ 70 w 121"/>
                  <a:gd name="T5" fmla="*/ 33 h 276"/>
                  <a:gd name="T6" fmla="*/ 56 w 121"/>
                  <a:gd name="T7" fmla="*/ 67 h 276"/>
                  <a:gd name="T8" fmla="*/ 32 w 121"/>
                  <a:gd name="T9" fmla="*/ 127 h 276"/>
                  <a:gd name="T10" fmla="*/ 13 w 121"/>
                  <a:gd name="T11" fmla="*/ 183 h 276"/>
                  <a:gd name="T12" fmla="*/ 0 w 121"/>
                  <a:gd name="T13" fmla="*/ 228 h 276"/>
                  <a:gd name="T14" fmla="*/ 0 w 121"/>
                  <a:gd name="T15" fmla="*/ 228 h 276"/>
                  <a:gd name="T16" fmla="*/ 17 w 121"/>
                  <a:gd name="T17" fmla="*/ 252 h 276"/>
                  <a:gd name="T18" fmla="*/ 36 w 121"/>
                  <a:gd name="T19" fmla="*/ 276 h 276"/>
                  <a:gd name="T20" fmla="*/ 36 w 121"/>
                  <a:gd name="T21" fmla="*/ 276 h 276"/>
                  <a:gd name="T22" fmla="*/ 48 w 121"/>
                  <a:gd name="T23" fmla="*/ 234 h 276"/>
                  <a:gd name="T24" fmla="*/ 64 w 121"/>
                  <a:gd name="T25" fmla="*/ 180 h 276"/>
                  <a:gd name="T26" fmla="*/ 75 w 121"/>
                  <a:gd name="T27" fmla="*/ 146 h 276"/>
                  <a:gd name="T28" fmla="*/ 87 w 121"/>
                  <a:gd name="T29" fmla="*/ 113 h 276"/>
                  <a:gd name="T30" fmla="*/ 103 w 121"/>
                  <a:gd name="T31" fmla="*/ 76 h 276"/>
                  <a:gd name="T32" fmla="*/ 121 w 121"/>
                  <a:gd name="T33" fmla="*/ 38 h 276"/>
                  <a:gd name="T34" fmla="*/ 121 w 121"/>
                  <a:gd name="T35" fmla="*/ 38 h 276"/>
                  <a:gd name="T36" fmla="*/ 86 w 121"/>
                  <a:gd name="T37" fmla="*/ 0 h 276"/>
                  <a:gd name="T38" fmla="*/ 86 w 121"/>
                  <a:gd name="T39" fmla="*/ 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1" h="276">
                    <a:moveTo>
                      <a:pt x="86" y="0"/>
                    </a:moveTo>
                    <a:lnTo>
                      <a:pt x="86" y="0"/>
                    </a:lnTo>
                    <a:lnTo>
                      <a:pt x="70" y="33"/>
                    </a:lnTo>
                    <a:lnTo>
                      <a:pt x="56" y="67"/>
                    </a:lnTo>
                    <a:lnTo>
                      <a:pt x="32" y="127"/>
                    </a:lnTo>
                    <a:lnTo>
                      <a:pt x="13" y="183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17" y="252"/>
                    </a:lnTo>
                    <a:lnTo>
                      <a:pt x="36" y="276"/>
                    </a:lnTo>
                    <a:lnTo>
                      <a:pt x="36" y="276"/>
                    </a:lnTo>
                    <a:lnTo>
                      <a:pt x="48" y="234"/>
                    </a:lnTo>
                    <a:lnTo>
                      <a:pt x="64" y="180"/>
                    </a:lnTo>
                    <a:lnTo>
                      <a:pt x="75" y="146"/>
                    </a:lnTo>
                    <a:lnTo>
                      <a:pt x="87" y="113"/>
                    </a:lnTo>
                    <a:lnTo>
                      <a:pt x="103" y="76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86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3"/>
              <p:cNvSpPr>
                <a:spLocks/>
              </p:cNvSpPr>
              <p:nvPr/>
            </p:nvSpPr>
            <p:spPr bwMode="auto">
              <a:xfrm>
                <a:off x="2828" y="2009"/>
                <a:ext cx="83" cy="144"/>
              </a:xfrm>
              <a:custGeom>
                <a:avLst/>
                <a:gdLst>
                  <a:gd name="T0" fmla="*/ 60 w 165"/>
                  <a:gd name="T1" fmla="*/ 246 h 287"/>
                  <a:gd name="T2" fmla="*/ 60 w 165"/>
                  <a:gd name="T3" fmla="*/ 246 h 287"/>
                  <a:gd name="T4" fmla="*/ 71 w 165"/>
                  <a:gd name="T5" fmla="*/ 214 h 287"/>
                  <a:gd name="T6" fmla="*/ 82 w 165"/>
                  <a:gd name="T7" fmla="*/ 182 h 287"/>
                  <a:gd name="T8" fmla="*/ 95 w 165"/>
                  <a:gd name="T9" fmla="*/ 152 h 287"/>
                  <a:gd name="T10" fmla="*/ 108 w 165"/>
                  <a:gd name="T11" fmla="*/ 122 h 287"/>
                  <a:gd name="T12" fmla="*/ 137 w 165"/>
                  <a:gd name="T13" fmla="*/ 66 h 287"/>
                  <a:gd name="T14" fmla="*/ 165 w 165"/>
                  <a:gd name="T15" fmla="*/ 16 h 287"/>
                  <a:gd name="T16" fmla="*/ 165 w 165"/>
                  <a:gd name="T17" fmla="*/ 16 h 287"/>
                  <a:gd name="T18" fmla="*/ 118 w 165"/>
                  <a:gd name="T19" fmla="*/ 0 h 287"/>
                  <a:gd name="T20" fmla="*/ 118 w 165"/>
                  <a:gd name="T21" fmla="*/ 0 h 287"/>
                  <a:gd name="T22" fmla="*/ 102 w 165"/>
                  <a:gd name="T23" fmla="*/ 31 h 287"/>
                  <a:gd name="T24" fmla="*/ 84 w 165"/>
                  <a:gd name="T25" fmla="*/ 63 h 287"/>
                  <a:gd name="T26" fmla="*/ 67 w 165"/>
                  <a:gd name="T27" fmla="*/ 96 h 287"/>
                  <a:gd name="T28" fmla="*/ 51 w 165"/>
                  <a:gd name="T29" fmla="*/ 133 h 287"/>
                  <a:gd name="T30" fmla="*/ 36 w 165"/>
                  <a:gd name="T31" fmla="*/ 169 h 287"/>
                  <a:gd name="T32" fmla="*/ 22 w 165"/>
                  <a:gd name="T33" fmla="*/ 208 h 287"/>
                  <a:gd name="T34" fmla="*/ 9 w 165"/>
                  <a:gd name="T35" fmla="*/ 248 h 287"/>
                  <a:gd name="T36" fmla="*/ 0 w 165"/>
                  <a:gd name="T37" fmla="*/ 287 h 287"/>
                  <a:gd name="T38" fmla="*/ 0 w 165"/>
                  <a:gd name="T39" fmla="*/ 287 h 287"/>
                  <a:gd name="T40" fmla="*/ 4 w 165"/>
                  <a:gd name="T41" fmla="*/ 283 h 287"/>
                  <a:gd name="T42" fmla="*/ 4 w 165"/>
                  <a:gd name="T43" fmla="*/ 283 h 287"/>
                  <a:gd name="T44" fmla="*/ 31 w 165"/>
                  <a:gd name="T45" fmla="*/ 264 h 287"/>
                  <a:gd name="T46" fmla="*/ 60 w 165"/>
                  <a:gd name="T47" fmla="*/ 246 h 287"/>
                  <a:gd name="T48" fmla="*/ 60 w 165"/>
                  <a:gd name="T49" fmla="*/ 246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5" h="287">
                    <a:moveTo>
                      <a:pt x="60" y="246"/>
                    </a:moveTo>
                    <a:lnTo>
                      <a:pt x="60" y="246"/>
                    </a:lnTo>
                    <a:lnTo>
                      <a:pt x="71" y="214"/>
                    </a:lnTo>
                    <a:lnTo>
                      <a:pt x="82" y="182"/>
                    </a:lnTo>
                    <a:lnTo>
                      <a:pt x="95" y="152"/>
                    </a:lnTo>
                    <a:lnTo>
                      <a:pt x="108" y="122"/>
                    </a:lnTo>
                    <a:lnTo>
                      <a:pt x="137" y="66"/>
                    </a:lnTo>
                    <a:lnTo>
                      <a:pt x="165" y="16"/>
                    </a:lnTo>
                    <a:lnTo>
                      <a:pt x="165" y="16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2" y="31"/>
                    </a:lnTo>
                    <a:lnTo>
                      <a:pt x="84" y="63"/>
                    </a:lnTo>
                    <a:lnTo>
                      <a:pt x="67" y="96"/>
                    </a:lnTo>
                    <a:lnTo>
                      <a:pt x="51" y="133"/>
                    </a:lnTo>
                    <a:lnTo>
                      <a:pt x="36" y="169"/>
                    </a:lnTo>
                    <a:lnTo>
                      <a:pt x="22" y="208"/>
                    </a:lnTo>
                    <a:lnTo>
                      <a:pt x="9" y="248"/>
                    </a:lnTo>
                    <a:lnTo>
                      <a:pt x="0" y="287"/>
                    </a:lnTo>
                    <a:lnTo>
                      <a:pt x="0" y="287"/>
                    </a:lnTo>
                    <a:lnTo>
                      <a:pt x="4" y="283"/>
                    </a:lnTo>
                    <a:lnTo>
                      <a:pt x="4" y="283"/>
                    </a:lnTo>
                    <a:lnTo>
                      <a:pt x="31" y="264"/>
                    </a:lnTo>
                    <a:lnTo>
                      <a:pt x="60" y="246"/>
                    </a:lnTo>
                    <a:lnTo>
                      <a:pt x="60" y="2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4"/>
              <p:cNvSpPr>
                <a:spLocks/>
              </p:cNvSpPr>
              <p:nvPr/>
            </p:nvSpPr>
            <p:spPr bwMode="auto">
              <a:xfrm>
                <a:off x="2901" y="1937"/>
                <a:ext cx="64" cy="59"/>
              </a:xfrm>
              <a:custGeom>
                <a:avLst/>
                <a:gdLst>
                  <a:gd name="T0" fmla="*/ 46 w 127"/>
                  <a:gd name="T1" fmla="*/ 118 h 118"/>
                  <a:gd name="T2" fmla="*/ 46 w 127"/>
                  <a:gd name="T3" fmla="*/ 118 h 118"/>
                  <a:gd name="T4" fmla="*/ 70 w 127"/>
                  <a:gd name="T5" fmla="*/ 83 h 118"/>
                  <a:gd name="T6" fmla="*/ 92 w 127"/>
                  <a:gd name="T7" fmla="*/ 53 h 118"/>
                  <a:gd name="T8" fmla="*/ 127 w 127"/>
                  <a:gd name="T9" fmla="*/ 6 h 118"/>
                  <a:gd name="T10" fmla="*/ 127 w 127"/>
                  <a:gd name="T11" fmla="*/ 6 h 118"/>
                  <a:gd name="T12" fmla="*/ 100 w 127"/>
                  <a:gd name="T13" fmla="*/ 3 h 118"/>
                  <a:gd name="T14" fmla="*/ 73 w 127"/>
                  <a:gd name="T15" fmla="*/ 0 h 118"/>
                  <a:gd name="T16" fmla="*/ 73 w 127"/>
                  <a:gd name="T17" fmla="*/ 0 h 118"/>
                  <a:gd name="T18" fmla="*/ 38 w 127"/>
                  <a:gd name="T19" fmla="*/ 45 h 118"/>
                  <a:gd name="T20" fmla="*/ 19 w 127"/>
                  <a:gd name="T21" fmla="*/ 72 h 118"/>
                  <a:gd name="T22" fmla="*/ 0 w 127"/>
                  <a:gd name="T23" fmla="*/ 102 h 118"/>
                  <a:gd name="T24" fmla="*/ 0 w 127"/>
                  <a:gd name="T25" fmla="*/ 102 h 118"/>
                  <a:gd name="T26" fmla="*/ 46 w 127"/>
                  <a:gd name="T27" fmla="*/ 118 h 118"/>
                  <a:gd name="T28" fmla="*/ 46 w 127"/>
                  <a:gd name="T2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7" h="118">
                    <a:moveTo>
                      <a:pt x="46" y="118"/>
                    </a:moveTo>
                    <a:lnTo>
                      <a:pt x="46" y="118"/>
                    </a:lnTo>
                    <a:lnTo>
                      <a:pt x="70" y="83"/>
                    </a:lnTo>
                    <a:lnTo>
                      <a:pt x="92" y="53"/>
                    </a:lnTo>
                    <a:lnTo>
                      <a:pt x="127" y="6"/>
                    </a:lnTo>
                    <a:lnTo>
                      <a:pt x="127" y="6"/>
                    </a:lnTo>
                    <a:lnTo>
                      <a:pt x="100" y="3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38" y="45"/>
                    </a:lnTo>
                    <a:lnTo>
                      <a:pt x="19" y="7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46" y="118"/>
                    </a:lnTo>
                    <a:lnTo>
                      <a:pt x="46" y="1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25"/>
              <p:cNvSpPr>
                <a:spLocks/>
              </p:cNvSpPr>
              <p:nvPr/>
            </p:nvSpPr>
            <p:spPr bwMode="auto">
              <a:xfrm>
                <a:off x="2816" y="2166"/>
                <a:ext cx="63" cy="253"/>
              </a:xfrm>
              <a:custGeom>
                <a:avLst/>
                <a:gdLst>
                  <a:gd name="T0" fmla="*/ 8 w 126"/>
                  <a:gd name="T1" fmla="*/ 46 h 505"/>
                  <a:gd name="T2" fmla="*/ 8 w 126"/>
                  <a:gd name="T3" fmla="*/ 46 h 505"/>
                  <a:gd name="T4" fmla="*/ 4 w 126"/>
                  <a:gd name="T5" fmla="*/ 75 h 505"/>
                  <a:gd name="T6" fmla="*/ 1 w 126"/>
                  <a:gd name="T7" fmla="*/ 103 h 505"/>
                  <a:gd name="T8" fmla="*/ 0 w 126"/>
                  <a:gd name="T9" fmla="*/ 134 h 505"/>
                  <a:gd name="T10" fmla="*/ 0 w 126"/>
                  <a:gd name="T11" fmla="*/ 164 h 505"/>
                  <a:gd name="T12" fmla="*/ 0 w 126"/>
                  <a:gd name="T13" fmla="*/ 164 h 505"/>
                  <a:gd name="T14" fmla="*/ 1 w 126"/>
                  <a:gd name="T15" fmla="*/ 207 h 505"/>
                  <a:gd name="T16" fmla="*/ 4 w 126"/>
                  <a:gd name="T17" fmla="*/ 248 h 505"/>
                  <a:gd name="T18" fmla="*/ 9 w 126"/>
                  <a:gd name="T19" fmla="*/ 290 h 505"/>
                  <a:gd name="T20" fmla="*/ 17 w 126"/>
                  <a:gd name="T21" fmla="*/ 330 h 505"/>
                  <a:gd name="T22" fmla="*/ 27 w 126"/>
                  <a:gd name="T23" fmla="*/ 368 h 505"/>
                  <a:gd name="T24" fmla="*/ 38 w 126"/>
                  <a:gd name="T25" fmla="*/ 406 h 505"/>
                  <a:gd name="T26" fmla="*/ 49 w 126"/>
                  <a:gd name="T27" fmla="*/ 444 h 505"/>
                  <a:gd name="T28" fmla="*/ 63 w 126"/>
                  <a:gd name="T29" fmla="*/ 480 h 505"/>
                  <a:gd name="T30" fmla="*/ 63 w 126"/>
                  <a:gd name="T31" fmla="*/ 480 h 505"/>
                  <a:gd name="T32" fmla="*/ 94 w 126"/>
                  <a:gd name="T33" fmla="*/ 492 h 505"/>
                  <a:gd name="T34" fmla="*/ 126 w 126"/>
                  <a:gd name="T35" fmla="*/ 505 h 505"/>
                  <a:gd name="T36" fmla="*/ 126 w 126"/>
                  <a:gd name="T37" fmla="*/ 505 h 505"/>
                  <a:gd name="T38" fmla="*/ 110 w 126"/>
                  <a:gd name="T39" fmla="*/ 467 h 505"/>
                  <a:gd name="T40" fmla="*/ 94 w 126"/>
                  <a:gd name="T41" fmla="*/ 427 h 505"/>
                  <a:gd name="T42" fmla="*/ 81 w 126"/>
                  <a:gd name="T43" fmla="*/ 385 h 505"/>
                  <a:gd name="T44" fmla="*/ 70 w 126"/>
                  <a:gd name="T45" fmla="*/ 344 h 505"/>
                  <a:gd name="T46" fmla="*/ 60 w 126"/>
                  <a:gd name="T47" fmla="*/ 299 h 505"/>
                  <a:gd name="T48" fmla="*/ 52 w 126"/>
                  <a:gd name="T49" fmla="*/ 255 h 505"/>
                  <a:gd name="T50" fmla="*/ 47 w 126"/>
                  <a:gd name="T51" fmla="*/ 210 h 505"/>
                  <a:gd name="T52" fmla="*/ 46 w 126"/>
                  <a:gd name="T53" fmla="*/ 164 h 505"/>
                  <a:gd name="T54" fmla="*/ 46 w 126"/>
                  <a:gd name="T55" fmla="*/ 164 h 505"/>
                  <a:gd name="T56" fmla="*/ 47 w 126"/>
                  <a:gd name="T57" fmla="*/ 121 h 505"/>
                  <a:gd name="T58" fmla="*/ 51 w 126"/>
                  <a:gd name="T59" fmla="*/ 81 h 505"/>
                  <a:gd name="T60" fmla="*/ 57 w 126"/>
                  <a:gd name="T61" fmla="*/ 39 h 505"/>
                  <a:gd name="T62" fmla="*/ 65 w 126"/>
                  <a:gd name="T63" fmla="*/ 0 h 505"/>
                  <a:gd name="T64" fmla="*/ 65 w 126"/>
                  <a:gd name="T65" fmla="*/ 0 h 505"/>
                  <a:gd name="T66" fmla="*/ 57 w 126"/>
                  <a:gd name="T67" fmla="*/ 6 h 505"/>
                  <a:gd name="T68" fmla="*/ 57 w 126"/>
                  <a:gd name="T69" fmla="*/ 6 h 505"/>
                  <a:gd name="T70" fmla="*/ 32 w 126"/>
                  <a:gd name="T71" fmla="*/ 25 h 505"/>
                  <a:gd name="T72" fmla="*/ 8 w 126"/>
                  <a:gd name="T73" fmla="*/ 46 h 505"/>
                  <a:gd name="T74" fmla="*/ 8 w 126"/>
                  <a:gd name="T75" fmla="*/ 46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6" h="505">
                    <a:moveTo>
                      <a:pt x="8" y="46"/>
                    </a:moveTo>
                    <a:lnTo>
                      <a:pt x="8" y="46"/>
                    </a:lnTo>
                    <a:lnTo>
                      <a:pt x="4" y="75"/>
                    </a:lnTo>
                    <a:lnTo>
                      <a:pt x="1" y="103"/>
                    </a:lnTo>
                    <a:lnTo>
                      <a:pt x="0" y="13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1" y="207"/>
                    </a:lnTo>
                    <a:lnTo>
                      <a:pt x="4" y="248"/>
                    </a:lnTo>
                    <a:lnTo>
                      <a:pt x="9" y="290"/>
                    </a:lnTo>
                    <a:lnTo>
                      <a:pt x="17" y="330"/>
                    </a:lnTo>
                    <a:lnTo>
                      <a:pt x="27" y="368"/>
                    </a:lnTo>
                    <a:lnTo>
                      <a:pt x="38" y="406"/>
                    </a:lnTo>
                    <a:lnTo>
                      <a:pt x="49" y="444"/>
                    </a:lnTo>
                    <a:lnTo>
                      <a:pt x="63" y="480"/>
                    </a:lnTo>
                    <a:lnTo>
                      <a:pt x="63" y="480"/>
                    </a:lnTo>
                    <a:lnTo>
                      <a:pt x="94" y="492"/>
                    </a:lnTo>
                    <a:lnTo>
                      <a:pt x="126" y="505"/>
                    </a:lnTo>
                    <a:lnTo>
                      <a:pt x="126" y="505"/>
                    </a:lnTo>
                    <a:lnTo>
                      <a:pt x="110" y="467"/>
                    </a:lnTo>
                    <a:lnTo>
                      <a:pt x="94" y="427"/>
                    </a:lnTo>
                    <a:lnTo>
                      <a:pt x="81" y="385"/>
                    </a:lnTo>
                    <a:lnTo>
                      <a:pt x="70" y="344"/>
                    </a:lnTo>
                    <a:lnTo>
                      <a:pt x="60" y="299"/>
                    </a:lnTo>
                    <a:lnTo>
                      <a:pt x="52" y="255"/>
                    </a:lnTo>
                    <a:lnTo>
                      <a:pt x="47" y="210"/>
                    </a:lnTo>
                    <a:lnTo>
                      <a:pt x="46" y="164"/>
                    </a:lnTo>
                    <a:lnTo>
                      <a:pt x="46" y="164"/>
                    </a:lnTo>
                    <a:lnTo>
                      <a:pt x="47" y="121"/>
                    </a:lnTo>
                    <a:lnTo>
                      <a:pt x="51" y="81"/>
                    </a:lnTo>
                    <a:lnTo>
                      <a:pt x="57" y="39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32" y="25"/>
                    </a:lnTo>
                    <a:lnTo>
                      <a:pt x="8" y="46"/>
                    </a:lnTo>
                    <a:lnTo>
                      <a:pt x="8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26"/>
              <p:cNvSpPr>
                <a:spLocks/>
              </p:cNvSpPr>
              <p:nvPr/>
            </p:nvSpPr>
            <p:spPr bwMode="auto">
              <a:xfrm>
                <a:off x="2862" y="2437"/>
                <a:ext cx="105" cy="126"/>
              </a:xfrm>
              <a:custGeom>
                <a:avLst/>
                <a:gdLst>
                  <a:gd name="T0" fmla="*/ 0 w 210"/>
                  <a:gd name="T1" fmla="*/ 0 h 250"/>
                  <a:gd name="T2" fmla="*/ 0 w 210"/>
                  <a:gd name="T3" fmla="*/ 0 h 250"/>
                  <a:gd name="T4" fmla="*/ 19 w 210"/>
                  <a:gd name="T5" fmla="*/ 41 h 250"/>
                  <a:gd name="T6" fmla="*/ 41 w 210"/>
                  <a:gd name="T7" fmla="*/ 79 h 250"/>
                  <a:gd name="T8" fmla="*/ 62 w 210"/>
                  <a:gd name="T9" fmla="*/ 116 h 250"/>
                  <a:gd name="T10" fmla="*/ 82 w 210"/>
                  <a:gd name="T11" fmla="*/ 150 h 250"/>
                  <a:gd name="T12" fmla="*/ 103 w 210"/>
                  <a:gd name="T13" fmla="*/ 180 h 250"/>
                  <a:gd name="T14" fmla="*/ 122 w 210"/>
                  <a:gd name="T15" fmla="*/ 207 h 250"/>
                  <a:gd name="T16" fmla="*/ 156 w 210"/>
                  <a:gd name="T17" fmla="*/ 250 h 250"/>
                  <a:gd name="T18" fmla="*/ 156 w 210"/>
                  <a:gd name="T19" fmla="*/ 250 h 250"/>
                  <a:gd name="T20" fmla="*/ 183 w 210"/>
                  <a:gd name="T21" fmla="*/ 247 h 250"/>
                  <a:gd name="T22" fmla="*/ 210 w 210"/>
                  <a:gd name="T23" fmla="*/ 242 h 250"/>
                  <a:gd name="T24" fmla="*/ 210 w 210"/>
                  <a:gd name="T25" fmla="*/ 242 h 250"/>
                  <a:gd name="T26" fmla="*/ 183 w 210"/>
                  <a:gd name="T27" fmla="*/ 209 h 250"/>
                  <a:gd name="T28" fmla="*/ 148 w 210"/>
                  <a:gd name="T29" fmla="*/ 159 h 250"/>
                  <a:gd name="T30" fmla="*/ 127 w 210"/>
                  <a:gd name="T31" fmla="*/ 130 h 250"/>
                  <a:gd name="T32" fmla="*/ 106 w 210"/>
                  <a:gd name="T33" fmla="*/ 97 h 250"/>
                  <a:gd name="T34" fmla="*/ 84 w 210"/>
                  <a:gd name="T35" fmla="*/ 60 h 250"/>
                  <a:gd name="T36" fmla="*/ 63 w 210"/>
                  <a:gd name="T37" fmla="*/ 20 h 250"/>
                  <a:gd name="T38" fmla="*/ 63 w 210"/>
                  <a:gd name="T39" fmla="*/ 20 h 250"/>
                  <a:gd name="T40" fmla="*/ 31 w 210"/>
                  <a:gd name="T41" fmla="*/ 11 h 250"/>
                  <a:gd name="T42" fmla="*/ 0 w 210"/>
                  <a:gd name="T43" fmla="*/ 0 h 250"/>
                  <a:gd name="T44" fmla="*/ 0 w 210"/>
                  <a:gd name="T45" fmla="*/ 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10" h="250">
                    <a:moveTo>
                      <a:pt x="0" y="0"/>
                    </a:moveTo>
                    <a:lnTo>
                      <a:pt x="0" y="0"/>
                    </a:lnTo>
                    <a:lnTo>
                      <a:pt x="19" y="41"/>
                    </a:lnTo>
                    <a:lnTo>
                      <a:pt x="41" y="79"/>
                    </a:lnTo>
                    <a:lnTo>
                      <a:pt x="62" y="116"/>
                    </a:lnTo>
                    <a:lnTo>
                      <a:pt x="82" y="150"/>
                    </a:lnTo>
                    <a:lnTo>
                      <a:pt x="103" y="180"/>
                    </a:lnTo>
                    <a:lnTo>
                      <a:pt x="122" y="207"/>
                    </a:lnTo>
                    <a:lnTo>
                      <a:pt x="156" y="250"/>
                    </a:lnTo>
                    <a:lnTo>
                      <a:pt x="156" y="250"/>
                    </a:lnTo>
                    <a:lnTo>
                      <a:pt x="183" y="247"/>
                    </a:lnTo>
                    <a:lnTo>
                      <a:pt x="210" y="242"/>
                    </a:lnTo>
                    <a:lnTo>
                      <a:pt x="210" y="242"/>
                    </a:lnTo>
                    <a:lnTo>
                      <a:pt x="183" y="209"/>
                    </a:lnTo>
                    <a:lnTo>
                      <a:pt x="148" y="159"/>
                    </a:lnTo>
                    <a:lnTo>
                      <a:pt x="127" y="130"/>
                    </a:lnTo>
                    <a:lnTo>
                      <a:pt x="106" y="97"/>
                    </a:lnTo>
                    <a:lnTo>
                      <a:pt x="84" y="60"/>
                    </a:lnTo>
                    <a:lnTo>
                      <a:pt x="63" y="20"/>
                    </a:lnTo>
                    <a:lnTo>
                      <a:pt x="63" y="20"/>
                    </a:lnTo>
                    <a:lnTo>
                      <a:pt x="31" y="1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27"/>
              <p:cNvSpPr>
                <a:spLocks/>
              </p:cNvSpPr>
              <p:nvPr/>
            </p:nvSpPr>
            <p:spPr bwMode="auto">
              <a:xfrm>
                <a:off x="2820" y="2132"/>
                <a:ext cx="39" cy="57"/>
              </a:xfrm>
              <a:custGeom>
                <a:avLst/>
                <a:gdLst>
                  <a:gd name="T0" fmla="*/ 20 w 76"/>
                  <a:gd name="T1" fmla="*/ 37 h 115"/>
                  <a:gd name="T2" fmla="*/ 20 w 76"/>
                  <a:gd name="T3" fmla="*/ 37 h 115"/>
                  <a:gd name="T4" fmla="*/ 16 w 76"/>
                  <a:gd name="T5" fmla="*/ 41 h 115"/>
                  <a:gd name="T6" fmla="*/ 16 w 76"/>
                  <a:gd name="T7" fmla="*/ 41 h 115"/>
                  <a:gd name="T8" fmla="*/ 8 w 76"/>
                  <a:gd name="T9" fmla="*/ 78 h 115"/>
                  <a:gd name="T10" fmla="*/ 0 w 76"/>
                  <a:gd name="T11" fmla="*/ 115 h 115"/>
                  <a:gd name="T12" fmla="*/ 0 w 76"/>
                  <a:gd name="T13" fmla="*/ 115 h 115"/>
                  <a:gd name="T14" fmla="*/ 24 w 76"/>
                  <a:gd name="T15" fmla="*/ 94 h 115"/>
                  <a:gd name="T16" fmla="*/ 49 w 76"/>
                  <a:gd name="T17" fmla="*/ 75 h 115"/>
                  <a:gd name="T18" fmla="*/ 49 w 76"/>
                  <a:gd name="T19" fmla="*/ 75 h 115"/>
                  <a:gd name="T20" fmla="*/ 57 w 76"/>
                  <a:gd name="T21" fmla="*/ 69 h 115"/>
                  <a:gd name="T22" fmla="*/ 57 w 76"/>
                  <a:gd name="T23" fmla="*/ 69 h 115"/>
                  <a:gd name="T24" fmla="*/ 67 w 76"/>
                  <a:gd name="T25" fmla="*/ 34 h 115"/>
                  <a:gd name="T26" fmla="*/ 76 w 76"/>
                  <a:gd name="T27" fmla="*/ 0 h 115"/>
                  <a:gd name="T28" fmla="*/ 76 w 76"/>
                  <a:gd name="T29" fmla="*/ 0 h 115"/>
                  <a:gd name="T30" fmla="*/ 47 w 76"/>
                  <a:gd name="T31" fmla="*/ 18 h 115"/>
                  <a:gd name="T32" fmla="*/ 20 w 76"/>
                  <a:gd name="T33" fmla="*/ 37 h 115"/>
                  <a:gd name="T34" fmla="*/ 20 w 76"/>
                  <a:gd name="T35" fmla="*/ 37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6" h="115">
                    <a:moveTo>
                      <a:pt x="20" y="37"/>
                    </a:moveTo>
                    <a:lnTo>
                      <a:pt x="20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8" y="78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24" y="94"/>
                    </a:lnTo>
                    <a:lnTo>
                      <a:pt x="49" y="75"/>
                    </a:lnTo>
                    <a:lnTo>
                      <a:pt x="49" y="75"/>
                    </a:lnTo>
                    <a:lnTo>
                      <a:pt x="57" y="69"/>
                    </a:lnTo>
                    <a:lnTo>
                      <a:pt x="57" y="69"/>
                    </a:lnTo>
                    <a:lnTo>
                      <a:pt x="67" y="34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47" y="18"/>
                    </a:lnTo>
                    <a:lnTo>
                      <a:pt x="20" y="37"/>
                    </a:lnTo>
                    <a:lnTo>
                      <a:pt x="20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28"/>
              <p:cNvSpPr>
                <a:spLocks/>
              </p:cNvSpPr>
              <p:nvPr/>
            </p:nvSpPr>
            <p:spPr bwMode="auto">
              <a:xfrm>
                <a:off x="2879" y="2419"/>
                <a:ext cx="286" cy="49"/>
              </a:xfrm>
              <a:custGeom>
                <a:avLst/>
                <a:gdLst>
                  <a:gd name="T0" fmla="*/ 0 w 570"/>
                  <a:gd name="T1" fmla="*/ 0 h 97"/>
                  <a:gd name="T2" fmla="*/ 0 w 570"/>
                  <a:gd name="T3" fmla="*/ 0 h 97"/>
                  <a:gd name="T4" fmla="*/ 14 w 570"/>
                  <a:gd name="T5" fmla="*/ 29 h 97"/>
                  <a:gd name="T6" fmla="*/ 28 w 570"/>
                  <a:gd name="T7" fmla="*/ 57 h 97"/>
                  <a:gd name="T8" fmla="*/ 28 w 570"/>
                  <a:gd name="T9" fmla="*/ 57 h 97"/>
                  <a:gd name="T10" fmla="*/ 67 w 570"/>
                  <a:gd name="T11" fmla="*/ 69 h 97"/>
                  <a:gd name="T12" fmla="*/ 103 w 570"/>
                  <a:gd name="T13" fmla="*/ 77 h 97"/>
                  <a:gd name="T14" fmla="*/ 142 w 570"/>
                  <a:gd name="T15" fmla="*/ 83 h 97"/>
                  <a:gd name="T16" fmla="*/ 178 w 570"/>
                  <a:gd name="T17" fmla="*/ 88 h 97"/>
                  <a:gd name="T18" fmla="*/ 215 w 570"/>
                  <a:gd name="T19" fmla="*/ 93 h 97"/>
                  <a:gd name="T20" fmla="*/ 250 w 570"/>
                  <a:gd name="T21" fmla="*/ 94 h 97"/>
                  <a:gd name="T22" fmla="*/ 285 w 570"/>
                  <a:gd name="T23" fmla="*/ 96 h 97"/>
                  <a:gd name="T24" fmla="*/ 318 w 570"/>
                  <a:gd name="T25" fmla="*/ 97 h 97"/>
                  <a:gd name="T26" fmla="*/ 318 w 570"/>
                  <a:gd name="T27" fmla="*/ 97 h 97"/>
                  <a:gd name="T28" fmla="*/ 381 w 570"/>
                  <a:gd name="T29" fmla="*/ 96 h 97"/>
                  <a:gd name="T30" fmla="*/ 438 w 570"/>
                  <a:gd name="T31" fmla="*/ 91 h 97"/>
                  <a:gd name="T32" fmla="*/ 486 w 570"/>
                  <a:gd name="T33" fmla="*/ 85 h 97"/>
                  <a:gd name="T34" fmla="*/ 527 w 570"/>
                  <a:gd name="T35" fmla="*/ 80 h 97"/>
                  <a:gd name="T36" fmla="*/ 527 w 570"/>
                  <a:gd name="T37" fmla="*/ 80 h 97"/>
                  <a:gd name="T38" fmla="*/ 550 w 570"/>
                  <a:gd name="T39" fmla="*/ 53 h 97"/>
                  <a:gd name="T40" fmla="*/ 570 w 570"/>
                  <a:gd name="T41" fmla="*/ 24 h 97"/>
                  <a:gd name="T42" fmla="*/ 570 w 570"/>
                  <a:gd name="T43" fmla="*/ 22 h 97"/>
                  <a:gd name="T44" fmla="*/ 570 w 570"/>
                  <a:gd name="T45" fmla="*/ 22 h 97"/>
                  <a:gd name="T46" fmla="*/ 556 w 570"/>
                  <a:gd name="T47" fmla="*/ 26 h 97"/>
                  <a:gd name="T48" fmla="*/ 518 w 570"/>
                  <a:gd name="T49" fmla="*/ 32 h 97"/>
                  <a:gd name="T50" fmla="*/ 460 w 570"/>
                  <a:gd name="T51" fmla="*/ 40 h 97"/>
                  <a:gd name="T52" fmla="*/ 425 w 570"/>
                  <a:gd name="T53" fmla="*/ 45 h 97"/>
                  <a:gd name="T54" fmla="*/ 387 w 570"/>
                  <a:gd name="T55" fmla="*/ 46 h 97"/>
                  <a:gd name="T56" fmla="*/ 344 w 570"/>
                  <a:gd name="T57" fmla="*/ 48 h 97"/>
                  <a:gd name="T58" fmla="*/ 299 w 570"/>
                  <a:gd name="T59" fmla="*/ 48 h 97"/>
                  <a:gd name="T60" fmla="*/ 253 w 570"/>
                  <a:gd name="T61" fmla="*/ 46 h 97"/>
                  <a:gd name="T62" fmla="*/ 204 w 570"/>
                  <a:gd name="T63" fmla="*/ 43 h 97"/>
                  <a:gd name="T64" fmla="*/ 154 w 570"/>
                  <a:gd name="T65" fmla="*/ 37 h 97"/>
                  <a:gd name="T66" fmla="*/ 103 w 570"/>
                  <a:gd name="T67" fmla="*/ 27 h 97"/>
                  <a:gd name="T68" fmla="*/ 51 w 570"/>
                  <a:gd name="T69" fmla="*/ 16 h 97"/>
                  <a:gd name="T70" fmla="*/ 0 w 570"/>
                  <a:gd name="T71" fmla="*/ 0 h 97"/>
                  <a:gd name="T72" fmla="*/ 0 w 570"/>
                  <a:gd name="T73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0" h="97">
                    <a:moveTo>
                      <a:pt x="0" y="0"/>
                    </a:moveTo>
                    <a:lnTo>
                      <a:pt x="0" y="0"/>
                    </a:lnTo>
                    <a:lnTo>
                      <a:pt x="14" y="29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67" y="69"/>
                    </a:lnTo>
                    <a:lnTo>
                      <a:pt x="103" y="77"/>
                    </a:lnTo>
                    <a:lnTo>
                      <a:pt x="142" y="83"/>
                    </a:lnTo>
                    <a:lnTo>
                      <a:pt x="178" y="88"/>
                    </a:lnTo>
                    <a:lnTo>
                      <a:pt x="215" y="93"/>
                    </a:lnTo>
                    <a:lnTo>
                      <a:pt x="250" y="94"/>
                    </a:lnTo>
                    <a:lnTo>
                      <a:pt x="285" y="96"/>
                    </a:lnTo>
                    <a:lnTo>
                      <a:pt x="318" y="97"/>
                    </a:lnTo>
                    <a:lnTo>
                      <a:pt x="318" y="97"/>
                    </a:lnTo>
                    <a:lnTo>
                      <a:pt x="381" y="96"/>
                    </a:lnTo>
                    <a:lnTo>
                      <a:pt x="438" y="91"/>
                    </a:lnTo>
                    <a:lnTo>
                      <a:pt x="486" y="85"/>
                    </a:lnTo>
                    <a:lnTo>
                      <a:pt x="527" y="80"/>
                    </a:lnTo>
                    <a:lnTo>
                      <a:pt x="527" y="80"/>
                    </a:lnTo>
                    <a:lnTo>
                      <a:pt x="550" y="53"/>
                    </a:lnTo>
                    <a:lnTo>
                      <a:pt x="570" y="24"/>
                    </a:lnTo>
                    <a:lnTo>
                      <a:pt x="570" y="22"/>
                    </a:lnTo>
                    <a:lnTo>
                      <a:pt x="570" y="22"/>
                    </a:lnTo>
                    <a:lnTo>
                      <a:pt x="556" y="26"/>
                    </a:lnTo>
                    <a:lnTo>
                      <a:pt x="518" y="32"/>
                    </a:lnTo>
                    <a:lnTo>
                      <a:pt x="460" y="40"/>
                    </a:lnTo>
                    <a:lnTo>
                      <a:pt x="425" y="45"/>
                    </a:lnTo>
                    <a:lnTo>
                      <a:pt x="387" y="46"/>
                    </a:lnTo>
                    <a:lnTo>
                      <a:pt x="344" y="48"/>
                    </a:lnTo>
                    <a:lnTo>
                      <a:pt x="299" y="48"/>
                    </a:lnTo>
                    <a:lnTo>
                      <a:pt x="253" y="46"/>
                    </a:lnTo>
                    <a:lnTo>
                      <a:pt x="204" y="43"/>
                    </a:lnTo>
                    <a:lnTo>
                      <a:pt x="154" y="37"/>
                    </a:lnTo>
                    <a:lnTo>
                      <a:pt x="103" y="27"/>
                    </a:lnTo>
                    <a:lnTo>
                      <a:pt x="51" y="1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29"/>
              <p:cNvSpPr>
                <a:spLocks/>
              </p:cNvSpPr>
              <p:nvPr/>
            </p:nvSpPr>
            <p:spPr bwMode="auto">
              <a:xfrm>
                <a:off x="2603" y="2137"/>
                <a:ext cx="105" cy="182"/>
              </a:xfrm>
              <a:custGeom>
                <a:avLst/>
                <a:gdLst>
                  <a:gd name="T0" fmla="*/ 209 w 209"/>
                  <a:gd name="T1" fmla="*/ 318 h 365"/>
                  <a:gd name="T2" fmla="*/ 209 w 209"/>
                  <a:gd name="T3" fmla="*/ 318 h 365"/>
                  <a:gd name="T4" fmla="*/ 172 w 209"/>
                  <a:gd name="T5" fmla="*/ 272 h 365"/>
                  <a:gd name="T6" fmla="*/ 140 w 209"/>
                  <a:gd name="T7" fmla="*/ 226 h 365"/>
                  <a:gd name="T8" fmla="*/ 112 w 209"/>
                  <a:gd name="T9" fmla="*/ 180 h 365"/>
                  <a:gd name="T10" fmla="*/ 86 w 209"/>
                  <a:gd name="T11" fmla="*/ 137 h 365"/>
                  <a:gd name="T12" fmla="*/ 65 w 209"/>
                  <a:gd name="T13" fmla="*/ 95 h 365"/>
                  <a:gd name="T14" fmla="*/ 48 w 209"/>
                  <a:gd name="T15" fmla="*/ 59 h 365"/>
                  <a:gd name="T16" fmla="*/ 33 w 209"/>
                  <a:gd name="T17" fmla="*/ 27 h 365"/>
                  <a:gd name="T18" fmla="*/ 22 w 209"/>
                  <a:gd name="T19" fmla="*/ 0 h 365"/>
                  <a:gd name="T20" fmla="*/ 22 w 209"/>
                  <a:gd name="T21" fmla="*/ 0 h 365"/>
                  <a:gd name="T22" fmla="*/ 9 w 209"/>
                  <a:gd name="T23" fmla="*/ 35 h 365"/>
                  <a:gd name="T24" fmla="*/ 0 w 209"/>
                  <a:gd name="T25" fmla="*/ 70 h 365"/>
                  <a:gd name="T26" fmla="*/ 0 w 209"/>
                  <a:gd name="T27" fmla="*/ 70 h 365"/>
                  <a:gd name="T28" fmla="*/ 14 w 209"/>
                  <a:gd name="T29" fmla="*/ 100 h 365"/>
                  <a:gd name="T30" fmla="*/ 30 w 209"/>
                  <a:gd name="T31" fmla="*/ 134 h 365"/>
                  <a:gd name="T32" fmla="*/ 49 w 209"/>
                  <a:gd name="T33" fmla="*/ 169 h 365"/>
                  <a:gd name="T34" fmla="*/ 70 w 209"/>
                  <a:gd name="T35" fmla="*/ 207 h 365"/>
                  <a:gd name="T36" fmla="*/ 96 w 209"/>
                  <a:gd name="T37" fmla="*/ 245 h 365"/>
                  <a:gd name="T38" fmla="*/ 123 w 209"/>
                  <a:gd name="T39" fmla="*/ 285 h 365"/>
                  <a:gd name="T40" fmla="*/ 151 w 209"/>
                  <a:gd name="T41" fmla="*/ 325 h 365"/>
                  <a:gd name="T42" fmla="*/ 185 w 209"/>
                  <a:gd name="T43" fmla="*/ 365 h 365"/>
                  <a:gd name="T44" fmla="*/ 185 w 209"/>
                  <a:gd name="T45" fmla="*/ 365 h 365"/>
                  <a:gd name="T46" fmla="*/ 209 w 209"/>
                  <a:gd name="T47" fmla="*/ 318 h 365"/>
                  <a:gd name="T48" fmla="*/ 209 w 209"/>
                  <a:gd name="T49" fmla="*/ 318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09" h="365">
                    <a:moveTo>
                      <a:pt x="209" y="318"/>
                    </a:moveTo>
                    <a:lnTo>
                      <a:pt x="209" y="318"/>
                    </a:lnTo>
                    <a:lnTo>
                      <a:pt x="172" y="272"/>
                    </a:lnTo>
                    <a:lnTo>
                      <a:pt x="140" y="226"/>
                    </a:lnTo>
                    <a:lnTo>
                      <a:pt x="112" y="180"/>
                    </a:lnTo>
                    <a:lnTo>
                      <a:pt x="86" y="137"/>
                    </a:lnTo>
                    <a:lnTo>
                      <a:pt x="65" y="95"/>
                    </a:lnTo>
                    <a:lnTo>
                      <a:pt x="48" y="59"/>
                    </a:lnTo>
                    <a:lnTo>
                      <a:pt x="33" y="27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9" y="35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4" y="100"/>
                    </a:lnTo>
                    <a:lnTo>
                      <a:pt x="30" y="134"/>
                    </a:lnTo>
                    <a:lnTo>
                      <a:pt x="49" y="169"/>
                    </a:lnTo>
                    <a:lnTo>
                      <a:pt x="70" y="207"/>
                    </a:lnTo>
                    <a:lnTo>
                      <a:pt x="96" y="245"/>
                    </a:lnTo>
                    <a:lnTo>
                      <a:pt x="123" y="285"/>
                    </a:lnTo>
                    <a:lnTo>
                      <a:pt x="151" y="325"/>
                    </a:lnTo>
                    <a:lnTo>
                      <a:pt x="185" y="365"/>
                    </a:lnTo>
                    <a:lnTo>
                      <a:pt x="185" y="365"/>
                    </a:lnTo>
                    <a:lnTo>
                      <a:pt x="209" y="318"/>
                    </a:lnTo>
                    <a:lnTo>
                      <a:pt x="209" y="3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30"/>
              <p:cNvSpPr>
                <a:spLocks/>
              </p:cNvSpPr>
              <p:nvPr/>
            </p:nvSpPr>
            <p:spPr bwMode="auto">
              <a:xfrm>
                <a:off x="2713" y="2315"/>
                <a:ext cx="149" cy="122"/>
              </a:xfrm>
              <a:custGeom>
                <a:avLst/>
                <a:gdLst>
                  <a:gd name="T0" fmla="*/ 212 w 297"/>
                  <a:gd name="T1" fmla="*/ 153 h 244"/>
                  <a:gd name="T2" fmla="*/ 212 w 297"/>
                  <a:gd name="T3" fmla="*/ 153 h 244"/>
                  <a:gd name="T4" fmla="*/ 185 w 297"/>
                  <a:gd name="T5" fmla="*/ 137 h 244"/>
                  <a:gd name="T6" fmla="*/ 159 w 297"/>
                  <a:gd name="T7" fmla="*/ 119 h 244"/>
                  <a:gd name="T8" fmla="*/ 134 w 297"/>
                  <a:gd name="T9" fmla="*/ 102 h 244"/>
                  <a:gd name="T10" fmla="*/ 110 w 297"/>
                  <a:gd name="T11" fmla="*/ 83 h 244"/>
                  <a:gd name="T12" fmla="*/ 86 w 297"/>
                  <a:gd name="T13" fmla="*/ 64 h 244"/>
                  <a:gd name="T14" fmla="*/ 64 w 297"/>
                  <a:gd name="T15" fmla="*/ 43 h 244"/>
                  <a:gd name="T16" fmla="*/ 43 w 297"/>
                  <a:gd name="T17" fmla="*/ 22 h 244"/>
                  <a:gd name="T18" fmla="*/ 22 w 297"/>
                  <a:gd name="T19" fmla="*/ 0 h 244"/>
                  <a:gd name="T20" fmla="*/ 22 w 297"/>
                  <a:gd name="T21" fmla="*/ 0 h 244"/>
                  <a:gd name="T22" fmla="*/ 0 w 297"/>
                  <a:gd name="T23" fmla="*/ 46 h 244"/>
                  <a:gd name="T24" fmla="*/ 0 w 297"/>
                  <a:gd name="T25" fmla="*/ 46 h 244"/>
                  <a:gd name="T26" fmla="*/ 21 w 297"/>
                  <a:gd name="T27" fmla="*/ 67 h 244"/>
                  <a:gd name="T28" fmla="*/ 41 w 297"/>
                  <a:gd name="T29" fmla="*/ 86 h 244"/>
                  <a:gd name="T30" fmla="*/ 64 w 297"/>
                  <a:gd name="T31" fmla="*/ 107 h 244"/>
                  <a:gd name="T32" fmla="*/ 88 w 297"/>
                  <a:gd name="T33" fmla="*/ 126 h 244"/>
                  <a:gd name="T34" fmla="*/ 112 w 297"/>
                  <a:gd name="T35" fmla="*/ 143 h 244"/>
                  <a:gd name="T36" fmla="*/ 137 w 297"/>
                  <a:gd name="T37" fmla="*/ 162 h 244"/>
                  <a:gd name="T38" fmla="*/ 163 w 297"/>
                  <a:gd name="T39" fmla="*/ 178 h 244"/>
                  <a:gd name="T40" fmla="*/ 190 w 297"/>
                  <a:gd name="T41" fmla="*/ 194 h 244"/>
                  <a:gd name="T42" fmla="*/ 190 w 297"/>
                  <a:gd name="T43" fmla="*/ 194 h 244"/>
                  <a:gd name="T44" fmla="*/ 215 w 297"/>
                  <a:gd name="T45" fmla="*/ 209 h 244"/>
                  <a:gd name="T46" fmla="*/ 242 w 297"/>
                  <a:gd name="T47" fmla="*/ 221 h 244"/>
                  <a:gd name="T48" fmla="*/ 269 w 297"/>
                  <a:gd name="T49" fmla="*/ 233 h 244"/>
                  <a:gd name="T50" fmla="*/ 297 w 297"/>
                  <a:gd name="T51" fmla="*/ 244 h 244"/>
                  <a:gd name="T52" fmla="*/ 297 w 297"/>
                  <a:gd name="T53" fmla="*/ 244 h 244"/>
                  <a:gd name="T54" fmla="*/ 282 w 297"/>
                  <a:gd name="T55" fmla="*/ 213 h 244"/>
                  <a:gd name="T56" fmla="*/ 269 w 297"/>
                  <a:gd name="T57" fmla="*/ 182 h 244"/>
                  <a:gd name="T58" fmla="*/ 269 w 297"/>
                  <a:gd name="T59" fmla="*/ 182 h 244"/>
                  <a:gd name="T60" fmla="*/ 241 w 297"/>
                  <a:gd name="T61" fmla="*/ 169 h 244"/>
                  <a:gd name="T62" fmla="*/ 212 w 297"/>
                  <a:gd name="T63" fmla="*/ 153 h 244"/>
                  <a:gd name="T64" fmla="*/ 212 w 297"/>
                  <a:gd name="T65" fmla="*/ 153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7" h="244">
                    <a:moveTo>
                      <a:pt x="212" y="153"/>
                    </a:moveTo>
                    <a:lnTo>
                      <a:pt x="212" y="153"/>
                    </a:lnTo>
                    <a:lnTo>
                      <a:pt x="185" y="137"/>
                    </a:lnTo>
                    <a:lnTo>
                      <a:pt x="159" y="119"/>
                    </a:lnTo>
                    <a:lnTo>
                      <a:pt x="134" y="102"/>
                    </a:lnTo>
                    <a:lnTo>
                      <a:pt x="110" y="83"/>
                    </a:lnTo>
                    <a:lnTo>
                      <a:pt x="86" y="64"/>
                    </a:lnTo>
                    <a:lnTo>
                      <a:pt x="64" y="43"/>
                    </a:lnTo>
                    <a:lnTo>
                      <a:pt x="43" y="2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21" y="67"/>
                    </a:lnTo>
                    <a:lnTo>
                      <a:pt x="41" y="86"/>
                    </a:lnTo>
                    <a:lnTo>
                      <a:pt x="64" y="107"/>
                    </a:lnTo>
                    <a:lnTo>
                      <a:pt x="88" y="126"/>
                    </a:lnTo>
                    <a:lnTo>
                      <a:pt x="112" y="143"/>
                    </a:lnTo>
                    <a:lnTo>
                      <a:pt x="137" y="162"/>
                    </a:lnTo>
                    <a:lnTo>
                      <a:pt x="163" y="178"/>
                    </a:lnTo>
                    <a:lnTo>
                      <a:pt x="190" y="194"/>
                    </a:lnTo>
                    <a:lnTo>
                      <a:pt x="190" y="194"/>
                    </a:lnTo>
                    <a:lnTo>
                      <a:pt x="215" y="209"/>
                    </a:lnTo>
                    <a:lnTo>
                      <a:pt x="242" y="221"/>
                    </a:lnTo>
                    <a:lnTo>
                      <a:pt x="269" y="233"/>
                    </a:lnTo>
                    <a:lnTo>
                      <a:pt x="297" y="244"/>
                    </a:lnTo>
                    <a:lnTo>
                      <a:pt x="297" y="244"/>
                    </a:lnTo>
                    <a:lnTo>
                      <a:pt x="282" y="213"/>
                    </a:lnTo>
                    <a:lnTo>
                      <a:pt x="269" y="182"/>
                    </a:lnTo>
                    <a:lnTo>
                      <a:pt x="269" y="182"/>
                    </a:lnTo>
                    <a:lnTo>
                      <a:pt x="241" y="169"/>
                    </a:lnTo>
                    <a:lnTo>
                      <a:pt x="212" y="153"/>
                    </a:lnTo>
                    <a:lnTo>
                      <a:pt x="212" y="1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31"/>
              <p:cNvSpPr>
                <a:spLocks/>
              </p:cNvSpPr>
              <p:nvPr/>
            </p:nvSpPr>
            <p:spPr bwMode="auto">
              <a:xfrm>
                <a:off x="2696" y="2296"/>
                <a:ext cx="29" cy="42"/>
              </a:xfrm>
              <a:custGeom>
                <a:avLst/>
                <a:gdLst>
                  <a:gd name="T0" fmla="*/ 24 w 57"/>
                  <a:gd name="T1" fmla="*/ 0 h 85"/>
                  <a:gd name="T2" fmla="*/ 24 w 57"/>
                  <a:gd name="T3" fmla="*/ 0 h 85"/>
                  <a:gd name="T4" fmla="*/ 0 w 57"/>
                  <a:gd name="T5" fmla="*/ 47 h 85"/>
                  <a:gd name="T6" fmla="*/ 0 w 57"/>
                  <a:gd name="T7" fmla="*/ 47 h 85"/>
                  <a:gd name="T8" fmla="*/ 35 w 57"/>
                  <a:gd name="T9" fmla="*/ 85 h 85"/>
                  <a:gd name="T10" fmla="*/ 35 w 57"/>
                  <a:gd name="T11" fmla="*/ 85 h 85"/>
                  <a:gd name="T12" fmla="*/ 57 w 57"/>
                  <a:gd name="T13" fmla="*/ 39 h 85"/>
                  <a:gd name="T14" fmla="*/ 57 w 57"/>
                  <a:gd name="T15" fmla="*/ 39 h 85"/>
                  <a:gd name="T16" fmla="*/ 24 w 57"/>
                  <a:gd name="T17" fmla="*/ 0 h 85"/>
                  <a:gd name="T18" fmla="*/ 24 w 57"/>
                  <a:gd name="T19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85">
                    <a:moveTo>
                      <a:pt x="24" y="0"/>
                    </a:moveTo>
                    <a:lnTo>
                      <a:pt x="24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35" y="85"/>
                    </a:lnTo>
                    <a:lnTo>
                      <a:pt x="35" y="85"/>
                    </a:lnTo>
                    <a:lnTo>
                      <a:pt x="57" y="39"/>
                    </a:lnTo>
                    <a:lnTo>
                      <a:pt x="57" y="39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33"/>
              <p:cNvSpPr>
                <a:spLocks/>
              </p:cNvSpPr>
              <p:nvPr/>
            </p:nvSpPr>
            <p:spPr bwMode="auto">
              <a:xfrm>
                <a:off x="3044" y="2088"/>
                <a:ext cx="165" cy="294"/>
              </a:xfrm>
              <a:custGeom>
                <a:avLst/>
                <a:gdLst>
                  <a:gd name="T0" fmla="*/ 60 w 328"/>
                  <a:gd name="T1" fmla="*/ 0 h 589"/>
                  <a:gd name="T2" fmla="*/ 60 w 328"/>
                  <a:gd name="T3" fmla="*/ 0 h 589"/>
                  <a:gd name="T4" fmla="*/ 0 w 328"/>
                  <a:gd name="T5" fmla="*/ 8 h 589"/>
                  <a:gd name="T6" fmla="*/ 0 w 328"/>
                  <a:gd name="T7" fmla="*/ 8 h 589"/>
                  <a:gd name="T8" fmla="*/ 14 w 328"/>
                  <a:gd name="T9" fmla="*/ 21 h 589"/>
                  <a:gd name="T10" fmla="*/ 14 w 328"/>
                  <a:gd name="T11" fmla="*/ 21 h 589"/>
                  <a:gd name="T12" fmla="*/ 49 w 328"/>
                  <a:gd name="T13" fmla="*/ 55 h 589"/>
                  <a:gd name="T14" fmla="*/ 81 w 328"/>
                  <a:gd name="T15" fmla="*/ 91 h 589"/>
                  <a:gd name="T16" fmla="*/ 111 w 328"/>
                  <a:gd name="T17" fmla="*/ 128 h 589"/>
                  <a:gd name="T18" fmla="*/ 137 w 328"/>
                  <a:gd name="T19" fmla="*/ 168 h 589"/>
                  <a:gd name="T20" fmla="*/ 162 w 328"/>
                  <a:gd name="T21" fmla="*/ 206 h 589"/>
                  <a:gd name="T22" fmla="*/ 183 w 328"/>
                  <a:gd name="T23" fmla="*/ 246 h 589"/>
                  <a:gd name="T24" fmla="*/ 204 w 328"/>
                  <a:gd name="T25" fmla="*/ 286 h 589"/>
                  <a:gd name="T26" fmla="*/ 221 w 328"/>
                  <a:gd name="T27" fmla="*/ 326 h 589"/>
                  <a:gd name="T28" fmla="*/ 236 w 328"/>
                  <a:gd name="T29" fmla="*/ 365 h 589"/>
                  <a:gd name="T30" fmla="*/ 250 w 328"/>
                  <a:gd name="T31" fmla="*/ 402 h 589"/>
                  <a:gd name="T32" fmla="*/ 261 w 328"/>
                  <a:gd name="T33" fmla="*/ 439 h 589"/>
                  <a:gd name="T34" fmla="*/ 271 w 328"/>
                  <a:gd name="T35" fmla="*/ 474 h 589"/>
                  <a:gd name="T36" fmla="*/ 287 w 328"/>
                  <a:gd name="T37" fmla="*/ 538 h 589"/>
                  <a:gd name="T38" fmla="*/ 296 w 328"/>
                  <a:gd name="T39" fmla="*/ 589 h 589"/>
                  <a:gd name="T40" fmla="*/ 296 w 328"/>
                  <a:gd name="T41" fmla="*/ 589 h 589"/>
                  <a:gd name="T42" fmla="*/ 314 w 328"/>
                  <a:gd name="T43" fmla="*/ 549 h 589"/>
                  <a:gd name="T44" fmla="*/ 328 w 328"/>
                  <a:gd name="T45" fmla="*/ 506 h 589"/>
                  <a:gd name="T46" fmla="*/ 328 w 328"/>
                  <a:gd name="T47" fmla="*/ 506 h 589"/>
                  <a:gd name="T48" fmla="*/ 314 w 328"/>
                  <a:gd name="T49" fmla="*/ 452 h 589"/>
                  <a:gd name="T50" fmla="*/ 296 w 328"/>
                  <a:gd name="T51" fmla="*/ 391 h 589"/>
                  <a:gd name="T52" fmla="*/ 285 w 328"/>
                  <a:gd name="T53" fmla="*/ 359 h 589"/>
                  <a:gd name="T54" fmla="*/ 272 w 328"/>
                  <a:gd name="T55" fmla="*/ 327 h 589"/>
                  <a:gd name="T56" fmla="*/ 260 w 328"/>
                  <a:gd name="T57" fmla="*/ 294 h 589"/>
                  <a:gd name="T58" fmla="*/ 244 w 328"/>
                  <a:gd name="T59" fmla="*/ 260 h 589"/>
                  <a:gd name="T60" fmla="*/ 226 w 328"/>
                  <a:gd name="T61" fmla="*/ 227 h 589"/>
                  <a:gd name="T62" fmla="*/ 209 w 328"/>
                  <a:gd name="T63" fmla="*/ 193 h 589"/>
                  <a:gd name="T64" fmla="*/ 188 w 328"/>
                  <a:gd name="T65" fmla="*/ 158 h 589"/>
                  <a:gd name="T66" fmla="*/ 167 w 328"/>
                  <a:gd name="T67" fmla="*/ 126 h 589"/>
                  <a:gd name="T68" fmla="*/ 143 w 328"/>
                  <a:gd name="T69" fmla="*/ 93 h 589"/>
                  <a:gd name="T70" fmla="*/ 118 w 328"/>
                  <a:gd name="T71" fmla="*/ 61 h 589"/>
                  <a:gd name="T72" fmla="*/ 91 w 328"/>
                  <a:gd name="T73" fmla="*/ 31 h 589"/>
                  <a:gd name="T74" fmla="*/ 60 w 328"/>
                  <a:gd name="T75" fmla="*/ 0 h 589"/>
                  <a:gd name="T76" fmla="*/ 60 w 328"/>
                  <a:gd name="T77" fmla="*/ 0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28" h="589">
                    <a:moveTo>
                      <a:pt x="60" y="0"/>
                    </a:moveTo>
                    <a:lnTo>
                      <a:pt x="60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49" y="55"/>
                    </a:lnTo>
                    <a:lnTo>
                      <a:pt x="81" y="91"/>
                    </a:lnTo>
                    <a:lnTo>
                      <a:pt x="111" y="128"/>
                    </a:lnTo>
                    <a:lnTo>
                      <a:pt x="137" y="168"/>
                    </a:lnTo>
                    <a:lnTo>
                      <a:pt x="162" y="206"/>
                    </a:lnTo>
                    <a:lnTo>
                      <a:pt x="183" y="246"/>
                    </a:lnTo>
                    <a:lnTo>
                      <a:pt x="204" y="286"/>
                    </a:lnTo>
                    <a:lnTo>
                      <a:pt x="221" y="326"/>
                    </a:lnTo>
                    <a:lnTo>
                      <a:pt x="236" y="365"/>
                    </a:lnTo>
                    <a:lnTo>
                      <a:pt x="250" y="402"/>
                    </a:lnTo>
                    <a:lnTo>
                      <a:pt x="261" y="439"/>
                    </a:lnTo>
                    <a:lnTo>
                      <a:pt x="271" y="474"/>
                    </a:lnTo>
                    <a:lnTo>
                      <a:pt x="287" y="538"/>
                    </a:lnTo>
                    <a:lnTo>
                      <a:pt x="296" y="589"/>
                    </a:lnTo>
                    <a:lnTo>
                      <a:pt x="296" y="589"/>
                    </a:lnTo>
                    <a:lnTo>
                      <a:pt x="314" y="549"/>
                    </a:lnTo>
                    <a:lnTo>
                      <a:pt x="328" y="506"/>
                    </a:lnTo>
                    <a:lnTo>
                      <a:pt x="328" y="506"/>
                    </a:lnTo>
                    <a:lnTo>
                      <a:pt x="314" y="452"/>
                    </a:lnTo>
                    <a:lnTo>
                      <a:pt x="296" y="391"/>
                    </a:lnTo>
                    <a:lnTo>
                      <a:pt x="285" y="359"/>
                    </a:lnTo>
                    <a:lnTo>
                      <a:pt x="272" y="327"/>
                    </a:lnTo>
                    <a:lnTo>
                      <a:pt x="260" y="294"/>
                    </a:lnTo>
                    <a:lnTo>
                      <a:pt x="244" y="260"/>
                    </a:lnTo>
                    <a:lnTo>
                      <a:pt x="226" y="227"/>
                    </a:lnTo>
                    <a:lnTo>
                      <a:pt x="209" y="193"/>
                    </a:lnTo>
                    <a:lnTo>
                      <a:pt x="188" y="158"/>
                    </a:lnTo>
                    <a:lnTo>
                      <a:pt x="167" y="126"/>
                    </a:lnTo>
                    <a:lnTo>
                      <a:pt x="143" y="93"/>
                    </a:lnTo>
                    <a:lnTo>
                      <a:pt x="118" y="61"/>
                    </a:lnTo>
                    <a:lnTo>
                      <a:pt x="91" y="31"/>
                    </a:lnTo>
                    <a:lnTo>
                      <a:pt x="60" y="0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4"/>
              <p:cNvSpPr>
                <a:spLocks/>
              </p:cNvSpPr>
              <p:nvPr/>
            </p:nvSpPr>
            <p:spPr bwMode="auto">
              <a:xfrm>
                <a:off x="2740" y="1964"/>
                <a:ext cx="161" cy="45"/>
              </a:xfrm>
              <a:custGeom>
                <a:avLst/>
                <a:gdLst>
                  <a:gd name="T0" fmla="*/ 322 w 322"/>
                  <a:gd name="T1" fmla="*/ 49 h 90"/>
                  <a:gd name="T2" fmla="*/ 322 w 322"/>
                  <a:gd name="T3" fmla="*/ 49 h 90"/>
                  <a:gd name="T4" fmla="*/ 287 w 322"/>
                  <a:gd name="T5" fmla="*/ 38 h 90"/>
                  <a:gd name="T6" fmla="*/ 253 w 322"/>
                  <a:gd name="T7" fmla="*/ 30 h 90"/>
                  <a:gd name="T8" fmla="*/ 188 w 322"/>
                  <a:gd name="T9" fmla="*/ 16 h 90"/>
                  <a:gd name="T10" fmla="*/ 129 w 322"/>
                  <a:gd name="T11" fmla="*/ 6 h 90"/>
                  <a:gd name="T12" fmla="*/ 78 w 322"/>
                  <a:gd name="T13" fmla="*/ 0 h 90"/>
                  <a:gd name="T14" fmla="*/ 78 w 322"/>
                  <a:gd name="T15" fmla="*/ 0 h 90"/>
                  <a:gd name="T16" fmla="*/ 38 w 322"/>
                  <a:gd name="T17" fmla="*/ 19 h 90"/>
                  <a:gd name="T18" fmla="*/ 0 w 322"/>
                  <a:gd name="T19" fmla="*/ 41 h 90"/>
                  <a:gd name="T20" fmla="*/ 0 w 322"/>
                  <a:gd name="T21" fmla="*/ 41 h 90"/>
                  <a:gd name="T22" fmla="*/ 51 w 322"/>
                  <a:gd name="T23" fmla="*/ 44 h 90"/>
                  <a:gd name="T24" fmla="*/ 82 w 322"/>
                  <a:gd name="T25" fmla="*/ 47 h 90"/>
                  <a:gd name="T26" fmla="*/ 119 w 322"/>
                  <a:gd name="T27" fmla="*/ 52 h 90"/>
                  <a:gd name="T28" fmla="*/ 159 w 322"/>
                  <a:gd name="T29" fmla="*/ 59 h 90"/>
                  <a:gd name="T30" fmla="*/ 202 w 322"/>
                  <a:gd name="T31" fmla="*/ 67 h 90"/>
                  <a:gd name="T32" fmla="*/ 248 w 322"/>
                  <a:gd name="T33" fmla="*/ 78 h 90"/>
                  <a:gd name="T34" fmla="*/ 295 w 322"/>
                  <a:gd name="T35" fmla="*/ 90 h 90"/>
                  <a:gd name="T36" fmla="*/ 295 w 322"/>
                  <a:gd name="T37" fmla="*/ 90 h 90"/>
                  <a:gd name="T38" fmla="*/ 322 w 322"/>
                  <a:gd name="T39" fmla="*/ 49 h 90"/>
                  <a:gd name="T40" fmla="*/ 322 w 322"/>
                  <a:gd name="T41" fmla="*/ 4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22" h="90">
                    <a:moveTo>
                      <a:pt x="322" y="49"/>
                    </a:moveTo>
                    <a:lnTo>
                      <a:pt x="322" y="49"/>
                    </a:lnTo>
                    <a:lnTo>
                      <a:pt x="287" y="38"/>
                    </a:lnTo>
                    <a:lnTo>
                      <a:pt x="253" y="30"/>
                    </a:lnTo>
                    <a:lnTo>
                      <a:pt x="188" y="16"/>
                    </a:lnTo>
                    <a:lnTo>
                      <a:pt x="129" y="6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38" y="19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1" y="44"/>
                    </a:lnTo>
                    <a:lnTo>
                      <a:pt x="82" y="47"/>
                    </a:lnTo>
                    <a:lnTo>
                      <a:pt x="119" y="52"/>
                    </a:lnTo>
                    <a:lnTo>
                      <a:pt x="159" y="59"/>
                    </a:lnTo>
                    <a:lnTo>
                      <a:pt x="202" y="67"/>
                    </a:lnTo>
                    <a:lnTo>
                      <a:pt x="248" y="78"/>
                    </a:lnTo>
                    <a:lnTo>
                      <a:pt x="295" y="90"/>
                    </a:lnTo>
                    <a:lnTo>
                      <a:pt x="295" y="90"/>
                    </a:lnTo>
                    <a:lnTo>
                      <a:pt x="322" y="49"/>
                    </a:lnTo>
                    <a:lnTo>
                      <a:pt x="322" y="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35"/>
              <p:cNvSpPr>
                <a:spLocks/>
              </p:cNvSpPr>
              <p:nvPr/>
            </p:nvSpPr>
            <p:spPr bwMode="auto">
              <a:xfrm>
                <a:off x="2911" y="1996"/>
                <a:ext cx="140" cy="76"/>
              </a:xfrm>
              <a:custGeom>
                <a:avLst/>
                <a:gdLst>
                  <a:gd name="T0" fmla="*/ 216 w 279"/>
                  <a:gd name="T1" fmla="*/ 151 h 151"/>
                  <a:gd name="T2" fmla="*/ 216 w 279"/>
                  <a:gd name="T3" fmla="*/ 151 h 151"/>
                  <a:gd name="T4" fmla="*/ 279 w 279"/>
                  <a:gd name="T5" fmla="*/ 140 h 151"/>
                  <a:gd name="T6" fmla="*/ 279 w 279"/>
                  <a:gd name="T7" fmla="*/ 140 h 151"/>
                  <a:gd name="T8" fmla="*/ 249 w 279"/>
                  <a:gd name="T9" fmla="*/ 116 h 151"/>
                  <a:gd name="T10" fmla="*/ 219 w 279"/>
                  <a:gd name="T11" fmla="*/ 96 h 151"/>
                  <a:gd name="T12" fmla="*/ 187 w 279"/>
                  <a:gd name="T13" fmla="*/ 75 h 151"/>
                  <a:gd name="T14" fmla="*/ 155 w 279"/>
                  <a:gd name="T15" fmla="*/ 57 h 151"/>
                  <a:gd name="T16" fmla="*/ 123 w 279"/>
                  <a:gd name="T17" fmla="*/ 41 h 151"/>
                  <a:gd name="T18" fmla="*/ 90 w 279"/>
                  <a:gd name="T19" fmla="*/ 25 h 151"/>
                  <a:gd name="T20" fmla="*/ 58 w 279"/>
                  <a:gd name="T21" fmla="*/ 11 h 151"/>
                  <a:gd name="T22" fmla="*/ 26 w 279"/>
                  <a:gd name="T23" fmla="*/ 0 h 151"/>
                  <a:gd name="T24" fmla="*/ 26 w 279"/>
                  <a:gd name="T25" fmla="*/ 0 h 151"/>
                  <a:gd name="T26" fmla="*/ 0 w 279"/>
                  <a:gd name="T27" fmla="*/ 41 h 151"/>
                  <a:gd name="T28" fmla="*/ 0 w 279"/>
                  <a:gd name="T29" fmla="*/ 41 h 151"/>
                  <a:gd name="T30" fmla="*/ 55 w 279"/>
                  <a:gd name="T31" fmla="*/ 62 h 151"/>
                  <a:gd name="T32" fmla="*/ 82 w 279"/>
                  <a:gd name="T33" fmla="*/ 73 h 151"/>
                  <a:gd name="T34" fmla="*/ 109 w 279"/>
                  <a:gd name="T35" fmla="*/ 88 h 151"/>
                  <a:gd name="T36" fmla="*/ 136 w 279"/>
                  <a:gd name="T37" fmla="*/ 102 h 151"/>
                  <a:gd name="T38" fmla="*/ 163 w 279"/>
                  <a:gd name="T39" fmla="*/ 116 h 151"/>
                  <a:gd name="T40" fmla="*/ 190 w 279"/>
                  <a:gd name="T41" fmla="*/ 132 h 151"/>
                  <a:gd name="T42" fmla="*/ 216 w 279"/>
                  <a:gd name="T43" fmla="*/ 151 h 151"/>
                  <a:gd name="T44" fmla="*/ 216 w 279"/>
                  <a:gd name="T45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79" h="151">
                    <a:moveTo>
                      <a:pt x="216" y="151"/>
                    </a:moveTo>
                    <a:lnTo>
                      <a:pt x="216" y="151"/>
                    </a:lnTo>
                    <a:lnTo>
                      <a:pt x="279" y="140"/>
                    </a:lnTo>
                    <a:lnTo>
                      <a:pt x="279" y="140"/>
                    </a:lnTo>
                    <a:lnTo>
                      <a:pt x="249" y="116"/>
                    </a:lnTo>
                    <a:lnTo>
                      <a:pt x="219" y="96"/>
                    </a:lnTo>
                    <a:lnTo>
                      <a:pt x="187" y="75"/>
                    </a:lnTo>
                    <a:lnTo>
                      <a:pt x="155" y="57"/>
                    </a:lnTo>
                    <a:lnTo>
                      <a:pt x="123" y="41"/>
                    </a:lnTo>
                    <a:lnTo>
                      <a:pt x="90" y="25"/>
                    </a:lnTo>
                    <a:lnTo>
                      <a:pt x="58" y="1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55" y="62"/>
                    </a:lnTo>
                    <a:lnTo>
                      <a:pt x="82" y="73"/>
                    </a:lnTo>
                    <a:lnTo>
                      <a:pt x="109" y="88"/>
                    </a:lnTo>
                    <a:lnTo>
                      <a:pt x="136" y="102"/>
                    </a:lnTo>
                    <a:lnTo>
                      <a:pt x="163" y="116"/>
                    </a:lnTo>
                    <a:lnTo>
                      <a:pt x="190" y="132"/>
                    </a:lnTo>
                    <a:lnTo>
                      <a:pt x="216" y="151"/>
                    </a:lnTo>
                    <a:lnTo>
                      <a:pt x="216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36"/>
              <p:cNvSpPr>
                <a:spLocks/>
              </p:cNvSpPr>
              <p:nvPr/>
            </p:nvSpPr>
            <p:spPr bwMode="auto">
              <a:xfrm>
                <a:off x="3019" y="2067"/>
                <a:ext cx="56" cy="25"/>
              </a:xfrm>
              <a:custGeom>
                <a:avLst/>
                <a:gdLst>
                  <a:gd name="T0" fmla="*/ 63 w 111"/>
                  <a:gd name="T1" fmla="*/ 0 h 51"/>
                  <a:gd name="T2" fmla="*/ 63 w 111"/>
                  <a:gd name="T3" fmla="*/ 0 h 51"/>
                  <a:gd name="T4" fmla="*/ 0 w 111"/>
                  <a:gd name="T5" fmla="*/ 11 h 51"/>
                  <a:gd name="T6" fmla="*/ 0 w 111"/>
                  <a:gd name="T7" fmla="*/ 11 h 51"/>
                  <a:gd name="T8" fmla="*/ 25 w 111"/>
                  <a:gd name="T9" fmla="*/ 31 h 51"/>
                  <a:gd name="T10" fmla="*/ 51 w 111"/>
                  <a:gd name="T11" fmla="*/ 51 h 51"/>
                  <a:gd name="T12" fmla="*/ 51 w 111"/>
                  <a:gd name="T13" fmla="*/ 51 h 51"/>
                  <a:gd name="T14" fmla="*/ 111 w 111"/>
                  <a:gd name="T15" fmla="*/ 43 h 51"/>
                  <a:gd name="T16" fmla="*/ 111 w 111"/>
                  <a:gd name="T17" fmla="*/ 43 h 51"/>
                  <a:gd name="T18" fmla="*/ 97 w 111"/>
                  <a:gd name="T19" fmla="*/ 29 h 51"/>
                  <a:gd name="T20" fmla="*/ 97 w 111"/>
                  <a:gd name="T21" fmla="*/ 29 h 51"/>
                  <a:gd name="T22" fmla="*/ 63 w 111"/>
                  <a:gd name="T23" fmla="*/ 0 h 51"/>
                  <a:gd name="T24" fmla="*/ 63 w 111"/>
                  <a:gd name="T2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1" h="51">
                    <a:moveTo>
                      <a:pt x="63" y="0"/>
                    </a:moveTo>
                    <a:lnTo>
                      <a:pt x="63" y="0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5" y="31"/>
                    </a:lnTo>
                    <a:lnTo>
                      <a:pt x="51" y="51"/>
                    </a:lnTo>
                    <a:lnTo>
                      <a:pt x="51" y="51"/>
                    </a:lnTo>
                    <a:lnTo>
                      <a:pt x="111" y="43"/>
                    </a:lnTo>
                    <a:lnTo>
                      <a:pt x="111" y="43"/>
                    </a:lnTo>
                    <a:lnTo>
                      <a:pt x="97" y="29"/>
                    </a:lnTo>
                    <a:lnTo>
                      <a:pt x="97" y="29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37"/>
              <p:cNvSpPr>
                <a:spLocks/>
              </p:cNvSpPr>
              <p:nvPr/>
            </p:nvSpPr>
            <p:spPr bwMode="auto">
              <a:xfrm>
                <a:off x="2887" y="1989"/>
                <a:ext cx="37" cy="28"/>
              </a:xfrm>
              <a:custGeom>
                <a:avLst/>
                <a:gdLst>
                  <a:gd name="T0" fmla="*/ 73 w 73"/>
                  <a:gd name="T1" fmla="*/ 16 h 57"/>
                  <a:gd name="T2" fmla="*/ 73 w 73"/>
                  <a:gd name="T3" fmla="*/ 16 h 57"/>
                  <a:gd name="T4" fmla="*/ 27 w 73"/>
                  <a:gd name="T5" fmla="*/ 0 h 57"/>
                  <a:gd name="T6" fmla="*/ 27 w 73"/>
                  <a:gd name="T7" fmla="*/ 0 h 57"/>
                  <a:gd name="T8" fmla="*/ 0 w 73"/>
                  <a:gd name="T9" fmla="*/ 41 h 57"/>
                  <a:gd name="T10" fmla="*/ 0 w 73"/>
                  <a:gd name="T11" fmla="*/ 41 h 57"/>
                  <a:gd name="T12" fmla="*/ 47 w 73"/>
                  <a:gd name="T13" fmla="*/ 57 h 57"/>
                  <a:gd name="T14" fmla="*/ 47 w 73"/>
                  <a:gd name="T15" fmla="*/ 57 h 57"/>
                  <a:gd name="T16" fmla="*/ 73 w 73"/>
                  <a:gd name="T17" fmla="*/ 16 h 57"/>
                  <a:gd name="T18" fmla="*/ 73 w 73"/>
                  <a:gd name="T19" fmla="*/ 1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57">
                    <a:moveTo>
                      <a:pt x="73" y="16"/>
                    </a:moveTo>
                    <a:lnTo>
                      <a:pt x="73" y="16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47" y="57"/>
                    </a:lnTo>
                    <a:lnTo>
                      <a:pt x="47" y="57"/>
                    </a:lnTo>
                    <a:lnTo>
                      <a:pt x="73" y="16"/>
                    </a:lnTo>
                    <a:lnTo>
                      <a:pt x="73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2"/>
              <p:cNvSpPr>
                <a:spLocks/>
              </p:cNvSpPr>
              <p:nvPr/>
            </p:nvSpPr>
            <p:spPr bwMode="auto">
              <a:xfrm>
                <a:off x="2848" y="2406"/>
                <a:ext cx="46" cy="42"/>
              </a:xfrm>
              <a:custGeom>
                <a:avLst/>
                <a:gdLst>
                  <a:gd name="T0" fmla="*/ 28 w 91"/>
                  <a:gd name="T1" fmla="*/ 62 h 82"/>
                  <a:gd name="T2" fmla="*/ 28 w 91"/>
                  <a:gd name="T3" fmla="*/ 62 h 82"/>
                  <a:gd name="T4" fmla="*/ 59 w 91"/>
                  <a:gd name="T5" fmla="*/ 73 h 82"/>
                  <a:gd name="T6" fmla="*/ 91 w 91"/>
                  <a:gd name="T7" fmla="*/ 82 h 82"/>
                  <a:gd name="T8" fmla="*/ 91 w 91"/>
                  <a:gd name="T9" fmla="*/ 82 h 82"/>
                  <a:gd name="T10" fmla="*/ 77 w 91"/>
                  <a:gd name="T11" fmla="*/ 54 h 82"/>
                  <a:gd name="T12" fmla="*/ 63 w 91"/>
                  <a:gd name="T13" fmla="*/ 25 h 82"/>
                  <a:gd name="T14" fmla="*/ 63 w 91"/>
                  <a:gd name="T15" fmla="*/ 25 h 82"/>
                  <a:gd name="T16" fmla="*/ 31 w 91"/>
                  <a:gd name="T17" fmla="*/ 12 h 82"/>
                  <a:gd name="T18" fmla="*/ 0 w 91"/>
                  <a:gd name="T19" fmla="*/ 0 h 82"/>
                  <a:gd name="T20" fmla="*/ 0 w 91"/>
                  <a:gd name="T21" fmla="*/ 0 h 82"/>
                  <a:gd name="T22" fmla="*/ 13 w 91"/>
                  <a:gd name="T23" fmla="*/ 31 h 82"/>
                  <a:gd name="T24" fmla="*/ 28 w 91"/>
                  <a:gd name="T25" fmla="*/ 62 h 82"/>
                  <a:gd name="T26" fmla="*/ 28 w 91"/>
                  <a:gd name="T27" fmla="*/ 6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1" h="82">
                    <a:moveTo>
                      <a:pt x="28" y="62"/>
                    </a:moveTo>
                    <a:lnTo>
                      <a:pt x="28" y="62"/>
                    </a:lnTo>
                    <a:lnTo>
                      <a:pt x="59" y="73"/>
                    </a:lnTo>
                    <a:lnTo>
                      <a:pt x="91" y="82"/>
                    </a:lnTo>
                    <a:lnTo>
                      <a:pt x="91" y="82"/>
                    </a:lnTo>
                    <a:lnTo>
                      <a:pt x="77" y="54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31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31"/>
                    </a:lnTo>
                    <a:lnTo>
                      <a:pt x="28" y="62"/>
                    </a:lnTo>
                    <a:lnTo>
                      <a:pt x="28" y="62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3"/>
              <p:cNvSpPr>
                <a:spLocks/>
              </p:cNvSpPr>
              <p:nvPr/>
            </p:nvSpPr>
            <p:spPr bwMode="auto">
              <a:xfrm>
                <a:off x="2834" y="2391"/>
                <a:ext cx="69" cy="66"/>
              </a:xfrm>
              <a:custGeom>
                <a:avLst/>
                <a:gdLst>
                  <a:gd name="T0" fmla="*/ 1255 w 1256"/>
                  <a:gd name="T1" fmla="*/ 660 h 1256"/>
                  <a:gd name="T2" fmla="*/ 1243 w 1256"/>
                  <a:gd name="T3" fmla="*/ 754 h 1256"/>
                  <a:gd name="T4" fmla="*/ 1218 w 1256"/>
                  <a:gd name="T5" fmla="*/ 845 h 1256"/>
                  <a:gd name="T6" fmla="*/ 1180 w 1256"/>
                  <a:gd name="T7" fmla="*/ 928 h 1256"/>
                  <a:gd name="T8" fmla="*/ 1132 w 1256"/>
                  <a:gd name="T9" fmla="*/ 1004 h 1256"/>
                  <a:gd name="T10" fmla="*/ 1071 w 1256"/>
                  <a:gd name="T11" fmla="*/ 1073 h 1256"/>
                  <a:gd name="T12" fmla="*/ 1004 w 1256"/>
                  <a:gd name="T13" fmla="*/ 1132 h 1256"/>
                  <a:gd name="T14" fmla="*/ 928 w 1256"/>
                  <a:gd name="T15" fmla="*/ 1181 h 1256"/>
                  <a:gd name="T16" fmla="*/ 843 w 1256"/>
                  <a:gd name="T17" fmla="*/ 1218 h 1256"/>
                  <a:gd name="T18" fmla="*/ 754 w 1256"/>
                  <a:gd name="T19" fmla="*/ 1243 h 1256"/>
                  <a:gd name="T20" fmla="*/ 660 w 1256"/>
                  <a:gd name="T21" fmla="*/ 1256 h 1256"/>
                  <a:gd name="T22" fmla="*/ 595 w 1256"/>
                  <a:gd name="T23" fmla="*/ 1256 h 1256"/>
                  <a:gd name="T24" fmla="*/ 500 w 1256"/>
                  <a:gd name="T25" fmla="*/ 1243 h 1256"/>
                  <a:gd name="T26" fmla="*/ 411 w 1256"/>
                  <a:gd name="T27" fmla="*/ 1218 h 1256"/>
                  <a:gd name="T28" fmla="*/ 328 w 1256"/>
                  <a:gd name="T29" fmla="*/ 1181 h 1256"/>
                  <a:gd name="T30" fmla="*/ 252 w 1256"/>
                  <a:gd name="T31" fmla="*/ 1132 h 1256"/>
                  <a:gd name="T32" fmla="*/ 183 w 1256"/>
                  <a:gd name="T33" fmla="*/ 1073 h 1256"/>
                  <a:gd name="T34" fmla="*/ 124 w 1256"/>
                  <a:gd name="T35" fmla="*/ 1004 h 1256"/>
                  <a:gd name="T36" fmla="*/ 75 w 1256"/>
                  <a:gd name="T37" fmla="*/ 928 h 1256"/>
                  <a:gd name="T38" fmla="*/ 36 w 1256"/>
                  <a:gd name="T39" fmla="*/ 845 h 1256"/>
                  <a:gd name="T40" fmla="*/ 13 w 1256"/>
                  <a:gd name="T41" fmla="*/ 754 h 1256"/>
                  <a:gd name="T42" fmla="*/ 0 w 1256"/>
                  <a:gd name="T43" fmla="*/ 660 h 1256"/>
                  <a:gd name="T44" fmla="*/ 0 w 1256"/>
                  <a:gd name="T45" fmla="*/ 596 h 1256"/>
                  <a:gd name="T46" fmla="*/ 13 w 1256"/>
                  <a:gd name="T47" fmla="*/ 502 h 1256"/>
                  <a:gd name="T48" fmla="*/ 36 w 1256"/>
                  <a:gd name="T49" fmla="*/ 411 h 1256"/>
                  <a:gd name="T50" fmla="*/ 75 w 1256"/>
                  <a:gd name="T51" fmla="*/ 328 h 1256"/>
                  <a:gd name="T52" fmla="*/ 124 w 1256"/>
                  <a:gd name="T53" fmla="*/ 252 h 1256"/>
                  <a:gd name="T54" fmla="*/ 183 w 1256"/>
                  <a:gd name="T55" fmla="*/ 183 h 1256"/>
                  <a:gd name="T56" fmla="*/ 252 w 1256"/>
                  <a:gd name="T57" fmla="*/ 124 h 1256"/>
                  <a:gd name="T58" fmla="*/ 328 w 1256"/>
                  <a:gd name="T59" fmla="*/ 75 h 1256"/>
                  <a:gd name="T60" fmla="*/ 411 w 1256"/>
                  <a:gd name="T61" fmla="*/ 38 h 1256"/>
                  <a:gd name="T62" fmla="*/ 500 w 1256"/>
                  <a:gd name="T63" fmla="*/ 13 h 1256"/>
                  <a:gd name="T64" fmla="*/ 595 w 1256"/>
                  <a:gd name="T65" fmla="*/ 0 h 1256"/>
                  <a:gd name="T66" fmla="*/ 660 w 1256"/>
                  <a:gd name="T67" fmla="*/ 0 h 1256"/>
                  <a:gd name="T68" fmla="*/ 754 w 1256"/>
                  <a:gd name="T69" fmla="*/ 13 h 1256"/>
                  <a:gd name="T70" fmla="*/ 843 w 1256"/>
                  <a:gd name="T71" fmla="*/ 38 h 1256"/>
                  <a:gd name="T72" fmla="*/ 928 w 1256"/>
                  <a:gd name="T73" fmla="*/ 75 h 1256"/>
                  <a:gd name="T74" fmla="*/ 1004 w 1256"/>
                  <a:gd name="T75" fmla="*/ 124 h 1256"/>
                  <a:gd name="T76" fmla="*/ 1071 w 1256"/>
                  <a:gd name="T77" fmla="*/ 183 h 1256"/>
                  <a:gd name="T78" fmla="*/ 1132 w 1256"/>
                  <a:gd name="T79" fmla="*/ 252 h 1256"/>
                  <a:gd name="T80" fmla="*/ 1180 w 1256"/>
                  <a:gd name="T81" fmla="*/ 328 h 1256"/>
                  <a:gd name="T82" fmla="*/ 1218 w 1256"/>
                  <a:gd name="T83" fmla="*/ 411 h 1256"/>
                  <a:gd name="T84" fmla="*/ 1243 w 1256"/>
                  <a:gd name="T85" fmla="*/ 502 h 1256"/>
                  <a:gd name="T86" fmla="*/ 1255 w 1256"/>
                  <a:gd name="T87" fmla="*/ 596 h 1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56" h="1256">
                    <a:moveTo>
                      <a:pt x="1256" y="628"/>
                    </a:moveTo>
                    <a:lnTo>
                      <a:pt x="1256" y="628"/>
                    </a:lnTo>
                    <a:lnTo>
                      <a:pt x="1255" y="660"/>
                    </a:lnTo>
                    <a:lnTo>
                      <a:pt x="1253" y="692"/>
                    </a:lnTo>
                    <a:lnTo>
                      <a:pt x="1248" y="724"/>
                    </a:lnTo>
                    <a:lnTo>
                      <a:pt x="1243" y="754"/>
                    </a:lnTo>
                    <a:lnTo>
                      <a:pt x="1236" y="786"/>
                    </a:lnTo>
                    <a:lnTo>
                      <a:pt x="1228" y="815"/>
                    </a:lnTo>
                    <a:lnTo>
                      <a:pt x="1218" y="845"/>
                    </a:lnTo>
                    <a:lnTo>
                      <a:pt x="1207" y="872"/>
                    </a:lnTo>
                    <a:lnTo>
                      <a:pt x="1194" y="901"/>
                    </a:lnTo>
                    <a:lnTo>
                      <a:pt x="1180" y="928"/>
                    </a:lnTo>
                    <a:lnTo>
                      <a:pt x="1165" y="953"/>
                    </a:lnTo>
                    <a:lnTo>
                      <a:pt x="1149" y="979"/>
                    </a:lnTo>
                    <a:lnTo>
                      <a:pt x="1132" y="1004"/>
                    </a:lnTo>
                    <a:lnTo>
                      <a:pt x="1113" y="1028"/>
                    </a:lnTo>
                    <a:lnTo>
                      <a:pt x="1094" y="1051"/>
                    </a:lnTo>
                    <a:lnTo>
                      <a:pt x="1071" y="1073"/>
                    </a:lnTo>
                    <a:lnTo>
                      <a:pt x="1051" y="1094"/>
                    </a:lnTo>
                    <a:lnTo>
                      <a:pt x="1027" y="1113"/>
                    </a:lnTo>
                    <a:lnTo>
                      <a:pt x="1004" y="1132"/>
                    </a:lnTo>
                    <a:lnTo>
                      <a:pt x="979" y="1149"/>
                    </a:lnTo>
                    <a:lnTo>
                      <a:pt x="953" y="1165"/>
                    </a:lnTo>
                    <a:lnTo>
                      <a:pt x="928" y="1181"/>
                    </a:lnTo>
                    <a:lnTo>
                      <a:pt x="901" y="1194"/>
                    </a:lnTo>
                    <a:lnTo>
                      <a:pt x="872" y="1207"/>
                    </a:lnTo>
                    <a:lnTo>
                      <a:pt x="843" y="1218"/>
                    </a:lnTo>
                    <a:lnTo>
                      <a:pt x="815" y="1228"/>
                    </a:lnTo>
                    <a:lnTo>
                      <a:pt x="784" y="1237"/>
                    </a:lnTo>
                    <a:lnTo>
                      <a:pt x="754" y="1243"/>
                    </a:lnTo>
                    <a:lnTo>
                      <a:pt x="724" y="1250"/>
                    </a:lnTo>
                    <a:lnTo>
                      <a:pt x="692" y="1253"/>
                    </a:lnTo>
                    <a:lnTo>
                      <a:pt x="660" y="1256"/>
                    </a:lnTo>
                    <a:lnTo>
                      <a:pt x="628" y="1256"/>
                    </a:lnTo>
                    <a:lnTo>
                      <a:pt x="628" y="1256"/>
                    </a:lnTo>
                    <a:lnTo>
                      <a:pt x="595" y="1256"/>
                    </a:lnTo>
                    <a:lnTo>
                      <a:pt x="563" y="1253"/>
                    </a:lnTo>
                    <a:lnTo>
                      <a:pt x="532" y="1250"/>
                    </a:lnTo>
                    <a:lnTo>
                      <a:pt x="500" y="1243"/>
                    </a:lnTo>
                    <a:lnTo>
                      <a:pt x="470" y="1237"/>
                    </a:lnTo>
                    <a:lnTo>
                      <a:pt x="441" y="1228"/>
                    </a:lnTo>
                    <a:lnTo>
                      <a:pt x="411" y="1218"/>
                    </a:lnTo>
                    <a:lnTo>
                      <a:pt x="382" y="1207"/>
                    </a:lnTo>
                    <a:lnTo>
                      <a:pt x="355" y="1194"/>
                    </a:lnTo>
                    <a:lnTo>
                      <a:pt x="328" y="1181"/>
                    </a:lnTo>
                    <a:lnTo>
                      <a:pt x="301" y="1165"/>
                    </a:lnTo>
                    <a:lnTo>
                      <a:pt x="276" y="1149"/>
                    </a:lnTo>
                    <a:lnTo>
                      <a:pt x="252" y="1132"/>
                    </a:lnTo>
                    <a:lnTo>
                      <a:pt x="228" y="1113"/>
                    </a:lnTo>
                    <a:lnTo>
                      <a:pt x="205" y="1094"/>
                    </a:lnTo>
                    <a:lnTo>
                      <a:pt x="183" y="1073"/>
                    </a:lnTo>
                    <a:lnTo>
                      <a:pt x="162" y="1051"/>
                    </a:lnTo>
                    <a:lnTo>
                      <a:pt x="143" y="1028"/>
                    </a:lnTo>
                    <a:lnTo>
                      <a:pt x="124" y="1004"/>
                    </a:lnTo>
                    <a:lnTo>
                      <a:pt x="107" y="979"/>
                    </a:lnTo>
                    <a:lnTo>
                      <a:pt x="91" y="953"/>
                    </a:lnTo>
                    <a:lnTo>
                      <a:pt x="75" y="928"/>
                    </a:lnTo>
                    <a:lnTo>
                      <a:pt x="60" y="901"/>
                    </a:lnTo>
                    <a:lnTo>
                      <a:pt x="49" y="872"/>
                    </a:lnTo>
                    <a:lnTo>
                      <a:pt x="36" y="845"/>
                    </a:lnTo>
                    <a:lnTo>
                      <a:pt x="27" y="815"/>
                    </a:lnTo>
                    <a:lnTo>
                      <a:pt x="19" y="786"/>
                    </a:lnTo>
                    <a:lnTo>
                      <a:pt x="13" y="754"/>
                    </a:lnTo>
                    <a:lnTo>
                      <a:pt x="6" y="724"/>
                    </a:lnTo>
                    <a:lnTo>
                      <a:pt x="3" y="692"/>
                    </a:lnTo>
                    <a:lnTo>
                      <a:pt x="0" y="660"/>
                    </a:lnTo>
                    <a:lnTo>
                      <a:pt x="0" y="628"/>
                    </a:lnTo>
                    <a:lnTo>
                      <a:pt x="0" y="628"/>
                    </a:lnTo>
                    <a:lnTo>
                      <a:pt x="0" y="596"/>
                    </a:lnTo>
                    <a:lnTo>
                      <a:pt x="3" y="564"/>
                    </a:lnTo>
                    <a:lnTo>
                      <a:pt x="6" y="532"/>
                    </a:lnTo>
                    <a:lnTo>
                      <a:pt x="13" y="502"/>
                    </a:lnTo>
                    <a:lnTo>
                      <a:pt x="19" y="470"/>
                    </a:lnTo>
                    <a:lnTo>
                      <a:pt x="27" y="441"/>
                    </a:lnTo>
                    <a:lnTo>
                      <a:pt x="36" y="411"/>
                    </a:lnTo>
                    <a:lnTo>
                      <a:pt x="49" y="384"/>
                    </a:lnTo>
                    <a:lnTo>
                      <a:pt x="60" y="355"/>
                    </a:lnTo>
                    <a:lnTo>
                      <a:pt x="75" y="328"/>
                    </a:lnTo>
                    <a:lnTo>
                      <a:pt x="91" y="303"/>
                    </a:lnTo>
                    <a:lnTo>
                      <a:pt x="107" y="277"/>
                    </a:lnTo>
                    <a:lnTo>
                      <a:pt x="124" y="252"/>
                    </a:lnTo>
                    <a:lnTo>
                      <a:pt x="143" y="228"/>
                    </a:lnTo>
                    <a:lnTo>
                      <a:pt x="162" y="205"/>
                    </a:lnTo>
                    <a:lnTo>
                      <a:pt x="183" y="183"/>
                    </a:lnTo>
                    <a:lnTo>
                      <a:pt x="205" y="162"/>
                    </a:lnTo>
                    <a:lnTo>
                      <a:pt x="228" y="143"/>
                    </a:lnTo>
                    <a:lnTo>
                      <a:pt x="252" y="124"/>
                    </a:lnTo>
                    <a:lnTo>
                      <a:pt x="276" y="107"/>
                    </a:lnTo>
                    <a:lnTo>
                      <a:pt x="301" y="91"/>
                    </a:lnTo>
                    <a:lnTo>
                      <a:pt x="328" y="75"/>
                    </a:lnTo>
                    <a:lnTo>
                      <a:pt x="355" y="62"/>
                    </a:lnTo>
                    <a:lnTo>
                      <a:pt x="382" y="49"/>
                    </a:lnTo>
                    <a:lnTo>
                      <a:pt x="411" y="38"/>
                    </a:lnTo>
                    <a:lnTo>
                      <a:pt x="441" y="28"/>
                    </a:lnTo>
                    <a:lnTo>
                      <a:pt x="470" y="19"/>
                    </a:lnTo>
                    <a:lnTo>
                      <a:pt x="500" y="13"/>
                    </a:lnTo>
                    <a:lnTo>
                      <a:pt x="532" y="6"/>
                    </a:lnTo>
                    <a:lnTo>
                      <a:pt x="563" y="3"/>
                    </a:lnTo>
                    <a:lnTo>
                      <a:pt x="595" y="0"/>
                    </a:lnTo>
                    <a:lnTo>
                      <a:pt x="628" y="0"/>
                    </a:lnTo>
                    <a:lnTo>
                      <a:pt x="628" y="0"/>
                    </a:lnTo>
                    <a:lnTo>
                      <a:pt x="660" y="0"/>
                    </a:lnTo>
                    <a:lnTo>
                      <a:pt x="692" y="3"/>
                    </a:lnTo>
                    <a:lnTo>
                      <a:pt x="724" y="6"/>
                    </a:lnTo>
                    <a:lnTo>
                      <a:pt x="754" y="13"/>
                    </a:lnTo>
                    <a:lnTo>
                      <a:pt x="784" y="19"/>
                    </a:lnTo>
                    <a:lnTo>
                      <a:pt x="815" y="28"/>
                    </a:lnTo>
                    <a:lnTo>
                      <a:pt x="843" y="38"/>
                    </a:lnTo>
                    <a:lnTo>
                      <a:pt x="872" y="49"/>
                    </a:lnTo>
                    <a:lnTo>
                      <a:pt x="901" y="62"/>
                    </a:lnTo>
                    <a:lnTo>
                      <a:pt x="928" y="75"/>
                    </a:lnTo>
                    <a:lnTo>
                      <a:pt x="953" y="91"/>
                    </a:lnTo>
                    <a:lnTo>
                      <a:pt x="979" y="107"/>
                    </a:lnTo>
                    <a:lnTo>
                      <a:pt x="1004" y="124"/>
                    </a:lnTo>
                    <a:lnTo>
                      <a:pt x="1027" y="143"/>
                    </a:lnTo>
                    <a:lnTo>
                      <a:pt x="1051" y="162"/>
                    </a:lnTo>
                    <a:lnTo>
                      <a:pt x="1071" y="183"/>
                    </a:lnTo>
                    <a:lnTo>
                      <a:pt x="1094" y="205"/>
                    </a:lnTo>
                    <a:lnTo>
                      <a:pt x="1113" y="228"/>
                    </a:lnTo>
                    <a:lnTo>
                      <a:pt x="1132" y="252"/>
                    </a:lnTo>
                    <a:lnTo>
                      <a:pt x="1149" y="277"/>
                    </a:lnTo>
                    <a:lnTo>
                      <a:pt x="1165" y="303"/>
                    </a:lnTo>
                    <a:lnTo>
                      <a:pt x="1180" y="328"/>
                    </a:lnTo>
                    <a:lnTo>
                      <a:pt x="1194" y="355"/>
                    </a:lnTo>
                    <a:lnTo>
                      <a:pt x="1207" y="384"/>
                    </a:lnTo>
                    <a:lnTo>
                      <a:pt x="1218" y="411"/>
                    </a:lnTo>
                    <a:lnTo>
                      <a:pt x="1228" y="441"/>
                    </a:lnTo>
                    <a:lnTo>
                      <a:pt x="1236" y="470"/>
                    </a:lnTo>
                    <a:lnTo>
                      <a:pt x="1243" y="502"/>
                    </a:lnTo>
                    <a:lnTo>
                      <a:pt x="1248" y="532"/>
                    </a:lnTo>
                    <a:lnTo>
                      <a:pt x="1253" y="564"/>
                    </a:lnTo>
                    <a:lnTo>
                      <a:pt x="1255" y="596"/>
                    </a:lnTo>
                    <a:lnTo>
                      <a:pt x="1256" y="628"/>
                    </a:lnTo>
                    <a:lnTo>
                      <a:pt x="1256" y="628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53782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50"/>
                            </p:stCondLst>
                            <p:childTnLst>
                              <p:par>
                                <p:cTn id="2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2" grpId="0" animBg="1"/>
      <p:bldP spid="30" grpId="0"/>
      <p:bldP spid="51" grpId="0"/>
      <p:bldP spid="5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 Same Side Corner Rectangle 22"/>
          <p:cNvSpPr/>
          <p:nvPr/>
        </p:nvSpPr>
        <p:spPr>
          <a:xfrm>
            <a:off x="415827" y="-4572"/>
            <a:ext cx="694204" cy="1145512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5966" y="360378"/>
            <a:ext cx="7440862" cy="73183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000" dirty="0" smtClean="0"/>
              <a:t>How do you know when you’re ready?</a:t>
            </a:r>
            <a:endParaRPr lang="en-US" sz="180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893" y="510748"/>
            <a:ext cx="519060" cy="519060"/>
          </a:xfrm>
          <a:prstGeom prst="rect">
            <a:avLst/>
          </a:prstGeom>
        </p:spPr>
      </p:pic>
      <p:sp>
        <p:nvSpPr>
          <p:cNvPr id="67" name="Alternate Process 66"/>
          <p:cNvSpPr/>
          <p:nvPr/>
        </p:nvSpPr>
        <p:spPr>
          <a:xfrm>
            <a:off x="1536559" y="1586064"/>
            <a:ext cx="2659884" cy="914400"/>
          </a:xfrm>
          <a:prstGeom prst="flowChartAlternateProcess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baseline="0" dirty="0">
              <a:solidFill>
                <a:srgbClr val="005073"/>
              </a:solidFill>
              <a:latin typeface="+mn-lt"/>
              <a:ea typeface=""/>
              <a:cs typeface="CiscoSan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+mn-lt"/>
              <a:ea typeface=""/>
              <a:cs typeface="CiscoSan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+mn-lt"/>
              <a:ea typeface=""/>
              <a:cs typeface="CiscoSans"/>
            </a:endParaRPr>
          </a:p>
        </p:txBody>
      </p:sp>
      <p:sp>
        <p:nvSpPr>
          <p:cNvPr id="72" name="Oval 5"/>
          <p:cNvSpPr>
            <a:spLocks noChangeArrowheads="1"/>
          </p:cNvSpPr>
          <p:nvPr/>
        </p:nvSpPr>
        <p:spPr bwMode="auto">
          <a:xfrm>
            <a:off x="1125156" y="1586063"/>
            <a:ext cx="914400" cy="91440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sp>
        <p:nvSpPr>
          <p:cNvPr id="24" name="Alternate Process 23"/>
          <p:cNvSpPr/>
          <p:nvPr/>
        </p:nvSpPr>
        <p:spPr>
          <a:xfrm>
            <a:off x="1536559" y="2994312"/>
            <a:ext cx="2659884" cy="914400"/>
          </a:xfrm>
          <a:prstGeom prst="flowChartAlternateProcess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baseline="0" dirty="0">
              <a:solidFill>
                <a:srgbClr val="005073"/>
              </a:solidFill>
              <a:latin typeface="+mn-lt"/>
              <a:ea typeface=""/>
              <a:cs typeface="CiscoSan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+mn-lt"/>
              <a:ea typeface=""/>
              <a:cs typeface="CiscoSan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+mn-lt"/>
              <a:ea typeface=""/>
              <a:cs typeface="CiscoSans"/>
            </a:endParaRPr>
          </a:p>
        </p:txBody>
      </p:sp>
      <p:sp>
        <p:nvSpPr>
          <p:cNvPr id="38" name="Alternate Process 37"/>
          <p:cNvSpPr/>
          <p:nvPr/>
        </p:nvSpPr>
        <p:spPr>
          <a:xfrm>
            <a:off x="5148856" y="1586064"/>
            <a:ext cx="2659884" cy="914400"/>
          </a:xfrm>
          <a:prstGeom prst="flowChartAlternateProcess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baseline="0" dirty="0">
              <a:solidFill>
                <a:srgbClr val="005073"/>
              </a:solidFill>
              <a:latin typeface="+mn-lt"/>
              <a:ea typeface=""/>
              <a:cs typeface="CiscoSan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+mn-lt"/>
              <a:ea typeface=""/>
              <a:cs typeface="CiscoSan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+mn-lt"/>
              <a:ea typeface=""/>
              <a:cs typeface="CiscoSans"/>
            </a:endParaRPr>
          </a:p>
        </p:txBody>
      </p:sp>
      <p:sp>
        <p:nvSpPr>
          <p:cNvPr id="49" name="Alternate Process 48"/>
          <p:cNvSpPr/>
          <p:nvPr/>
        </p:nvSpPr>
        <p:spPr>
          <a:xfrm>
            <a:off x="5148856" y="2994312"/>
            <a:ext cx="2659884" cy="914400"/>
          </a:xfrm>
          <a:prstGeom prst="flowChartAlternateProcess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b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0" baseline="0" dirty="0">
              <a:solidFill>
                <a:srgbClr val="005073"/>
              </a:solidFill>
              <a:latin typeface="+mn-lt"/>
              <a:ea typeface=""/>
              <a:cs typeface="CiscoSan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+mn-lt"/>
              <a:ea typeface=""/>
              <a:cs typeface="CiscoSan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+mn-lt"/>
              <a:ea typeface=""/>
              <a:cs typeface="CiscoSan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033474" y="1798940"/>
            <a:ext cx="20116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srgbClr val="005073"/>
                </a:solidFill>
                <a:latin typeface="+mn-lt"/>
                <a:ea typeface=""/>
                <a:cs typeface="CiscoSans"/>
              </a:rPr>
              <a:t>Mergers and acquisitions</a:t>
            </a:r>
            <a:endParaRPr lang="en-US" sz="1400" kern="0" dirty="0">
              <a:solidFill>
                <a:srgbClr val="005073"/>
              </a:solidFill>
              <a:latin typeface="+mn-lt"/>
              <a:ea typeface=""/>
              <a:cs typeface="CiscoSan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2039555" y="3189902"/>
            <a:ext cx="20116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smtClean="0">
                <a:solidFill>
                  <a:srgbClr val="005073"/>
                </a:solidFill>
                <a:latin typeface="+mn-lt"/>
                <a:ea typeface=""/>
                <a:cs typeface="CiscoSans"/>
              </a:rPr>
              <a:t>Preparing for a compliance audit</a:t>
            </a:r>
            <a:endParaRPr lang="en-US" sz="1400" kern="0" dirty="0">
              <a:solidFill>
                <a:srgbClr val="005073"/>
              </a:solidFill>
              <a:latin typeface="+mn-lt"/>
              <a:ea typeface=""/>
              <a:cs typeface="CiscoSan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671323" y="1889374"/>
            <a:ext cx="20116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smtClean="0">
                <a:solidFill>
                  <a:srgbClr val="005073"/>
                </a:solidFill>
                <a:latin typeface="+mn-lt"/>
                <a:ea typeface=""/>
                <a:cs typeface="CiscoSans"/>
              </a:rPr>
              <a:t>CISO transition</a:t>
            </a:r>
            <a:endParaRPr lang="en-US" sz="1400" kern="0" dirty="0">
              <a:solidFill>
                <a:srgbClr val="005073"/>
              </a:solidFill>
              <a:latin typeface="+mn-lt"/>
              <a:ea typeface=""/>
              <a:cs typeface="CiscoSan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125156" y="3002781"/>
            <a:ext cx="914400" cy="914400"/>
            <a:chOff x="1127592" y="3000672"/>
            <a:chExt cx="914400" cy="914400"/>
          </a:xfrm>
        </p:grpSpPr>
        <p:sp>
          <p:nvSpPr>
            <p:cNvPr id="61" name="Oval 5"/>
            <p:cNvSpPr>
              <a:spLocks noChangeArrowheads="1"/>
            </p:cNvSpPr>
            <p:nvPr/>
          </p:nvSpPr>
          <p:spPr bwMode="auto">
            <a:xfrm>
              <a:off x="1127592" y="3000672"/>
              <a:ext cx="914400" cy="914400"/>
            </a:xfrm>
            <a:prstGeom prst="ellipse">
              <a:avLst/>
            </a:prstGeom>
            <a:solidFill>
              <a:srgbClr val="005073"/>
            </a:solidFill>
            <a:ln w="12700">
              <a:solidFill>
                <a:schemeClr val="bg1"/>
              </a:solidFill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</a:endParaRPr>
            </a:p>
          </p:txBody>
        </p:sp>
        <p:grpSp>
          <p:nvGrpSpPr>
            <p:cNvPr id="62" name="Group 262"/>
            <p:cNvGrpSpPr>
              <a:grpSpLocks noChangeAspect="1"/>
            </p:cNvGrpSpPr>
            <p:nvPr/>
          </p:nvGrpSpPr>
          <p:grpSpPr>
            <a:xfrm flipH="1">
              <a:off x="1387842" y="3198371"/>
              <a:ext cx="373198" cy="503973"/>
              <a:chOff x="12665075" y="1385886"/>
              <a:chExt cx="606427" cy="819149"/>
            </a:xfrm>
            <a:solidFill>
              <a:schemeClr val="accent1"/>
            </a:solidFill>
          </p:grpSpPr>
          <p:sp>
            <p:nvSpPr>
              <p:cNvPr id="63" name="Freeform 39"/>
              <p:cNvSpPr>
                <a:spLocks noEditPoints="1"/>
              </p:cNvSpPr>
              <p:nvPr/>
            </p:nvSpPr>
            <p:spPr bwMode="auto">
              <a:xfrm>
                <a:off x="12665075" y="1389060"/>
                <a:ext cx="606425" cy="815975"/>
              </a:xfrm>
              <a:custGeom>
                <a:avLst/>
                <a:gdLst/>
                <a:ahLst/>
                <a:cxnLst>
                  <a:cxn ang="0">
                    <a:pos x="0" y="514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88" y="0"/>
                  </a:cxn>
                  <a:cxn ang="0">
                    <a:pos x="382" y="92"/>
                  </a:cxn>
                  <a:cxn ang="0">
                    <a:pos x="382" y="514"/>
                  </a:cxn>
                  <a:cxn ang="0">
                    <a:pos x="0" y="514"/>
                  </a:cxn>
                  <a:cxn ang="0">
                    <a:pos x="0" y="514"/>
                  </a:cxn>
                  <a:cxn ang="0">
                    <a:pos x="12" y="502"/>
                  </a:cxn>
                  <a:cxn ang="0">
                    <a:pos x="370" y="502"/>
                  </a:cxn>
                  <a:cxn ang="0">
                    <a:pos x="370" y="98"/>
                  </a:cxn>
                  <a:cxn ang="0">
                    <a:pos x="284" y="12"/>
                  </a:cxn>
                  <a:cxn ang="0">
                    <a:pos x="12" y="12"/>
                  </a:cxn>
                  <a:cxn ang="0">
                    <a:pos x="12" y="502"/>
                  </a:cxn>
                  <a:cxn ang="0">
                    <a:pos x="12" y="502"/>
                  </a:cxn>
                </a:cxnLst>
                <a:rect l="0" t="0" r="r" b="b"/>
                <a:pathLst>
                  <a:path w="382" h="514">
                    <a:moveTo>
                      <a:pt x="0" y="514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288" y="0"/>
                    </a:lnTo>
                    <a:lnTo>
                      <a:pt x="382" y="92"/>
                    </a:lnTo>
                    <a:lnTo>
                      <a:pt x="382" y="514"/>
                    </a:lnTo>
                    <a:lnTo>
                      <a:pt x="0" y="514"/>
                    </a:lnTo>
                    <a:lnTo>
                      <a:pt x="0" y="514"/>
                    </a:lnTo>
                    <a:close/>
                    <a:moveTo>
                      <a:pt x="12" y="502"/>
                    </a:moveTo>
                    <a:lnTo>
                      <a:pt x="370" y="502"/>
                    </a:lnTo>
                    <a:lnTo>
                      <a:pt x="370" y="98"/>
                    </a:lnTo>
                    <a:lnTo>
                      <a:pt x="284" y="12"/>
                    </a:lnTo>
                    <a:lnTo>
                      <a:pt x="12" y="12"/>
                    </a:lnTo>
                    <a:lnTo>
                      <a:pt x="12" y="502"/>
                    </a:lnTo>
                    <a:lnTo>
                      <a:pt x="12" y="50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C4D4F"/>
                  </a:solidFill>
                </a:endParaRPr>
              </a:p>
            </p:txBody>
          </p:sp>
          <p:sp>
            <p:nvSpPr>
              <p:cNvPr id="64" name="Freeform 40"/>
              <p:cNvSpPr>
                <a:spLocks noEditPoints="1"/>
              </p:cNvSpPr>
              <p:nvPr/>
            </p:nvSpPr>
            <p:spPr bwMode="auto">
              <a:xfrm>
                <a:off x="12750801" y="1547811"/>
                <a:ext cx="444500" cy="539750"/>
              </a:xfrm>
              <a:custGeom>
                <a:avLst/>
                <a:gdLst/>
                <a:ahLst/>
                <a:cxnLst>
                  <a:cxn ang="0">
                    <a:pos x="0" y="322"/>
                  </a:cxn>
                  <a:cxn ang="0">
                    <a:pos x="280" y="322"/>
                  </a:cxn>
                  <a:cxn ang="0">
                    <a:pos x="280" y="340"/>
                  </a:cxn>
                  <a:cxn ang="0">
                    <a:pos x="0" y="340"/>
                  </a:cxn>
                  <a:cxn ang="0">
                    <a:pos x="0" y="322"/>
                  </a:cxn>
                  <a:cxn ang="0">
                    <a:pos x="0" y="322"/>
                  </a:cxn>
                  <a:cxn ang="0">
                    <a:pos x="0" y="268"/>
                  </a:cxn>
                  <a:cxn ang="0">
                    <a:pos x="280" y="268"/>
                  </a:cxn>
                  <a:cxn ang="0">
                    <a:pos x="280" y="286"/>
                  </a:cxn>
                  <a:cxn ang="0">
                    <a:pos x="0" y="286"/>
                  </a:cxn>
                  <a:cxn ang="0">
                    <a:pos x="0" y="268"/>
                  </a:cxn>
                  <a:cxn ang="0">
                    <a:pos x="0" y="268"/>
                  </a:cxn>
                  <a:cxn ang="0">
                    <a:pos x="0" y="214"/>
                  </a:cxn>
                  <a:cxn ang="0">
                    <a:pos x="280" y="214"/>
                  </a:cxn>
                  <a:cxn ang="0">
                    <a:pos x="280" y="234"/>
                  </a:cxn>
                  <a:cxn ang="0">
                    <a:pos x="0" y="234"/>
                  </a:cxn>
                  <a:cxn ang="0">
                    <a:pos x="0" y="214"/>
                  </a:cxn>
                  <a:cxn ang="0">
                    <a:pos x="0" y="214"/>
                  </a:cxn>
                  <a:cxn ang="0">
                    <a:pos x="0" y="160"/>
                  </a:cxn>
                  <a:cxn ang="0">
                    <a:pos x="280" y="160"/>
                  </a:cxn>
                  <a:cxn ang="0">
                    <a:pos x="280" y="180"/>
                  </a:cxn>
                  <a:cxn ang="0">
                    <a:pos x="0" y="180"/>
                  </a:cxn>
                  <a:cxn ang="0">
                    <a:pos x="0" y="160"/>
                  </a:cxn>
                  <a:cxn ang="0">
                    <a:pos x="0" y="160"/>
                  </a:cxn>
                  <a:cxn ang="0">
                    <a:pos x="0" y="106"/>
                  </a:cxn>
                  <a:cxn ang="0">
                    <a:pos x="280" y="106"/>
                  </a:cxn>
                  <a:cxn ang="0">
                    <a:pos x="280" y="126"/>
                  </a:cxn>
                  <a:cxn ang="0">
                    <a:pos x="0" y="126"/>
                  </a:cxn>
                  <a:cxn ang="0">
                    <a:pos x="0" y="106"/>
                  </a:cxn>
                  <a:cxn ang="0">
                    <a:pos x="0" y="106"/>
                  </a:cxn>
                  <a:cxn ang="0">
                    <a:pos x="0" y="52"/>
                  </a:cxn>
                  <a:cxn ang="0">
                    <a:pos x="280" y="52"/>
                  </a:cxn>
                  <a:cxn ang="0">
                    <a:pos x="280" y="72"/>
                  </a:cxn>
                  <a:cxn ang="0">
                    <a:pos x="0" y="72"/>
                  </a:cxn>
                  <a:cxn ang="0">
                    <a:pos x="0" y="52"/>
                  </a:cxn>
                  <a:cxn ang="0">
                    <a:pos x="0" y="52"/>
                  </a:cxn>
                  <a:cxn ang="0">
                    <a:pos x="0" y="0"/>
                  </a:cxn>
                  <a:cxn ang="0">
                    <a:pos x="206" y="0"/>
                  </a:cxn>
                  <a:cxn ang="0">
                    <a:pos x="206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80" h="340">
                    <a:moveTo>
                      <a:pt x="0" y="322"/>
                    </a:moveTo>
                    <a:lnTo>
                      <a:pt x="280" y="322"/>
                    </a:lnTo>
                    <a:lnTo>
                      <a:pt x="280" y="340"/>
                    </a:lnTo>
                    <a:lnTo>
                      <a:pt x="0" y="340"/>
                    </a:lnTo>
                    <a:lnTo>
                      <a:pt x="0" y="322"/>
                    </a:lnTo>
                    <a:lnTo>
                      <a:pt x="0" y="322"/>
                    </a:lnTo>
                    <a:close/>
                    <a:moveTo>
                      <a:pt x="0" y="268"/>
                    </a:moveTo>
                    <a:lnTo>
                      <a:pt x="280" y="268"/>
                    </a:lnTo>
                    <a:lnTo>
                      <a:pt x="280" y="286"/>
                    </a:lnTo>
                    <a:lnTo>
                      <a:pt x="0" y="286"/>
                    </a:lnTo>
                    <a:lnTo>
                      <a:pt x="0" y="268"/>
                    </a:lnTo>
                    <a:lnTo>
                      <a:pt x="0" y="268"/>
                    </a:lnTo>
                    <a:close/>
                    <a:moveTo>
                      <a:pt x="0" y="214"/>
                    </a:moveTo>
                    <a:lnTo>
                      <a:pt x="280" y="214"/>
                    </a:lnTo>
                    <a:lnTo>
                      <a:pt x="280" y="234"/>
                    </a:lnTo>
                    <a:lnTo>
                      <a:pt x="0" y="23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0" y="160"/>
                    </a:moveTo>
                    <a:lnTo>
                      <a:pt x="280" y="160"/>
                    </a:lnTo>
                    <a:lnTo>
                      <a:pt x="280" y="180"/>
                    </a:lnTo>
                    <a:lnTo>
                      <a:pt x="0" y="180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  <a:moveTo>
                      <a:pt x="0" y="106"/>
                    </a:moveTo>
                    <a:lnTo>
                      <a:pt x="280" y="106"/>
                    </a:lnTo>
                    <a:lnTo>
                      <a:pt x="280" y="126"/>
                    </a:lnTo>
                    <a:lnTo>
                      <a:pt x="0" y="126"/>
                    </a:lnTo>
                    <a:lnTo>
                      <a:pt x="0" y="106"/>
                    </a:lnTo>
                    <a:lnTo>
                      <a:pt x="0" y="106"/>
                    </a:lnTo>
                    <a:close/>
                    <a:moveTo>
                      <a:pt x="0" y="52"/>
                    </a:moveTo>
                    <a:lnTo>
                      <a:pt x="280" y="52"/>
                    </a:lnTo>
                    <a:lnTo>
                      <a:pt x="280" y="72"/>
                    </a:lnTo>
                    <a:lnTo>
                      <a:pt x="0" y="72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  <a:moveTo>
                      <a:pt x="0" y="0"/>
                    </a:moveTo>
                    <a:lnTo>
                      <a:pt x="206" y="0"/>
                    </a:lnTo>
                    <a:lnTo>
                      <a:pt x="206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C4D4F"/>
                  </a:solidFill>
                </a:endParaRPr>
              </a:p>
            </p:txBody>
          </p:sp>
          <p:sp>
            <p:nvSpPr>
              <p:cNvPr id="65" name="Freeform 41"/>
              <p:cNvSpPr>
                <a:spLocks/>
              </p:cNvSpPr>
              <p:nvPr/>
            </p:nvSpPr>
            <p:spPr bwMode="auto">
              <a:xfrm>
                <a:off x="13109577" y="1385886"/>
                <a:ext cx="161925" cy="1619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02"/>
                  </a:cxn>
                  <a:cxn ang="0">
                    <a:pos x="102" y="10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102" h="102">
                    <a:moveTo>
                      <a:pt x="0" y="0"/>
                    </a:moveTo>
                    <a:lnTo>
                      <a:pt x="0" y="102"/>
                    </a:lnTo>
                    <a:lnTo>
                      <a:pt x="102" y="10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4C4D4F"/>
                  </a:solidFill>
                </a:endParaRPr>
              </a:p>
            </p:txBody>
          </p:sp>
          <p:sp>
            <p:nvSpPr>
              <p:cNvPr id="66" name="Freeform 42"/>
              <p:cNvSpPr>
                <a:spLocks noEditPoints="1"/>
              </p:cNvSpPr>
              <p:nvPr/>
            </p:nvSpPr>
            <p:spPr bwMode="auto">
              <a:xfrm>
                <a:off x="12665075" y="1389060"/>
                <a:ext cx="606425" cy="815975"/>
              </a:xfrm>
              <a:custGeom>
                <a:avLst/>
                <a:gdLst/>
                <a:ahLst/>
                <a:cxnLst>
                  <a:cxn ang="0">
                    <a:pos x="0" y="514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288" y="0"/>
                  </a:cxn>
                  <a:cxn ang="0">
                    <a:pos x="382" y="92"/>
                  </a:cxn>
                  <a:cxn ang="0">
                    <a:pos x="382" y="514"/>
                  </a:cxn>
                  <a:cxn ang="0">
                    <a:pos x="0" y="514"/>
                  </a:cxn>
                  <a:cxn ang="0">
                    <a:pos x="0" y="514"/>
                  </a:cxn>
                  <a:cxn ang="0">
                    <a:pos x="12" y="502"/>
                  </a:cxn>
                  <a:cxn ang="0">
                    <a:pos x="370" y="502"/>
                  </a:cxn>
                  <a:cxn ang="0">
                    <a:pos x="370" y="98"/>
                  </a:cxn>
                  <a:cxn ang="0">
                    <a:pos x="284" y="12"/>
                  </a:cxn>
                  <a:cxn ang="0">
                    <a:pos x="12" y="12"/>
                  </a:cxn>
                  <a:cxn ang="0">
                    <a:pos x="12" y="502"/>
                  </a:cxn>
                  <a:cxn ang="0">
                    <a:pos x="12" y="502"/>
                  </a:cxn>
                </a:cxnLst>
                <a:rect l="0" t="0" r="r" b="b"/>
                <a:pathLst>
                  <a:path w="382" h="514">
                    <a:moveTo>
                      <a:pt x="0" y="514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288" y="0"/>
                    </a:lnTo>
                    <a:lnTo>
                      <a:pt x="382" y="92"/>
                    </a:lnTo>
                    <a:lnTo>
                      <a:pt x="382" y="514"/>
                    </a:lnTo>
                    <a:lnTo>
                      <a:pt x="0" y="514"/>
                    </a:lnTo>
                    <a:lnTo>
                      <a:pt x="0" y="514"/>
                    </a:lnTo>
                    <a:close/>
                    <a:moveTo>
                      <a:pt x="12" y="502"/>
                    </a:moveTo>
                    <a:lnTo>
                      <a:pt x="370" y="502"/>
                    </a:lnTo>
                    <a:lnTo>
                      <a:pt x="370" y="98"/>
                    </a:lnTo>
                    <a:lnTo>
                      <a:pt x="284" y="12"/>
                    </a:lnTo>
                    <a:lnTo>
                      <a:pt x="12" y="12"/>
                    </a:lnTo>
                    <a:lnTo>
                      <a:pt x="12" y="502"/>
                    </a:lnTo>
                    <a:lnTo>
                      <a:pt x="12" y="502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88"/>
                <a:endParaRPr lang="en-US" smtClean="0">
                  <a:solidFill>
                    <a:srgbClr val="4C4D4F"/>
                  </a:solidFill>
                </a:endParaRPr>
              </a:p>
            </p:txBody>
          </p:sp>
          <p:sp>
            <p:nvSpPr>
              <p:cNvPr id="70" name="Freeform 43"/>
              <p:cNvSpPr>
                <a:spLocks noEditPoints="1"/>
              </p:cNvSpPr>
              <p:nvPr/>
            </p:nvSpPr>
            <p:spPr bwMode="auto">
              <a:xfrm>
                <a:off x="12750807" y="1547811"/>
                <a:ext cx="444500" cy="539750"/>
              </a:xfrm>
              <a:custGeom>
                <a:avLst/>
                <a:gdLst/>
                <a:ahLst/>
                <a:cxnLst>
                  <a:cxn ang="0">
                    <a:pos x="0" y="322"/>
                  </a:cxn>
                  <a:cxn ang="0">
                    <a:pos x="280" y="322"/>
                  </a:cxn>
                  <a:cxn ang="0">
                    <a:pos x="280" y="340"/>
                  </a:cxn>
                  <a:cxn ang="0">
                    <a:pos x="0" y="340"/>
                  </a:cxn>
                  <a:cxn ang="0">
                    <a:pos x="0" y="322"/>
                  </a:cxn>
                  <a:cxn ang="0">
                    <a:pos x="0" y="322"/>
                  </a:cxn>
                  <a:cxn ang="0">
                    <a:pos x="0" y="268"/>
                  </a:cxn>
                  <a:cxn ang="0">
                    <a:pos x="280" y="268"/>
                  </a:cxn>
                  <a:cxn ang="0">
                    <a:pos x="280" y="286"/>
                  </a:cxn>
                  <a:cxn ang="0">
                    <a:pos x="0" y="286"/>
                  </a:cxn>
                  <a:cxn ang="0">
                    <a:pos x="0" y="268"/>
                  </a:cxn>
                  <a:cxn ang="0">
                    <a:pos x="0" y="268"/>
                  </a:cxn>
                  <a:cxn ang="0">
                    <a:pos x="0" y="214"/>
                  </a:cxn>
                  <a:cxn ang="0">
                    <a:pos x="280" y="214"/>
                  </a:cxn>
                  <a:cxn ang="0">
                    <a:pos x="280" y="234"/>
                  </a:cxn>
                  <a:cxn ang="0">
                    <a:pos x="0" y="234"/>
                  </a:cxn>
                  <a:cxn ang="0">
                    <a:pos x="0" y="214"/>
                  </a:cxn>
                  <a:cxn ang="0">
                    <a:pos x="0" y="214"/>
                  </a:cxn>
                  <a:cxn ang="0">
                    <a:pos x="0" y="160"/>
                  </a:cxn>
                  <a:cxn ang="0">
                    <a:pos x="280" y="160"/>
                  </a:cxn>
                  <a:cxn ang="0">
                    <a:pos x="280" y="180"/>
                  </a:cxn>
                  <a:cxn ang="0">
                    <a:pos x="0" y="180"/>
                  </a:cxn>
                  <a:cxn ang="0">
                    <a:pos x="0" y="160"/>
                  </a:cxn>
                  <a:cxn ang="0">
                    <a:pos x="0" y="160"/>
                  </a:cxn>
                  <a:cxn ang="0">
                    <a:pos x="0" y="106"/>
                  </a:cxn>
                  <a:cxn ang="0">
                    <a:pos x="280" y="106"/>
                  </a:cxn>
                  <a:cxn ang="0">
                    <a:pos x="280" y="126"/>
                  </a:cxn>
                  <a:cxn ang="0">
                    <a:pos x="0" y="126"/>
                  </a:cxn>
                  <a:cxn ang="0">
                    <a:pos x="0" y="106"/>
                  </a:cxn>
                  <a:cxn ang="0">
                    <a:pos x="0" y="106"/>
                  </a:cxn>
                  <a:cxn ang="0">
                    <a:pos x="0" y="52"/>
                  </a:cxn>
                  <a:cxn ang="0">
                    <a:pos x="280" y="52"/>
                  </a:cxn>
                  <a:cxn ang="0">
                    <a:pos x="280" y="72"/>
                  </a:cxn>
                  <a:cxn ang="0">
                    <a:pos x="0" y="72"/>
                  </a:cxn>
                  <a:cxn ang="0">
                    <a:pos x="0" y="52"/>
                  </a:cxn>
                  <a:cxn ang="0">
                    <a:pos x="0" y="52"/>
                  </a:cxn>
                  <a:cxn ang="0">
                    <a:pos x="0" y="0"/>
                  </a:cxn>
                  <a:cxn ang="0">
                    <a:pos x="206" y="0"/>
                  </a:cxn>
                  <a:cxn ang="0">
                    <a:pos x="206" y="18"/>
                  </a:cxn>
                  <a:cxn ang="0">
                    <a:pos x="0" y="18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280" h="340">
                    <a:moveTo>
                      <a:pt x="0" y="322"/>
                    </a:moveTo>
                    <a:lnTo>
                      <a:pt x="280" y="322"/>
                    </a:lnTo>
                    <a:lnTo>
                      <a:pt x="280" y="340"/>
                    </a:lnTo>
                    <a:lnTo>
                      <a:pt x="0" y="340"/>
                    </a:lnTo>
                    <a:lnTo>
                      <a:pt x="0" y="322"/>
                    </a:lnTo>
                    <a:lnTo>
                      <a:pt x="0" y="322"/>
                    </a:lnTo>
                    <a:close/>
                    <a:moveTo>
                      <a:pt x="0" y="268"/>
                    </a:moveTo>
                    <a:lnTo>
                      <a:pt x="280" y="268"/>
                    </a:lnTo>
                    <a:lnTo>
                      <a:pt x="280" y="286"/>
                    </a:lnTo>
                    <a:lnTo>
                      <a:pt x="0" y="286"/>
                    </a:lnTo>
                    <a:lnTo>
                      <a:pt x="0" y="268"/>
                    </a:lnTo>
                    <a:lnTo>
                      <a:pt x="0" y="268"/>
                    </a:lnTo>
                    <a:close/>
                    <a:moveTo>
                      <a:pt x="0" y="214"/>
                    </a:moveTo>
                    <a:lnTo>
                      <a:pt x="280" y="214"/>
                    </a:lnTo>
                    <a:lnTo>
                      <a:pt x="280" y="234"/>
                    </a:lnTo>
                    <a:lnTo>
                      <a:pt x="0" y="234"/>
                    </a:lnTo>
                    <a:lnTo>
                      <a:pt x="0" y="214"/>
                    </a:lnTo>
                    <a:lnTo>
                      <a:pt x="0" y="214"/>
                    </a:lnTo>
                    <a:close/>
                    <a:moveTo>
                      <a:pt x="0" y="160"/>
                    </a:moveTo>
                    <a:lnTo>
                      <a:pt x="280" y="160"/>
                    </a:lnTo>
                    <a:lnTo>
                      <a:pt x="280" y="180"/>
                    </a:lnTo>
                    <a:lnTo>
                      <a:pt x="0" y="180"/>
                    </a:lnTo>
                    <a:lnTo>
                      <a:pt x="0" y="160"/>
                    </a:lnTo>
                    <a:lnTo>
                      <a:pt x="0" y="160"/>
                    </a:lnTo>
                    <a:close/>
                    <a:moveTo>
                      <a:pt x="0" y="106"/>
                    </a:moveTo>
                    <a:lnTo>
                      <a:pt x="280" y="106"/>
                    </a:lnTo>
                    <a:lnTo>
                      <a:pt x="280" y="126"/>
                    </a:lnTo>
                    <a:lnTo>
                      <a:pt x="0" y="126"/>
                    </a:lnTo>
                    <a:lnTo>
                      <a:pt x="0" y="106"/>
                    </a:lnTo>
                    <a:lnTo>
                      <a:pt x="0" y="106"/>
                    </a:lnTo>
                    <a:close/>
                    <a:moveTo>
                      <a:pt x="0" y="52"/>
                    </a:moveTo>
                    <a:lnTo>
                      <a:pt x="280" y="52"/>
                    </a:lnTo>
                    <a:lnTo>
                      <a:pt x="280" y="72"/>
                    </a:lnTo>
                    <a:lnTo>
                      <a:pt x="0" y="72"/>
                    </a:lnTo>
                    <a:lnTo>
                      <a:pt x="0" y="52"/>
                    </a:lnTo>
                    <a:lnTo>
                      <a:pt x="0" y="52"/>
                    </a:lnTo>
                    <a:close/>
                    <a:moveTo>
                      <a:pt x="0" y="0"/>
                    </a:moveTo>
                    <a:lnTo>
                      <a:pt x="206" y="0"/>
                    </a:lnTo>
                    <a:lnTo>
                      <a:pt x="206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88"/>
                <a:endParaRPr lang="en-US" smtClean="0">
                  <a:solidFill>
                    <a:srgbClr val="4C4D4F"/>
                  </a:solidFill>
                </a:endParaRPr>
              </a:p>
            </p:txBody>
          </p:sp>
          <p:sp>
            <p:nvSpPr>
              <p:cNvPr id="81" name="Freeform 44"/>
              <p:cNvSpPr>
                <a:spLocks/>
              </p:cNvSpPr>
              <p:nvPr/>
            </p:nvSpPr>
            <p:spPr bwMode="auto">
              <a:xfrm>
                <a:off x="13109575" y="1385888"/>
                <a:ext cx="161925" cy="1619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02"/>
                  </a:cxn>
                  <a:cxn ang="0">
                    <a:pos x="102" y="10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102" h="102">
                    <a:moveTo>
                      <a:pt x="0" y="0"/>
                    </a:moveTo>
                    <a:lnTo>
                      <a:pt x="0" y="102"/>
                    </a:lnTo>
                    <a:lnTo>
                      <a:pt x="102" y="10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893088"/>
                <a:endParaRPr lang="en-US" smtClean="0">
                  <a:solidFill>
                    <a:srgbClr val="4C4D4F"/>
                  </a:solidFill>
                </a:endParaRPr>
              </a:p>
            </p:txBody>
          </p:sp>
        </p:grpSp>
        <p:sp>
          <p:nvSpPr>
            <p:cNvPr id="82" name="Freeform 72"/>
            <p:cNvSpPr>
              <a:spLocks/>
            </p:cNvSpPr>
            <p:nvPr/>
          </p:nvSpPr>
          <p:spPr bwMode="auto">
            <a:xfrm>
              <a:off x="1575791" y="3278917"/>
              <a:ext cx="240900" cy="178955"/>
            </a:xfrm>
            <a:custGeom>
              <a:avLst/>
              <a:gdLst>
                <a:gd name="T0" fmla="*/ 204 w 607"/>
                <a:gd name="T1" fmla="*/ 450 h 450"/>
                <a:gd name="T2" fmla="*/ 13 w 607"/>
                <a:gd name="T3" fmla="*/ 260 h 450"/>
                <a:gd name="T4" fmla="*/ 13 w 607"/>
                <a:gd name="T5" fmla="*/ 213 h 450"/>
                <a:gd name="T6" fmla="*/ 61 w 607"/>
                <a:gd name="T7" fmla="*/ 213 h 450"/>
                <a:gd name="T8" fmla="*/ 204 w 607"/>
                <a:gd name="T9" fmla="*/ 356 h 450"/>
                <a:gd name="T10" fmla="*/ 547 w 607"/>
                <a:gd name="T11" fmla="*/ 13 h 450"/>
                <a:gd name="T12" fmla="*/ 594 w 607"/>
                <a:gd name="T13" fmla="*/ 13 h 450"/>
                <a:gd name="T14" fmla="*/ 594 w 607"/>
                <a:gd name="T15" fmla="*/ 60 h 450"/>
                <a:gd name="T16" fmla="*/ 204 w 607"/>
                <a:gd name="T17" fmla="*/ 45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7" h="450">
                  <a:moveTo>
                    <a:pt x="204" y="450"/>
                  </a:moveTo>
                  <a:lnTo>
                    <a:pt x="13" y="260"/>
                  </a:lnTo>
                  <a:cubicBezTo>
                    <a:pt x="0" y="247"/>
                    <a:pt x="0" y="226"/>
                    <a:pt x="13" y="213"/>
                  </a:cubicBezTo>
                  <a:cubicBezTo>
                    <a:pt x="26" y="200"/>
                    <a:pt x="48" y="200"/>
                    <a:pt x="61" y="213"/>
                  </a:cubicBezTo>
                  <a:lnTo>
                    <a:pt x="204" y="356"/>
                  </a:lnTo>
                  <a:lnTo>
                    <a:pt x="547" y="13"/>
                  </a:lnTo>
                  <a:cubicBezTo>
                    <a:pt x="560" y="0"/>
                    <a:pt x="581" y="0"/>
                    <a:pt x="594" y="13"/>
                  </a:cubicBezTo>
                  <a:cubicBezTo>
                    <a:pt x="607" y="26"/>
                    <a:pt x="607" y="47"/>
                    <a:pt x="594" y="60"/>
                  </a:cubicBezTo>
                  <a:lnTo>
                    <a:pt x="204" y="4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3" name="Oval 5"/>
          <p:cNvSpPr>
            <a:spLocks noChangeArrowheads="1"/>
          </p:cNvSpPr>
          <p:nvPr/>
        </p:nvSpPr>
        <p:spPr bwMode="auto">
          <a:xfrm>
            <a:off x="4708329" y="2994935"/>
            <a:ext cx="914400" cy="914400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sp>
        <p:nvSpPr>
          <p:cNvPr id="87" name="Oval 5"/>
          <p:cNvSpPr>
            <a:spLocks noChangeArrowheads="1"/>
          </p:cNvSpPr>
          <p:nvPr/>
        </p:nvSpPr>
        <p:spPr bwMode="auto">
          <a:xfrm>
            <a:off x="4708329" y="1586063"/>
            <a:ext cx="914400" cy="91440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4882851" y="1756159"/>
            <a:ext cx="535554" cy="542900"/>
            <a:chOff x="2046791" y="1677467"/>
            <a:chExt cx="483177" cy="486079"/>
          </a:xfrm>
        </p:grpSpPr>
        <p:sp>
          <p:nvSpPr>
            <p:cNvPr id="90" name="Freeform 35"/>
            <p:cNvSpPr>
              <a:spLocks/>
            </p:cNvSpPr>
            <p:nvPr/>
          </p:nvSpPr>
          <p:spPr bwMode="auto">
            <a:xfrm>
              <a:off x="2110764" y="1677467"/>
              <a:ext cx="122649" cy="122851"/>
            </a:xfrm>
            <a:custGeom>
              <a:avLst/>
              <a:gdLst>
                <a:gd name="T0" fmla="*/ 93 w 186"/>
                <a:gd name="T1" fmla="*/ 0 h 230"/>
                <a:gd name="T2" fmla="*/ 0 w 186"/>
                <a:gd name="T3" fmla="*/ 90 h 230"/>
                <a:gd name="T4" fmla="*/ 93 w 186"/>
                <a:gd name="T5" fmla="*/ 230 h 230"/>
                <a:gd name="T6" fmla="*/ 186 w 186"/>
                <a:gd name="T7" fmla="*/ 90 h 230"/>
                <a:gd name="T8" fmla="*/ 93 w 186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230">
                  <a:moveTo>
                    <a:pt x="93" y="0"/>
                  </a:moveTo>
                  <a:cubicBezTo>
                    <a:pt x="42" y="0"/>
                    <a:pt x="0" y="40"/>
                    <a:pt x="0" y="90"/>
                  </a:cubicBezTo>
                  <a:cubicBezTo>
                    <a:pt x="0" y="137"/>
                    <a:pt x="35" y="230"/>
                    <a:pt x="93" y="230"/>
                  </a:cubicBezTo>
                  <a:cubicBezTo>
                    <a:pt x="151" y="230"/>
                    <a:pt x="186" y="137"/>
                    <a:pt x="186" y="90"/>
                  </a:cubicBezTo>
                  <a:cubicBezTo>
                    <a:pt x="186" y="40"/>
                    <a:pt x="144" y="0"/>
                    <a:pt x="9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white"/>
                </a:solidFill>
              </a:endParaRPr>
            </a:p>
          </p:txBody>
        </p:sp>
        <p:sp>
          <p:nvSpPr>
            <p:cNvPr id="91" name="Freeform 36"/>
            <p:cNvSpPr>
              <a:spLocks/>
            </p:cNvSpPr>
            <p:nvPr/>
          </p:nvSpPr>
          <p:spPr bwMode="auto">
            <a:xfrm>
              <a:off x="2046791" y="1807616"/>
              <a:ext cx="225116" cy="194822"/>
            </a:xfrm>
            <a:custGeom>
              <a:avLst/>
              <a:gdLst>
                <a:gd name="T0" fmla="*/ 119 w 338"/>
                <a:gd name="T1" fmla="*/ 4 h 366"/>
                <a:gd name="T2" fmla="*/ 183 w 338"/>
                <a:gd name="T3" fmla="*/ 49 h 366"/>
                <a:gd name="T4" fmla="*/ 200 w 338"/>
                <a:gd name="T5" fmla="*/ 73 h 366"/>
                <a:gd name="T6" fmla="*/ 214 w 338"/>
                <a:gd name="T7" fmla="*/ 143 h 366"/>
                <a:gd name="T8" fmla="*/ 237 w 338"/>
                <a:gd name="T9" fmla="*/ 138 h 366"/>
                <a:gd name="T10" fmla="*/ 223 w 338"/>
                <a:gd name="T11" fmla="*/ 67 h 366"/>
                <a:gd name="T12" fmla="*/ 228 w 338"/>
                <a:gd name="T13" fmla="*/ 39 h 366"/>
                <a:gd name="T14" fmla="*/ 247 w 338"/>
                <a:gd name="T15" fmla="*/ 9 h 366"/>
                <a:gd name="T16" fmla="*/ 259 w 338"/>
                <a:gd name="T17" fmla="*/ 4 h 366"/>
                <a:gd name="T18" fmla="*/ 301 w 338"/>
                <a:gd name="T19" fmla="*/ 57 h 366"/>
                <a:gd name="T20" fmla="*/ 335 w 338"/>
                <a:gd name="T21" fmla="*/ 308 h 366"/>
                <a:gd name="T22" fmla="*/ 337 w 338"/>
                <a:gd name="T23" fmla="*/ 346 h 366"/>
                <a:gd name="T24" fmla="*/ 315 w 338"/>
                <a:gd name="T25" fmla="*/ 366 h 366"/>
                <a:gd name="T26" fmla="*/ 37 w 338"/>
                <a:gd name="T27" fmla="*/ 366 h 366"/>
                <a:gd name="T28" fmla="*/ 1 w 338"/>
                <a:gd name="T29" fmla="*/ 331 h 366"/>
                <a:gd name="T30" fmla="*/ 11 w 338"/>
                <a:gd name="T31" fmla="*/ 170 h 366"/>
                <a:gd name="T32" fmla="*/ 34 w 338"/>
                <a:gd name="T33" fmla="*/ 71 h 366"/>
                <a:gd name="T34" fmla="*/ 61 w 338"/>
                <a:gd name="T35" fmla="*/ 22 h 366"/>
                <a:gd name="T36" fmla="*/ 110 w 338"/>
                <a:gd name="T37" fmla="*/ 1 h 366"/>
                <a:gd name="T38" fmla="*/ 119 w 338"/>
                <a:gd name="T39" fmla="*/ 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8" h="366">
                  <a:moveTo>
                    <a:pt x="119" y="4"/>
                  </a:moveTo>
                  <a:cubicBezTo>
                    <a:pt x="129" y="15"/>
                    <a:pt x="162" y="36"/>
                    <a:pt x="183" y="49"/>
                  </a:cubicBezTo>
                  <a:cubicBezTo>
                    <a:pt x="192" y="54"/>
                    <a:pt x="198" y="63"/>
                    <a:pt x="200" y="73"/>
                  </a:cubicBezTo>
                  <a:cubicBezTo>
                    <a:pt x="214" y="143"/>
                    <a:pt x="214" y="143"/>
                    <a:pt x="214" y="143"/>
                  </a:cubicBezTo>
                  <a:cubicBezTo>
                    <a:pt x="217" y="158"/>
                    <a:pt x="240" y="154"/>
                    <a:pt x="237" y="138"/>
                  </a:cubicBezTo>
                  <a:cubicBezTo>
                    <a:pt x="223" y="67"/>
                    <a:pt x="223" y="67"/>
                    <a:pt x="223" y="67"/>
                  </a:cubicBezTo>
                  <a:cubicBezTo>
                    <a:pt x="221" y="57"/>
                    <a:pt x="223" y="48"/>
                    <a:pt x="228" y="39"/>
                  </a:cubicBezTo>
                  <a:cubicBezTo>
                    <a:pt x="234" y="29"/>
                    <a:pt x="242" y="17"/>
                    <a:pt x="247" y="9"/>
                  </a:cubicBezTo>
                  <a:cubicBezTo>
                    <a:pt x="249" y="4"/>
                    <a:pt x="254" y="2"/>
                    <a:pt x="259" y="4"/>
                  </a:cubicBezTo>
                  <a:cubicBezTo>
                    <a:pt x="283" y="15"/>
                    <a:pt x="291" y="30"/>
                    <a:pt x="301" y="57"/>
                  </a:cubicBezTo>
                  <a:cubicBezTo>
                    <a:pt x="324" y="118"/>
                    <a:pt x="329" y="205"/>
                    <a:pt x="335" y="308"/>
                  </a:cubicBezTo>
                  <a:cubicBezTo>
                    <a:pt x="336" y="320"/>
                    <a:pt x="336" y="331"/>
                    <a:pt x="337" y="346"/>
                  </a:cubicBezTo>
                  <a:cubicBezTo>
                    <a:pt x="338" y="360"/>
                    <a:pt x="327" y="366"/>
                    <a:pt x="315" y="366"/>
                  </a:cubicBezTo>
                  <a:cubicBezTo>
                    <a:pt x="37" y="366"/>
                    <a:pt x="37" y="366"/>
                    <a:pt x="37" y="366"/>
                  </a:cubicBezTo>
                  <a:cubicBezTo>
                    <a:pt x="18" y="366"/>
                    <a:pt x="2" y="351"/>
                    <a:pt x="1" y="331"/>
                  </a:cubicBezTo>
                  <a:cubicBezTo>
                    <a:pt x="0" y="276"/>
                    <a:pt x="4" y="220"/>
                    <a:pt x="11" y="170"/>
                  </a:cubicBezTo>
                  <a:cubicBezTo>
                    <a:pt x="16" y="135"/>
                    <a:pt x="24" y="102"/>
                    <a:pt x="34" y="71"/>
                  </a:cubicBezTo>
                  <a:cubicBezTo>
                    <a:pt x="41" y="53"/>
                    <a:pt x="45" y="34"/>
                    <a:pt x="61" y="22"/>
                  </a:cubicBezTo>
                  <a:cubicBezTo>
                    <a:pt x="75" y="11"/>
                    <a:pt x="95" y="4"/>
                    <a:pt x="110" y="1"/>
                  </a:cubicBezTo>
                  <a:cubicBezTo>
                    <a:pt x="113" y="0"/>
                    <a:pt x="117" y="1"/>
                    <a:pt x="119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white"/>
                </a:solidFill>
              </a:endParaRPr>
            </a:p>
          </p:txBody>
        </p:sp>
        <p:sp>
          <p:nvSpPr>
            <p:cNvPr id="92" name="Freeform 37"/>
            <p:cNvSpPr>
              <a:spLocks/>
            </p:cNvSpPr>
            <p:nvPr/>
          </p:nvSpPr>
          <p:spPr bwMode="auto">
            <a:xfrm>
              <a:off x="2352645" y="1838575"/>
              <a:ext cx="124201" cy="122851"/>
            </a:xfrm>
            <a:custGeom>
              <a:avLst/>
              <a:gdLst>
                <a:gd name="T0" fmla="*/ 92 w 185"/>
                <a:gd name="T1" fmla="*/ 0 h 230"/>
                <a:gd name="T2" fmla="*/ 185 w 185"/>
                <a:gd name="T3" fmla="*/ 90 h 230"/>
                <a:gd name="T4" fmla="*/ 92 w 185"/>
                <a:gd name="T5" fmla="*/ 230 h 230"/>
                <a:gd name="T6" fmla="*/ 0 w 185"/>
                <a:gd name="T7" fmla="*/ 90 h 230"/>
                <a:gd name="T8" fmla="*/ 92 w 185"/>
                <a:gd name="T9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230">
                  <a:moveTo>
                    <a:pt x="92" y="0"/>
                  </a:moveTo>
                  <a:cubicBezTo>
                    <a:pt x="144" y="0"/>
                    <a:pt x="185" y="40"/>
                    <a:pt x="185" y="90"/>
                  </a:cubicBezTo>
                  <a:cubicBezTo>
                    <a:pt x="185" y="137"/>
                    <a:pt x="151" y="230"/>
                    <a:pt x="92" y="230"/>
                  </a:cubicBezTo>
                  <a:cubicBezTo>
                    <a:pt x="34" y="230"/>
                    <a:pt x="0" y="137"/>
                    <a:pt x="0" y="90"/>
                  </a:cubicBezTo>
                  <a:cubicBezTo>
                    <a:pt x="0" y="40"/>
                    <a:pt x="41" y="0"/>
                    <a:pt x="9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white"/>
                </a:solidFill>
              </a:endParaRPr>
            </a:p>
          </p:txBody>
        </p:sp>
        <p:sp>
          <p:nvSpPr>
            <p:cNvPr id="93" name="Freeform 38"/>
            <p:cNvSpPr>
              <a:spLocks/>
            </p:cNvSpPr>
            <p:nvPr/>
          </p:nvSpPr>
          <p:spPr bwMode="auto">
            <a:xfrm>
              <a:off x="2311062" y="1967482"/>
              <a:ext cx="218906" cy="196064"/>
            </a:xfrm>
            <a:custGeom>
              <a:avLst/>
              <a:gdLst>
                <a:gd name="T0" fmla="*/ 291 w 329"/>
                <a:gd name="T1" fmla="*/ 367 h 367"/>
                <a:gd name="T2" fmla="*/ 19 w 329"/>
                <a:gd name="T3" fmla="*/ 367 h 367"/>
                <a:gd name="T4" fmla="*/ 0 w 329"/>
                <a:gd name="T5" fmla="*/ 348 h 367"/>
                <a:gd name="T6" fmla="*/ 64 w 329"/>
                <a:gd name="T7" fmla="*/ 27 h 367"/>
                <a:gd name="T8" fmla="*/ 68 w 329"/>
                <a:gd name="T9" fmla="*/ 22 h 367"/>
                <a:gd name="T10" fmla="*/ 109 w 329"/>
                <a:gd name="T11" fmla="*/ 1 h 367"/>
                <a:gd name="T12" fmla="*/ 114 w 329"/>
                <a:gd name="T13" fmla="*/ 7 h 367"/>
                <a:gd name="T14" fmla="*/ 102 w 329"/>
                <a:gd name="T15" fmla="*/ 94 h 367"/>
                <a:gd name="T16" fmla="*/ 125 w 329"/>
                <a:gd name="T17" fmla="*/ 99 h 367"/>
                <a:gd name="T18" fmla="*/ 136 w 329"/>
                <a:gd name="T19" fmla="*/ 18 h 367"/>
                <a:gd name="T20" fmla="*/ 171 w 329"/>
                <a:gd name="T21" fmla="*/ 18 h 367"/>
                <a:gd name="T22" fmla="*/ 147 w 329"/>
                <a:gd name="T23" fmla="*/ 92 h 367"/>
                <a:gd name="T24" fmla="*/ 169 w 329"/>
                <a:gd name="T25" fmla="*/ 101 h 367"/>
                <a:gd name="T26" fmla="*/ 200 w 329"/>
                <a:gd name="T27" fmla="*/ 7 h 367"/>
                <a:gd name="T28" fmla="*/ 206 w 329"/>
                <a:gd name="T29" fmla="*/ 3 h 367"/>
                <a:gd name="T30" fmla="*/ 284 w 329"/>
                <a:gd name="T31" fmla="*/ 42 h 367"/>
                <a:gd name="T32" fmla="*/ 319 w 329"/>
                <a:gd name="T33" fmla="*/ 171 h 367"/>
                <a:gd name="T34" fmla="*/ 328 w 329"/>
                <a:gd name="T35" fmla="*/ 330 h 367"/>
                <a:gd name="T36" fmla="*/ 291 w 329"/>
                <a:gd name="T37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9" h="367">
                  <a:moveTo>
                    <a:pt x="291" y="367"/>
                  </a:moveTo>
                  <a:cubicBezTo>
                    <a:pt x="19" y="367"/>
                    <a:pt x="19" y="367"/>
                    <a:pt x="19" y="367"/>
                  </a:cubicBezTo>
                  <a:cubicBezTo>
                    <a:pt x="8" y="367"/>
                    <a:pt x="0" y="358"/>
                    <a:pt x="0" y="348"/>
                  </a:cubicBezTo>
                  <a:cubicBezTo>
                    <a:pt x="0" y="269"/>
                    <a:pt x="19" y="92"/>
                    <a:pt x="64" y="27"/>
                  </a:cubicBezTo>
                  <a:cubicBezTo>
                    <a:pt x="66" y="25"/>
                    <a:pt x="67" y="24"/>
                    <a:pt x="68" y="22"/>
                  </a:cubicBezTo>
                  <a:cubicBezTo>
                    <a:pt x="79" y="13"/>
                    <a:pt x="93" y="6"/>
                    <a:pt x="109" y="1"/>
                  </a:cubicBezTo>
                  <a:cubicBezTo>
                    <a:pt x="112" y="0"/>
                    <a:pt x="115" y="4"/>
                    <a:pt x="114" y="7"/>
                  </a:cubicBezTo>
                  <a:cubicBezTo>
                    <a:pt x="109" y="29"/>
                    <a:pt x="104" y="84"/>
                    <a:pt x="102" y="94"/>
                  </a:cubicBezTo>
                  <a:cubicBezTo>
                    <a:pt x="99" y="109"/>
                    <a:pt x="122" y="114"/>
                    <a:pt x="125" y="99"/>
                  </a:cubicBezTo>
                  <a:cubicBezTo>
                    <a:pt x="136" y="18"/>
                    <a:pt x="136" y="18"/>
                    <a:pt x="136" y="18"/>
                  </a:cubicBezTo>
                  <a:cubicBezTo>
                    <a:pt x="171" y="18"/>
                    <a:pt x="171" y="18"/>
                    <a:pt x="171" y="18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1" y="106"/>
                    <a:pt x="163" y="116"/>
                    <a:pt x="169" y="101"/>
                  </a:cubicBezTo>
                  <a:cubicBezTo>
                    <a:pt x="174" y="88"/>
                    <a:pt x="197" y="27"/>
                    <a:pt x="200" y="7"/>
                  </a:cubicBezTo>
                  <a:cubicBezTo>
                    <a:pt x="201" y="4"/>
                    <a:pt x="203" y="3"/>
                    <a:pt x="206" y="3"/>
                  </a:cubicBezTo>
                  <a:cubicBezTo>
                    <a:pt x="228" y="9"/>
                    <a:pt x="275" y="21"/>
                    <a:pt x="284" y="42"/>
                  </a:cubicBezTo>
                  <a:cubicBezTo>
                    <a:pt x="301" y="81"/>
                    <a:pt x="312" y="125"/>
                    <a:pt x="319" y="171"/>
                  </a:cubicBezTo>
                  <a:cubicBezTo>
                    <a:pt x="326" y="221"/>
                    <a:pt x="329" y="275"/>
                    <a:pt x="328" y="330"/>
                  </a:cubicBezTo>
                  <a:cubicBezTo>
                    <a:pt x="327" y="350"/>
                    <a:pt x="311" y="367"/>
                    <a:pt x="291" y="36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prstClr val="white"/>
                </a:solidFill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5622729" y="3198371"/>
            <a:ext cx="20116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smtClean="0">
                <a:solidFill>
                  <a:srgbClr val="005073"/>
                </a:solidFill>
                <a:latin typeface="+mn-lt"/>
                <a:ea typeface=""/>
                <a:cs typeface="CiscoSans"/>
              </a:rPr>
              <a:t>Adoption </a:t>
            </a:r>
            <a:r>
              <a:rPr lang="en-US" sz="1400" kern="0" dirty="0" smtClean="0">
                <a:solidFill>
                  <a:srgbClr val="005073"/>
                </a:solidFill>
                <a:latin typeface="+mn-lt"/>
                <a:ea typeface=""/>
                <a:cs typeface="CiscoSans"/>
              </a:rPr>
              <a:t>of new technology</a:t>
            </a:r>
            <a:endParaRPr lang="en-US" sz="1400" kern="0" dirty="0">
              <a:solidFill>
                <a:srgbClr val="005073"/>
              </a:solidFill>
              <a:latin typeface="+mn-lt"/>
              <a:ea typeface=""/>
              <a:cs typeface="CiscoSans"/>
            </a:endParaRPr>
          </a:p>
        </p:txBody>
      </p:sp>
      <p:sp>
        <p:nvSpPr>
          <p:cNvPr id="32" name="Freeform 17"/>
          <p:cNvSpPr>
            <a:spLocks noEditPoints="1"/>
          </p:cNvSpPr>
          <p:nvPr/>
        </p:nvSpPr>
        <p:spPr bwMode="auto">
          <a:xfrm>
            <a:off x="1279035" y="1887119"/>
            <a:ext cx="603147" cy="372386"/>
          </a:xfrm>
          <a:custGeom>
            <a:avLst/>
            <a:gdLst>
              <a:gd name="T0" fmla="*/ 185 w 210"/>
              <a:gd name="T1" fmla="*/ 47 h 132"/>
              <a:gd name="T2" fmla="*/ 172 w 210"/>
              <a:gd name="T3" fmla="*/ 24 h 132"/>
              <a:gd name="T4" fmla="*/ 153 w 210"/>
              <a:gd name="T5" fmla="*/ 25 h 132"/>
              <a:gd name="T6" fmla="*/ 92 w 210"/>
              <a:gd name="T7" fmla="*/ 0 h 132"/>
              <a:gd name="T8" fmla="*/ 67 w 210"/>
              <a:gd name="T9" fmla="*/ 13 h 132"/>
              <a:gd name="T10" fmla="*/ 49 w 210"/>
              <a:gd name="T11" fmla="*/ 28 h 132"/>
              <a:gd name="T12" fmla="*/ 60 w 210"/>
              <a:gd name="T13" fmla="*/ 42 h 132"/>
              <a:gd name="T14" fmla="*/ 95 w 210"/>
              <a:gd name="T15" fmla="*/ 25 h 132"/>
              <a:gd name="T16" fmla="*/ 179 w 210"/>
              <a:gd name="T17" fmla="*/ 81 h 132"/>
              <a:gd name="T18" fmla="*/ 189 w 210"/>
              <a:gd name="T19" fmla="*/ 79 h 132"/>
              <a:gd name="T20" fmla="*/ 185 w 210"/>
              <a:gd name="T21" fmla="*/ 47 h 132"/>
              <a:gd name="T22" fmla="*/ 22 w 210"/>
              <a:gd name="T23" fmla="*/ 7 h 132"/>
              <a:gd name="T24" fmla="*/ 0 w 210"/>
              <a:gd name="T25" fmla="*/ 76 h 132"/>
              <a:gd name="T26" fmla="*/ 19 w 210"/>
              <a:gd name="T27" fmla="*/ 81 h 132"/>
              <a:gd name="T28" fmla="*/ 36 w 210"/>
              <a:gd name="T29" fmla="*/ 12 h 132"/>
              <a:gd name="T30" fmla="*/ 22 w 210"/>
              <a:gd name="T31" fmla="*/ 7 h 132"/>
              <a:gd name="T32" fmla="*/ 177 w 210"/>
              <a:gd name="T33" fmla="*/ 17 h 132"/>
              <a:gd name="T34" fmla="*/ 195 w 210"/>
              <a:gd name="T35" fmla="*/ 82 h 132"/>
              <a:gd name="T36" fmla="*/ 208 w 210"/>
              <a:gd name="T37" fmla="*/ 80 h 132"/>
              <a:gd name="T38" fmla="*/ 202 w 210"/>
              <a:gd name="T39" fmla="*/ 15 h 132"/>
              <a:gd name="T40" fmla="*/ 177 w 210"/>
              <a:gd name="T41" fmla="*/ 17 h 132"/>
              <a:gd name="T42" fmla="*/ 40 w 210"/>
              <a:gd name="T43" fmla="*/ 16 h 132"/>
              <a:gd name="T44" fmla="*/ 24 w 210"/>
              <a:gd name="T45" fmla="*/ 81 h 132"/>
              <a:gd name="T46" fmla="*/ 40 w 210"/>
              <a:gd name="T47" fmla="*/ 73 h 132"/>
              <a:gd name="T48" fmla="*/ 49 w 210"/>
              <a:gd name="T49" fmla="*/ 77 h 132"/>
              <a:gd name="T50" fmla="*/ 60 w 210"/>
              <a:gd name="T51" fmla="*/ 75 h 132"/>
              <a:gd name="T52" fmla="*/ 68 w 210"/>
              <a:gd name="T53" fmla="*/ 79 h 132"/>
              <a:gd name="T54" fmla="*/ 79 w 210"/>
              <a:gd name="T55" fmla="*/ 77 h 132"/>
              <a:gd name="T56" fmla="*/ 89 w 210"/>
              <a:gd name="T57" fmla="*/ 88 h 132"/>
              <a:gd name="T58" fmla="*/ 103 w 210"/>
              <a:gd name="T59" fmla="*/ 117 h 132"/>
              <a:gd name="T60" fmla="*/ 119 w 210"/>
              <a:gd name="T61" fmla="*/ 128 h 132"/>
              <a:gd name="T62" fmla="*/ 126 w 210"/>
              <a:gd name="T63" fmla="*/ 119 h 132"/>
              <a:gd name="T64" fmla="*/ 111 w 210"/>
              <a:gd name="T65" fmla="*/ 105 h 132"/>
              <a:gd name="T66" fmla="*/ 144 w 210"/>
              <a:gd name="T67" fmla="*/ 111 h 132"/>
              <a:gd name="T68" fmla="*/ 119 w 210"/>
              <a:gd name="T69" fmla="*/ 89 h 132"/>
              <a:gd name="T70" fmla="*/ 160 w 210"/>
              <a:gd name="T71" fmla="*/ 101 h 132"/>
              <a:gd name="T72" fmla="*/ 135 w 210"/>
              <a:gd name="T73" fmla="*/ 80 h 132"/>
              <a:gd name="T74" fmla="*/ 175 w 210"/>
              <a:gd name="T75" fmla="*/ 87 h 132"/>
              <a:gd name="T76" fmla="*/ 136 w 210"/>
              <a:gd name="T77" fmla="*/ 58 h 132"/>
              <a:gd name="T78" fmla="*/ 94 w 210"/>
              <a:gd name="T79" fmla="*/ 32 h 132"/>
              <a:gd name="T80" fmla="*/ 65 w 210"/>
              <a:gd name="T81" fmla="*/ 48 h 132"/>
              <a:gd name="T82" fmla="*/ 48 w 210"/>
              <a:gd name="T83" fmla="*/ 16 h 132"/>
              <a:gd name="T84" fmla="*/ 40 w 210"/>
              <a:gd name="T85" fmla="*/ 16 h 132"/>
              <a:gd name="T86" fmla="*/ 47 w 210"/>
              <a:gd name="T87" fmla="*/ 108 h 132"/>
              <a:gd name="T88" fmla="*/ 62 w 210"/>
              <a:gd name="T89" fmla="*/ 110 h 132"/>
              <a:gd name="T90" fmla="*/ 78 w 210"/>
              <a:gd name="T91" fmla="*/ 118 h 132"/>
              <a:gd name="T92" fmla="*/ 95 w 210"/>
              <a:gd name="T93" fmla="*/ 123 h 132"/>
              <a:gd name="T94" fmla="*/ 83 w 210"/>
              <a:gd name="T95" fmla="*/ 96 h 132"/>
              <a:gd name="T96" fmla="*/ 66 w 210"/>
              <a:gd name="T97" fmla="*/ 88 h 132"/>
              <a:gd name="T98" fmla="*/ 48 w 210"/>
              <a:gd name="T99" fmla="*/ 86 h 132"/>
              <a:gd name="T100" fmla="*/ 47 w 210"/>
              <a:gd name="T101" fmla="*/ 10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10" h="132">
                <a:moveTo>
                  <a:pt x="185" y="47"/>
                </a:moveTo>
                <a:cubicBezTo>
                  <a:pt x="183" y="39"/>
                  <a:pt x="179" y="25"/>
                  <a:pt x="172" y="24"/>
                </a:cubicBezTo>
                <a:cubicBezTo>
                  <a:pt x="167" y="22"/>
                  <a:pt x="159" y="26"/>
                  <a:pt x="153" y="25"/>
                </a:cubicBezTo>
                <a:cubicBezTo>
                  <a:pt x="136" y="23"/>
                  <a:pt x="112" y="1"/>
                  <a:pt x="92" y="0"/>
                </a:cubicBezTo>
                <a:cubicBezTo>
                  <a:pt x="86" y="0"/>
                  <a:pt x="73" y="9"/>
                  <a:pt x="67" y="13"/>
                </a:cubicBezTo>
                <a:cubicBezTo>
                  <a:pt x="62" y="16"/>
                  <a:pt x="50" y="21"/>
                  <a:pt x="49" y="28"/>
                </a:cubicBezTo>
                <a:cubicBezTo>
                  <a:pt x="48" y="37"/>
                  <a:pt x="54" y="42"/>
                  <a:pt x="60" y="42"/>
                </a:cubicBezTo>
                <a:cubicBezTo>
                  <a:pt x="74" y="43"/>
                  <a:pt x="80" y="28"/>
                  <a:pt x="95" y="25"/>
                </a:cubicBezTo>
                <a:cubicBezTo>
                  <a:pt x="127" y="40"/>
                  <a:pt x="150" y="64"/>
                  <a:pt x="179" y="81"/>
                </a:cubicBezTo>
                <a:cubicBezTo>
                  <a:pt x="182" y="80"/>
                  <a:pt x="185" y="79"/>
                  <a:pt x="189" y="79"/>
                </a:cubicBezTo>
                <a:cubicBezTo>
                  <a:pt x="189" y="67"/>
                  <a:pt x="188" y="57"/>
                  <a:pt x="185" y="47"/>
                </a:cubicBezTo>
                <a:close/>
                <a:moveTo>
                  <a:pt x="22" y="7"/>
                </a:moveTo>
                <a:cubicBezTo>
                  <a:pt x="12" y="27"/>
                  <a:pt x="4" y="53"/>
                  <a:pt x="0" y="76"/>
                </a:cubicBezTo>
                <a:cubicBezTo>
                  <a:pt x="3" y="80"/>
                  <a:pt x="12" y="80"/>
                  <a:pt x="19" y="81"/>
                </a:cubicBezTo>
                <a:cubicBezTo>
                  <a:pt x="18" y="52"/>
                  <a:pt x="28" y="33"/>
                  <a:pt x="36" y="12"/>
                </a:cubicBezTo>
                <a:cubicBezTo>
                  <a:pt x="31" y="11"/>
                  <a:pt x="29" y="6"/>
                  <a:pt x="22" y="7"/>
                </a:cubicBezTo>
                <a:close/>
                <a:moveTo>
                  <a:pt x="177" y="17"/>
                </a:moveTo>
                <a:cubicBezTo>
                  <a:pt x="188" y="34"/>
                  <a:pt x="196" y="54"/>
                  <a:pt x="195" y="82"/>
                </a:cubicBezTo>
                <a:cubicBezTo>
                  <a:pt x="198" y="80"/>
                  <a:pt x="205" y="82"/>
                  <a:pt x="208" y="80"/>
                </a:cubicBezTo>
                <a:cubicBezTo>
                  <a:pt x="210" y="61"/>
                  <a:pt x="205" y="35"/>
                  <a:pt x="202" y="15"/>
                </a:cubicBezTo>
                <a:cubicBezTo>
                  <a:pt x="195" y="10"/>
                  <a:pt x="186" y="17"/>
                  <a:pt x="177" y="17"/>
                </a:cubicBezTo>
                <a:close/>
                <a:moveTo>
                  <a:pt x="40" y="16"/>
                </a:moveTo>
                <a:cubicBezTo>
                  <a:pt x="33" y="35"/>
                  <a:pt x="24" y="54"/>
                  <a:pt x="24" y="81"/>
                </a:cubicBezTo>
                <a:cubicBezTo>
                  <a:pt x="30" y="80"/>
                  <a:pt x="33" y="73"/>
                  <a:pt x="40" y="73"/>
                </a:cubicBezTo>
                <a:cubicBezTo>
                  <a:pt x="43" y="73"/>
                  <a:pt x="46" y="76"/>
                  <a:pt x="49" y="77"/>
                </a:cubicBezTo>
                <a:cubicBezTo>
                  <a:pt x="53" y="77"/>
                  <a:pt x="57" y="75"/>
                  <a:pt x="60" y="75"/>
                </a:cubicBezTo>
                <a:cubicBezTo>
                  <a:pt x="62" y="75"/>
                  <a:pt x="65" y="78"/>
                  <a:pt x="68" y="79"/>
                </a:cubicBezTo>
                <a:cubicBezTo>
                  <a:pt x="72" y="79"/>
                  <a:pt x="75" y="76"/>
                  <a:pt x="79" y="77"/>
                </a:cubicBezTo>
                <a:cubicBezTo>
                  <a:pt x="86" y="78"/>
                  <a:pt x="88" y="82"/>
                  <a:pt x="89" y="88"/>
                </a:cubicBezTo>
                <a:cubicBezTo>
                  <a:pt x="106" y="89"/>
                  <a:pt x="107" y="103"/>
                  <a:pt x="103" y="117"/>
                </a:cubicBezTo>
                <a:cubicBezTo>
                  <a:pt x="107" y="122"/>
                  <a:pt x="112" y="125"/>
                  <a:pt x="119" y="128"/>
                </a:cubicBezTo>
                <a:cubicBezTo>
                  <a:pt x="122" y="126"/>
                  <a:pt x="126" y="125"/>
                  <a:pt x="126" y="119"/>
                </a:cubicBezTo>
                <a:cubicBezTo>
                  <a:pt x="122" y="113"/>
                  <a:pt x="113" y="112"/>
                  <a:pt x="111" y="105"/>
                </a:cubicBezTo>
                <a:cubicBezTo>
                  <a:pt x="123" y="107"/>
                  <a:pt x="138" y="132"/>
                  <a:pt x="144" y="111"/>
                </a:cubicBezTo>
                <a:cubicBezTo>
                  <a:pt x="137" y="102"/>
                  <a:pt x="124" y="99"/>
                  <a:pt x="119" y="89"/>
                </a:cubicBezTo>
                <a:cubicBezTo>
                  <a:pt x="130" y="88"/>
                  <a:pt x="155" y="127"/>
                  <a:pt x="160" y="101"/>
                </a:cubicBezTo>
                <a:cubicBezTo>
                  <a:pt x="154" y="93"/>
                  <a:pt x="139" y="88"/>
                  <a:pt x="135" y="80"/>
                </a:cubicBezTo>
                <a:cubicBezTo>
                  <a:pt x="148" y="81"/>
                  <a:pt x="176" y="119"/>
                  <a:pt x="175" y="87"/>
                </a:cubicBezTo>
                <a:cubicBezTo>
                  <a:pt x="163" y="77"/>
                  <a:pt x="150" y="68"/>
                  <a:pt x="136" y="58"/>
                </a:cubicBezTo>
                <a:cubicBezTo>
                  <a:pt x="129" y="53"/>
                  <a:pt x="105" y="32"/>
                  <a:pt x="94" y="32"/>
                </a:cubicBezTo>
                <a:cubicBezTo>
                  <a:pt x="86" y="33"/>
                  <a:pt x="78" y="46"/>
                  <a:pt x="65" y="48"/>
                </a:cubicBezTo>
                <a:cubicBezTo>
                  <a:pt x="46" y="51"/>
                  <a:pt x="37" y="29"/>
                  <a:pt x="48" y="16"/>
                </a:cubicBezTo>
                <a:cubicBezTo>
                  <a:pt x="46" y="16"/>
                  <a:pt x="43" y="16"/>
                  <a:pt x="40" y="16"/>
                </a:cubicBezTo>
                <a:close/>
                <a:moveTo>
                  <a:pt x="47" y="108"/>
                </a:moveTo>
                <a:cubicBezTo>
                  <a:pt x="47" y="115"/>
                  <a:pt x="59" y="115"/>
                  <a:pt x="62" y="110"/>
                </a:cubicBezTo>
                <a:cubicBezTo>
                  <a:pt x="60" y="121"/>
                  <a:pt x="72" y="123"/>
                  <a:pt x="78" y="118"/>
                </a:cubicBezTo>
                <a:cubicBezTo>
                  <a:pt x="78" y="127"/>
                  <a:pt x="90" y="129"/>
                  <a:pt x="95" y="123"/>
                </a:cubicBezTo>
                <a:cubicBezTo>
                  <a:pt x="102" y="111"/>
                  <a:pt x="100" y="87"/>
                  <a:pt x="83" y="96"/>
                </a:cubicBezTo>
                <a:cubicBezTo>
                  <a:pt x="90" y="84"/>
                  <a:pt x="70" y="78"/>
                  <a:pt x="66" y="88"/>
                </a:cubicBezTo>
                <a:cubicBezTo>
                  <a:pt x="65" y="79"/>
                  <a:pt x="52" y="79"/>
                  <a:pt x="48" y="86"/>
                </a:cubicBezTo>
                <a:cubicBezTo>
                  <a:pt x="32" y="62"/>
                  <a:pt x="22" y="112"/>
                  <a:pt x="47" y="1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E" dirty="0"/>
          </a:p>
        </p:txBody>
      </p:sp>
      <p:grpSp>
        <p:nvGrpSpPr>
          <p:cNvPr id="33" name="Group 32"/>
          <p:cNvGrpSpPr/>
          <p:nvPr/>
        </p:nvGrpSpPr>
        <p:grpSpPr>
          <a:xfrm>
            <a:off x="4927742" y="3189902"/>
            <a:ext cx="474724" cy="503621"/>
            <a:chOff x="1596620" y="225207"/>
            <a:chExt cx="5359850" cy="5686086"/>
          </a:xfrm>
          <a:solidFill>
            <a:schemeClr val="bg1"/>
          </a:solidFill>
          <a:effectLst/>
        </p:grpSpPr>
        <p:sp>
          <p:nvSpPr>
            <p:cNvPr id="34" name="Rectangle 33"/>
            <p:cNvSpPr/>
            <p:nvPr/>
          </p:nvSpPr>
          <p:spPr>
            <a:xfrm>
              <a:off x="2372265" y="741872"/>
              <a:ext cx="310551" cy="257067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 rot="5400000">
              <a:off x="4181288" y="1192970"/>
              <a:ext cx="310551" cy="39285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Isosceles Triangle 68"/>
            <p:cNvSpPr/>
            <p:nvPr/>
          </p:nvSpPr>
          <p:spPr>
            <a:xfrm>
              <a:off x="2130725" y="414068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Isosceles Triangle 69"/>
            <p:cNvSpPr/>
            <p:nvPr/>
          </p:nvSpPr>
          <p:spPr>
            <a:xfrm rot="5400000">
              <a:off x="6067950" y="2993368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 rot="5400000">
              <a:off x="2855343" y="1907356"/>
              <a:ext cx="310551" cy="84538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Isosceles Triangle 71"/>
            <p:cNvSpPr/>
            <p:nvPr/>
          </p:nvSpPr>
          <p:spPr>
            <a:xfrm rot="5400000">
              <a:off x="3196086" y="2166148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 rot="5400000">
              <a:off x="5222928" y="738845"/>
              <a:ext cx="310551" cy="250955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Isosceles Triangle 73"/>
            <p:cNvSpPr/>
            <p:nvPr/>
          </p:nvSpPr>
          <p:spPr>
            <a:xfrm rot="5400000">
              <a:off x="6395754" y="1829720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5200996" y="553011"/>
              <a:ext cx="310551" cy="257067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Isosceles Triangle 75"/>
            <p:cNvSpPr/>
            <p:nvPr/>
          </p:nvSpPr>
          <p:spPr>
            <a:xfrm>
              <a:off x="4959456" y="225207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 flipH="1">
              <a:off x="3457402" y="-388599"/>
              <a:ext cx="310551" cy="3385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Isosceles Triangle 77"/>
            <p:cNvSpPr/>
            <p:nvPr/>
          </p:nvSpPr>
          <p:spPr>
            <a:xfrm rot="16200000" flipH="1">
              <a:off x="1363707" y="1140066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rot="10800000" flipH="1">
              <a:off x="4123426" y="1993622"/>
              <a:ext cx="310551" cy="338513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 rot="16200000">
              <a:off x="4308576" y="4606046"/>
              <a:ext cx="1569184" cy="793630"/>
              <a:chOff x="2107368" y="1933234"/>
              <a:chExt cx="1569184" cy="793630"/>
            </a:xfrm>
            <a:grpFill/>
          </p:grpSpPr>
          <p:sp>
            <p:nvSpPr>
              <p:cNvPr id="71" name="Rectangle 70"/>
              <p:cNvSpPr/>
              <p:nvPr/>
            </p:nvSpPr>
            <p:spPr>
              <a:xfrm rot="16200000" flipH="1">
                <a:off x="2898430" y="1707204"/>
                <a:ext cx="310551" cy="124569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Isosceles Triangle 92"/>
              <p:cNvSpPr/>
              <p:nvPr/>
            </p:nvSpPr>
            <p:spPr>
              <a:xfrm rot="16200000" flipH="1">
                <a:off x="1874455" y="2166147"/>
                <a:ext cx="793630" cy="327803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0" name="Group 49"/>
            <p:cNvGrpSpPr/>
            <p:nvPr/>
          </p:nvGrpSpPr>
          <p:grpSpPr>
            <a:xfrm rot="16200000">
              <a:off x="5004311" y="3798212"/>
              <a:ext cx="2075516" cy="793630"/>
              <a:chOff x="2107368" y="1933234"/>
              <a:chExt cx="2075516" cy="793630"/>
            </a:xfrm>
            <a:grpFill/>
          </p:grpSpPr>
          <p:sp>
            <p:nvSpPr>
              <p:cNvPr id="68" name="Rectangle 67"/>
              <p:cNvSpPr/>
              <p:nvPr/>
            </p:nvSpPr>
            <p:spPr>
              <a:xfrm rot="16200000" flipH="1">
                <a:off x="3151596" y="1454038"/>
                <a:ext cx="310551" cy="175202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Isosceles Triangle 90"/>
              <p:cNvSpPr/>
              <p:nvPr/>
            </p:nvSpPr>
            <p:spPr>
              <a:xfrm rot="16200000" flipH="1">
                <a:off x="1874455" y="2166147"/>
                <a:ext cx="793630" cy="327803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 rot="16200000">
              <a:off x="2475965" y="3730741"/>
              <a:ext cx="1768047" cy="793630"/>
              <a:chOff x="2107368" y="1933234"/>
              <a:chExt cx="1768047" cy="793630"/>
            </a:xfrm>
            <a:grpFill/>
          </p:grpSpPr>
          <p:sp>
            <p:nvSpPr>
              <p:cNvPr id="59" name="Rectangle 58"/>
              <p:cNvSpPr/>
              <p:nvPr/>
            </p:nvSpPr>
            <p:spPr>
              <a:xfrm rot="16200000" flipH="1">
                <a:off x="2997862" y="1607773"/>
                <a:ext cx="310551" cy="144455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0" name="Isosceles Triangle 88"/>
              <p:cNvSpPr/>
              <p:nvPr/>
            </p:nvSpPr>
            <p:spPr>
              <a:xfrm rot="16200000" flipH="1">
                <a:off x="1874455" y="2166147"/>
                <a:ext cx="793630" cy="327803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858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54" name="Rectangle 53"/>
            <p:cNvSpPr/>
            <p:nvPr/>
          </p:nvSpPr>
          <p:spPr>
            <a:xfrm rot="16200000" flipH="1">
              <a:off x="3353518" y="4589295"/>
              <a:ext cx="310551" cy="185036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Isosceles Triangle 83"/>
            <p:cNvSpPr/>
            <p:nvPr/>
          </p:nvSpPr>
          <p:spPr>
            <a:xfrm rot="16200000" flipH="1">
              <a:off x="2027207" y="5350576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 rot="16200000" flipH="1">
              <a:off x="4119113" y="1892118"/>
              <a:ext cx="310551" cy="470855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Isosceles Triangle 85"/>
            <p:cNvSpPr/>
            <p:nvPr/>
          </p:nvSpPr>
          <p:spPr>
            <a:xfrm rot="16200000" flipH="1">
              <a:off x="1363707" y="4082494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Isosceles Triangle 86"/>
            <p:cNvSpPr/>
            <p:nvPr/>
          </p:nvSpPr>
          <p:spPr>
            <a:xfrm rot="5400000">
              <a:off x="6395754" y="4082494"/>
              <a:ext cx="793630" cy="32780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4726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1"/>
  <p:tag name="MMPROD_UIDATA" val="&lt;database version=&quot;11.0&quot;&gt;&lt;object type=&quot;1&quot; unique_id=&quot;10001&quot;&gt;&lt;object type=&quot;2&quot; unique_id=&quot;10002&quot;&gt;&lt;/object&gt;&lt;object type=&quot;8&quot; unique_id=&quot;10268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10.xml><?xml version="1.0" encoding="utf-8"?>
<a:theme xmlns:a="http://schemas.openxmlformats.org/drawingml/2006/main" name="2017 deck theme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ExtraLight">
      <a:majorFont>
        <a:latin typeface="CiscoSans ExtraLight"/>
        <a:ea typeface=""/>
        <a:cs typeface=""/>
      </a:majorFont>
      <a:minorFont>
        <a:latin typeface="CiscoSa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7 deck theme" id="{DD7CC628-4E16-47C1-A7C4-99667BB96383}" vid="{E24A9961-280E-48FE-9B36-668CD3520A85}"/>
    </a:ext>
  </a:extLst>
</a:theme>
</file>

<file path=ppt/theme/theme11.xml><?xml version="1.0" encoding="utf-8"?>
<a:theme xmlns:a="http://schemas.openxmlformats.org/drawingml/2006/main" name="1_2017 deck theme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ExtraLight">
      <a:majorFont>
        <a:latin typeface="CiscoSans ExtraLight"/>
        <a:ea typeface=""/>
        <a:cs typeface=""/>
      </a:majorFont>
      <a:minorFont>
        <a:latin typeface="CiscoSa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7 deck theme" id="{DD7CC628-4E16-47C1-A7C4-99667BB96383}" vid="{E24A9961-280E-48FE-9B36-668CD3520A85}"/>
    </a:ext>
  </a:extLst>
</a:theme>
</file>

<file path=ppt/theme/theme12.xml><?xml version="1.0" encoding="utf-8"?>
<a:theme xmlns:a="http://schemas.openxmlformats.org/drawingml/2006/main" name="2_2017 deck theme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ExtraLight">
      <a:majorFont>
        <a:latin typeface="CiscoSans ExtraLight"/>
        <a:ea typeface=""/>
        <a:cs typeface=""/>
      </a:majorFont>
      <a:minorFont>
        <a:latin typeface="CiscoSa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7 deck theme" id="{DD7CC628-4E16-47C1-A7C4-99667BB96383}" vid="{E24A9961-280E-48FE-9B36-668CD3520A85}"/>
    </a:ext>
  </a:extLst>
</a:theme>
</file>

<file path=ppt/theme/theme13.xml><?xml version="1.0" encoding="utf-8"?>
<a:theme xmlns:a="http://schemas.openxmlformats.org/drawingml/2006/main" name="3_2017 deck theme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ExtraLight">
      <a:majorFont>
        <a:latin typeface="CiscoSans ExtraLight"/>
        <a:ea typeface=""/>
        <a:cs typeface=""/>
      </a:majorFont>
      <a:minorFont>
        <a:latin typeface="CiscoSa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7 deck theme" id="{DD7CC628-4E16-47C1-A7C4-99667BB96383}" vid="{E24A9961-280E-48FE-9B36-668CD3520A85}"/>
    </a:ext>
  </a:extLst>
</a:theme>
</file>

<file path=ppt/theme/theme14.xml><?xml version="1.0" encoding="utf-8"?>
<a:theme xmlns:a="http://schemas.openxmlformats.org/drawingml/2006/main" name="4_2017 deck theme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ExtraLight">
      <a:majorFont>
        <a:latin typeface="CiscoSans ExtraLight"/>
        <a:ea typeface=""/>
        <a:cs typeface=""/>
      </a:majorFont>
      <a:minorFont>
        <a:latin typeface="CiscoSa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7 deck theme" id="{DD7CC628-4E16-47C1-A7C4-99667BB96383}" vid="{E24A9961-280E-48FE-9B36-668CD3520A85}"/>
    </a:ext>
  </a:extLst>
</a:theme>
</file>

<file path=ppt/theme/theme15.xml><?xml version="1.0" encoding="utf-8"?>
<a:theme xmlns:a="http://schemas.openxmlformats.org/drawingml/2006/main" name="4_Blue theme 2015 16x9">
  <a:themeElements>
    <a:clrScheme name="Cisco Dark Template Colors_FINAL">
      <a:dk1>
        <a:srgbClr val="FFFFFF"/>
      </a:dk1>
      <a:lt1>
        <a:srgbClr val="005073"/>
      </a:lt1>
      <a:dk2>
        <a:srgbClr val="00BCEB"/>
      </a:dk2>
      <a:lt2>
        <a:srgbClr val="005073"/>
      </a:lt2>
      <a:accent1>
        <a:srgbClr val="00BCEB"/>
      </a:accent1>
      <a:accent2>
        <a:srgbClr val="6EBE4A"/>
      </a:accent2>
      <a:accent3>
        <a:srgbClr val="CDEBF9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16.xml><?xml version="1.0" encoding="utf-8"?>
<a:theme xmlns:a="http://schemas.openxmlformats.org/drawingml/2006/main" name="5_2017 deck theme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ExtraLight">
      <a:majorFont>
        <a:latin typeface="CiscoSans ExtraLight"/>
        <a:ea typeface=""/>
        <a:cs typeface=""/>
      </a:majorFont>
      <a:minorFont>
        <a:latin typeface="CiscoSans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7 deck theme" id="{DD7CC628-4E16-47C1-A7C4-99667BB96383}" vid="{E24A9961-280E-48FE-9B36-668CD3520A85}"/>
    </a:ext>
  </a:extLst>
</a:theme>
</file>

<file path=ppt/theme/theme17.xml><?xml version="1.0" encoding="utf-8"?>
<a:theme xmlns:a="http://schemas.openxmlformats.org/drawingml/2006/main" name="5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18.xml><?xml version="1.0" encoding="utf-8"?>
<a:theme xmlns:a="http://schemas.openxmlformats.org/drawingml/2006/main" name="6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19.xml><?xml version="1.0" encoding="utf-8"?>
<a:theme xmlns:a="http://schemas.openxmlformats.org/drawingml/2006/main" name="7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.xml><?xml version="1.0" encoding="utf-8"?>
<a:theme xmlns:a="http://schemas.openxmlformats.org/drawingml/2006/main" name="1_Blue theme 2015 16x9">
  <a:themeElements>
    <a:clrScheme name="Custom 3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FFFFFF"/>
      </a:hlink>
      <a:folHlink>
        <a:srgbClr val="282828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0.xml><?xml version="1.0" encoding="utf-8"?>
<a:theme xmlns:a="http://schemas.openxmlformats.org/drawingml/2006/main" name="8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Latest PPT Template - palette to match Digital Color_Updated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4.xml><?xml version="1.0" encoding="utf-8"?>
<a:theme xmlns:a="http://schemas.openxmlformats.org/drawingml/2006/main" name="17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5.xml><?xml version="1.0" encoding="utf-8"?>
<a:theme xmlns:a="http://schemas.openxmlformats.org/drawingml/2006/main" name="16_Blue theme 2015 16x9">
  <a:themeElements>
    <a:clrScheme name="Custom 3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FFFFFF"/>
      </a:hlink>
      <a:folHlink>
        <a:srgbClr val="282828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6.xml><?xml version="1.0" encoding="utf-8"?>
<a:theme xmlns:a="http://schemas.openxmlformats.org/drawingml/2006/main" name="2_Blue theme 2015 16x9">
  <a:themeElements>
    <a:clrScheme name="Custom 3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FFFFFF"/>
      </a:hlink>
      <a:folHlink>
        <a:srgbClr val="282828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7.xml><?xml version="1.0" encoding="utf-8"?>
<a:theme xmlns:a="http://schemas.openxmlformats.org/drawingml/2006/main" name="3_Blue theme 2015 16x9">
  <a:themeElements>
    <a:clrScheme name="Custom 3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FFFFFF"/>
      </a:hlink>
      <a:folHlink>
        <a:srgbClr val="282828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8.xml><?xml version="1.0" encoding="utf-8"?>
<a:theme xmlns:a="http://schemas.openxmlformats.org/drawingml/2006/main" name="Cisco_2016">
  <a:themeElements>
    <a:clrScheme name="Cisco Security">
      <a:dk1>
        <a:srgbClr val="676767"/>
      </a:dk1>
      <a:lt1>
        <a:srgbClr val="FFFFFF"/>
      </a:lt1>
      <a:dk2>
        <a:srgbClr val="097DBC"/>
      </a:dk2>
      <a:lt2>
        <a:srgbClr val="FFFFFF"/>
      </a:lt2>
      <a:accent1>
        <a:srgbClr val="19295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3C62B1"/>
      </a:hlink>
      <a:folHlink>
        <a:srgbClr val="06264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SR Presentation_DRAFT" id="{E80A9051-0370-5447-B695-3EB17C15000F}" vid="{DE40D4DA-DF55-124B-90F3-5D9356F0BFD4}"/>
    </a:ext>
  </a:extLst>
</a:theme>
</file>

<file path=ppt/theme/theme9.xml><?xml version="1.0" encoding="utf-8"?>
<a:theme xmlns:a="http://schemas.openxmlformats.org/drawingml/2006/main" name="1_Cisco_2016">
  <a:themeElements>
    <a:clrScheme name="Cisco Security">
      <a:dk1>
        <a:srgbClr val="676767"/>
      </a:dk1>
      <a:lt1>
        <a:srgbClr val="FFFFFF"/>
      </a:lt1>
      <a:dk2>
        <a:srgbClr val="097DBC"/>
      </a:dk2>
      <a:lt2>
        <a:srgbClr val="FFFFFF"/>
      </a:lt2>
      <a:accent1>
        <a:srgbClr val="19295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3C62B1"/>
      </a:hlink>
      <a:folHlink>
        <a:srgbClr val="06264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SR Presentation_DRAFT" id="{E80A9051-0370-5447-B695-3EB17C15000F}" vid="{DE40D4DA-DF55-124B-90F3-5D9356F0BF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478</TotalTime>
  <Words>2423</Words>
  <Application>Microsoft Office PowerPoint</Application>
  <PresentationFormat>On-screen Show (16:9)</PresentationFormat>
  <Paragraphs>483</Paragraphs>
  <Slides>25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2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64" baseType="lpstr">
      <vt:lpstr>ＭＳ Ｐゴシック</vt:lpstr>
      <vt:lpstr>Adobe Arabic</vt:lpstr>
      <vt:lpstr>Arial</vt:lpstr>
      <vt:lpstr>Arial Unicode MS</vt:lpstr>
      <vt:lpstr>Broadway</vt:lpstr>
      <vt:lpstr>Calibri</vt:lpstr>
      <vt:lpstr>Ciscolight</vt:lpstr>
      <vt:lpstr>CiscoSans</vt:lpstr>
      <vt:lpstr>CiscoSans ExtraLight</vt:lpstr>
      <vt:lpstr>CiscoSans Thin</vt:lpstr>
      <vt:lpstr>ciscosansLight</vt:lpstr>
      <vt:lpstr>CiscoSansTT</vt:lpstr>
      <vt:lpstr>CiscoSansTT ExtraLight</vt:lpstr>
      <vt:lpstr>CiscoSansTT Light</vt:lpstr>
      <vt:lpstr>CiscoSansTT Thin</vt:lpstr>
      <vt:lpstr>HelveticaNeue</vt:lpstr>
      <vt:lpstr>Tipo de letra del sistema Fina</vt:lpstr>
      <vt:lpstr>Verdana</vt:lpstr>
      <vt:lpstr>Blue theme 2015 16x9</vt:lpstr>
      <vt:lpstr>1_Blue theme 2015 16x9</vt:lpstr>
      <vt:lpstr>2_Latest PPT Template - palette to match Digital Color_Updated</vt:lpstr>
      <vt:lpstr>17_Blue theme 2015 16x9</vt:lpstr>
      <vt:lpstr>16_Blue theme 2015 16x9</vt:lpstr>
      <vt:lpstr>2_Blue theme 2015 16x9</vt:lpstr>
      <vt:lpstr>3_Blue theme 2015 16x9</vt:lpstr>
      <vt:lpstr>Cisco_2016</vt:lpstr>
      <vt:lpstr>1_Cisco_2016</vt:lpstr>
      <vt:lpstr>2017 deck theme</vt:lpstr>
      <vt:lpstr>1_2017 deck theme</vt:lpstr>
      <vt:lpstr>2_2017 deck theme</vt:lpstr>
      <vt:lpstr>3_2017 deck theme</vt:lpstr>
      <vt:lpstr>4_2017 deck theme</vt:lpstr>
      <vt:lpstr>4_Blue theme 2015 16x9</vt:lpstr>
      <vt:lpstr>5_2017 deck theme</vt:lpstr>
      <vt:lpstr>5_Blue theme 2015 16x9</vt:lpstr>
      <vt:lpstr>6_Blue theme 2015 16x9</vt:lpstr>
      <vt:lpstr>7_Blue theme 2015 16x9</vt:lpstr>
      <vt:lpstr>8_Blue theme 2015 16x9</vt:lpstr>
      <vt:lpstr>think-cell Slide</vt:lpstr>
      <vt:lpstr>Security as a Foundation for SP  Digital Transformation</vt:lpstr>
      <vt:lpstr>Our Presenters</vt:lpstr>
      <vt:lpstr>Agenda</vt:lpstr>
      <vt:lpstr>PowerPoint Presentation</vt:lpstr>
      <vt:lpstr>Key Security Challenges for Service Providers</vt:lpstr>
      <vt:lpstr>Fragmented Ecosystem for SPs to turn to…</vt:lpstr>
      <vt:lpstr>Your network is your business </vt:lpstr>
      <vt:lpstr>Where are you in your Digital Transformation journey? </vt:lpstr>
      <vt:lpstr>How do you know when you’re ready?</vt:lpstr>
      <vt:lpstr>Cisco Security Service’s approach</vt:lpstr>
      <vt:lpstr>Example CMPA Findings</vt:lpstr>
      <vt:lpstr>Where are you in your Digital Transformation journey? </vt:lpstr>
      <vt:lpstr>PowerPoint Presentation</vt:lpstr>
      <vt:lpstr>PowerPoint Presentation</vt:lpstr>
      <vt:lpstr>PowerPoint Presentation</vt:lpstr>
      <vt:lpstr>Where are you in your Digital Transformation journey? </vt:lpstr>
      <vt:lpstr>PowerPoint Presentation</vt:lpstr>
      <vt:lpstr>PowerPoint Presentation</vt:lpstr>
      <vt:lpstr>PowerPoint Presentation</vt:lpstr>
      <vt:lpstr>PowerPoint Presentation</vt:lpstr>
      <vt:lpstr>Where are you in your Digital Transformation journey? </vt:lpstr>
      <vt:lpstr>Cisco Approach:  Best of Breed Integrated Architecture</vt:lpstr>
      <vt:lpstr>https://salesconnect.cisco.com/c/r/salesconnect/index.html#/program/PAGE-10733 </vt:lpstr>
      <vt:lpstr>For more information on Cisco Security Services, please visit   http://cisco.com/go/securityservices </vt:lpstr>
      <vt:lpstr>PowerPoint Presentation</vt:lpstr>
    </vt:vector>
  </TitlesOfParts>
  <Company>NDS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ius@cisco.com</dc:creator>
  <cp:lastModifiedBy>Katie Lindner -X (kalindne - MAC MEETINGS AND EVENTS LLC at Cisco)</cp:lastModifiedBy>
  <cp:revision>1023</cp:revision>
  <cp:lastPrinted>2016-04-29T20:31:14Z</cp:lastPrinted>
  <dcterms:created xsi:type="dcterms:W3CDTF">2014-07-09T19:55:36Z</dcterms:created>
  <dcterms:modified xsi:type="dcterms:W3CDTF">2017-12-13T16:26:23Z</dcterms:modified>
</cp:coreProperties>
</file>